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notesSlides/notesSlide2.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notesSlides/notesSlide3.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2.xml" ContentType="application/vnd.openxmlformats-officedocument.presentationml.tags+xml"/>
  <Override PartName="/ppt/notesSlides/notesSlide6.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7.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51.xml" ContentType="application/vnd.openxmlformats-officedocument.presentationml.tags+xml"/>
  <Override PartName="/ppt/tags/tag52.xml" ContentType="application/vnd.openxmlformats-officedocument.presentationml.tags+xml"/>
  <Override PartName="/ppt/notesSlides/notesSlide10.xml" ContentType="application/vnd.openxmlformats-officedocument.presentationml.notesSlide+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1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4.xml" ContentType="application/vnd.openxmlformats-officedocument.presentationml.notesSlid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15.xml" ContentType="application/vnd.openxmlformats-officedocument.presentationml.notesSlide+xml"/>
  <Override PartName="/ppt/charts/chart4.xml" ContentType="application/vnd.openxmlformats-officedocument.drawingml.chart+xml"/>
  <Override PartName="/ppt/charts/chart5.xml" ContentType="application/vnd.openxmlformats-officedocument.drawingml.chart+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notesSlides/notesSlide16.xml" ContentType="application/vnd.openxmlformats-officedocument.presentationml.notesSlide+xml"/>
  <Override PartName="/ppt/tags/tag76.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88" r:id="rId2"/>
  </p:sldMasterIdLst>
  <p:notesMasterIdLst>
    <p:notesMasterId r:id="rId24"/>
  </p:notesMasterIdLst>
  <p:handoutMasterIdLst>
    <p:handoutMasterId r:id="rId25"/>
  </p:handoutMasterIdLst>
  <p:sldIdLst>
    <p:sldId id="328" r:id="rId3"/>
    <p:sldId id="4286" r:id="rId4"/>
    <p:sldId id="4287" r:id="rId5"/>
    <p:sldId id="4288" r:id="rId6"/>
    <p:sldId id="318" r:id="rId7"/>
    <p:sldId id="334" r:id="rId8"/>
    <p:sldId id="337" r:id="rId9"/>
    <p:sldId id="760" r:id="rId10"/>
    <p:sldId id="483" r:id="rId11"/>
    <p:sldId id="765" r:id="rId12"/>
    <p:sldId id="766" r:id="rId13"/>
    <p:sldId id="419" r:id="rId14"/>
    <p:sldId id="764" r:id="rId15"/>
    <p:sldId id="489" r:id="rId16"/>
    <p:sldId id="761" r:id="rId17"/>
    <p:sldId id="772" r:id="rId18"/>
    <p:sldId id="762" r:id="rId19"/>
    <p:sldId id="4282" r:id="rId20"/>
    <p:sldId id="768" r:id="rId21"/>
    <p:sldId id="490" r:id="rId22"/>
    <p:sldId id="4280"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w" initials="sw" lastIdx="4" clrIdx="0">
    <p:extLst>
      <p:ext uri="{19B8F6BF-5375-455C-9EA6-DF929625EA0E}">
        <p15:presenceInfo xmlns:p15="http://schemas.microsoft.com/office/powerpoint/2012/main" userId="sw"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776B2"/>
    <a:srgbClr val="6666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C115FB49-3FBE-41CF-8DFC-A938FE5134F0}">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C115FB49-3FBE-41CF-8DFC-A938FE5134F0}" styleName="GfK">
    <a:wholeTbl>
      <a:tcTxStyle>
        <a:fontRef idx="minor">
          <a:scrgbClr r="0" g="0" b="0"/>
        </a:fontRef>
        <a:schemeClr val="tx1"/>
      </a:tcTxStyle>
      <a:tcStyle>
        <a:tcBdr>
          <a:left>
            <a:ln>
              <a:noFill/>
            </a:ln>
          </a:left>
          <a:right>
            <a:ln>
              <a:noFill/>
            </a:ln>
          </a:right>
          <a:top>
            <a:ln>
              <a:noFill/>
            </a:ln>
          </a:top>
          <a:bottom>
            <a:ln>
              <a:noFill/>
            </a:ln>
          </a:bottom>
          <a:insideH>
            <a:ln w="6350" cmpd="sng">
              <a:solidFill>
                <a:schemeClr val="tx1"/>
              </a:solid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352" autoAdjust="0"/>
    <p:restoredTop sz="77673" autoAdjust="0"/>
  </p:normalViewPr>
  <p:slideViewPr>
    <p:cSldViewPr snapToGrid="0" showGuides="1">
      <p:cViewPr varScale="1">
        <p:scale>
          <a:sx n="60" d="100"/>
          <a:sy n="60" d="100"/>
        </p:scale>
        <p:origin x="1128" y="60"/>
      </p:cViewPr>
      <p:guideLst/>
    </p:cSldViewPr>
  </p:slideViewPr>
  <p:notesTextViewPr>
    <p:cViewPr>
      <p:scale>
        <a:sx n="1" d="1"/>
        <a:sy n="1" d="1"/>
      </p:scale>
      <p:origin x="0" y="0"/>
    </p:cViewPr>
  </p:notesTextViewPr>
  <p:sorterViewPr>
    <p:cViewPr>
      <p:scale>
        <a:sx n="50" d="100"/>
        <a:sy n="50" d="100"/>
      </p:scale>
      <p:origin x="0" y="0"/>
    </p:cViewPr>
  </p:sorterViewPr>
  <p:notesViewPr>
    <p:cSldViewPr snapToGrid="0" showGuides="1">
      <p:cViewPr>
        <p:scale>
          <a:sx n="190" d="100"/>
          <a:sy n="190" d="100"/>
        </p:scale>
        <p:origin x="1536" y="-291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commentAuthors" Target="commentAuthors.xml"/><Relationship Id="rId3" Type="http://schemas.openxmlformats.org/officeDocument/2006/relationships/slide" Target="slides/slide1.xml"/><Relationship Id="rId21" Type="http://schemas.openxmlformats.org/officeDocument/2006/relationships/slide" Target="slides/slide19.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viewProps" Target="view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werkblad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werkblad2.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werkblad3.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1" Type="http://schemas.openxmlformats.org/officeDocument/2006/relationships/oleObject" Target="file:///\\gfk.com\netherlands\projects\Projecten\756749%20Shopping%20Tomorrow%202020\4.%20Data%20Processing\Graphs\Shopping%20Tomorrow%20Grafieken%202020.xlsm" TargetMode="External"/></Relationships>
</file>

<file path=ppt/charts/_rels/chart5.xml.rels><?xml version="1.0" encoding="UTF-8" standalone="yes"?>
<Relationships xmlns="http://schemas.openxmlformats.org/package/2006/relationships"><Relationship Id="rId1" Type="http://schemas.openxmlformats.org/officeDocument/2006/relationships/oleObject" Target="file:///\\gfk.com\netherlands\projects\Projecten\756749%20Shopping%20Tomorrow%202020\4.%20Data%20Processing\Graphs\Shopping%20Tomorrow%20Grafieken%202020.xlsm"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2020</c:v>
                </c:pt>
              </c:strCache>
            </c:strRef>
          </c:tx>
          <c:spPr>
            <a:solidFill>
              <a:schemeClr val="accent1"/>
            </a:solidFill>
          </c:spPr>
          <c:invertIfNegative val="0"/>
          <c:dPt>
            <c:idx val="0"/>
            <c:invertIfNegative val="0"/>
            <c:bubble3D val="0"/>
            <c:spPr>
              <a:solidFill>
                <a:schemeClr val="accent3"/>
              </a:solidFill>
            </c:spPr>
            <c:extLst xmlns:c16r2="http://schemas.microsoft.com/office/drawing/2015/06/chart">
              <c:ext xmlns:c16="http://schemas.microsoft.com/office/drawing/2014/chart" uri="{C3380CC4-5D6E-409C-BE32-E72D297353CC}">
                <c16:uniqueId val="{00000001-1AF5-4E79-A05D-6DF5F208E5B8}"/>
              </c:ext>
            </c:extLst>
          </c:dPt>
          <c:dPt>
            <c:idx val="1"/>
            <c:invertIfNegative val="0"/>
            <c:bubble3D val="0"/>
            <c:spPr>
              <a:solidFill>
                <a:schemeClr val="accent3">
                  <a:lumMod val="60000"/>
                  <a:lumOff val="40000"/>
                </a:schemeClr>
              </a:solidFill>
            </c:spPr>
            <c:extLst xmlns:c16r2="http://schemas.microsoft.com/office/drawing/2015/06/chart">
              <c:ext xmlns:c16="http://schemas.microsoft.com/office/drawing/2014/chart" uri="{C3380CC4-5D6E-409C-BE32-E72D297353CC}">
                <c16:uniqueId val="{00000003-1AF5-4E79-A05D-6DF5F208E5B8}"/>
              </c:ext>
            </c:extLst>
          </c:dPt>
          <c:dPt>
            <c:idx val="2"/>
            <c:invertIfNegative val="0"/>
            <c:bubble3D val="0"/>
            <c:spPr>
              <a:solidFill>
                <a:schemeClr val="accent6"/>
              </a:solidFill>
            </c:spPr>
            <c:extLst xmlns:c16r2="http://schemas.microsoft.com/office/drawing/2015/06/chart">
              <c:ext xmlns:c16="http://schemas.microsoft.com/office/drawing/2014/chart" uri="{C3380CC4-5D6E-409C-BE32-E72D297353CC}">
                <c16:uniqueId val="{00000005-1AF5-4E79-A05D-6DF5F208E5B8}"/>
              </c:ext>
            </c:extLst>
          </c:dPt>
          <c:dPt>
            <c:idx val="3"/>
            <c:invertIfNegative val="0"/>
            <c:bubble3D val="0"/>
            <c:spPr>
              <a:solidFill>
                <a:schemeClr val="accent6">
                  <a:lumMod val="60000"/>
                  <a:lumOff val="40000"/>
                </a:schemeClr>
              </a:solidFill>
            </c:spPr>
            <c:extLst xmlns:c16r2="http://schemas.microsoft.com/office/drawing/2015/06/chart">
              <c:ext xmlns:c16="http://schemas.microsoft.com/office/drawing/2014/chart" uri="{C3380CC4-5D6E-409C-BE32-E72D297353CC}">
                <c16:uniqueId val="{00000007-1AF5-4E79-A05D-6DF5F208E5B8}"/>
              </c:ext>
            </c:extLst>
          </c:dPt>
          <c:dPt>
            <c:idx val="4"/>
            <c:invertIfNegative val="0"/>
            <c:bubble3D val="0"/>
            <c:spPr>
              <a:solidFill>
                <a:schemeClr val="accent2"/>
              </a:solidFill>
            </c:spPr>
            <c:extLst xmlns:c16r2="http://schemas.microsoft.com/office/drawing/2015/06/chart">
              <c:ext xmlns:c16="http://schemas.microsoft.com/office/drawing/2014/chart" uri="{C3380CC4-5D6E-409C-BE32-E72D297353CC}">
                <c16:uniqueId val="{00000009-1AF5-4E79-A05D-6DF5F208E5B8}"/>
              </c:ext>
            </c:extLst>
          </c:dPt>
          <c:dPt>
            <c:idx val="5"/>
            <c:invertIfNegative val="0"/>
            <c:bubble3D val="0"/>
            <c:spPr>
              <a:solidFill>
                <a:schemeClr val="tx2"/>
              </a:solidFill>
            </c:spPr>
            <c:extLst xmlns:c16r2="http://schemas.microsoft.com/office/drawing/2015/06/chart">
              <c:ext xmlns:c16="http://schemas.microsoft.com/office/drawing/2014/chart" uri="{C3380CC4-5D6E-409C-BE32-E72D297353CC}">
                <c16:uniqueId val="{0000000B-1AF5-4E79-A05D-6DF5F208E5B8}"/>
              </c:ext>
            </c:extLst>
          </c:dPt>
          <c:dPt>
            <c:idx val="6"/>
            <c:invertIfNegative val="0"/>
            <c:bubble3D val="0"/>
            <c:spPr>
              <a:solidFill>
                <a:schemeClr val="accent4"/>
              </a:solidFill>
            </c:spPr>
            <c:extLst xmlns:c16r2="http://schemas.microsoft.com/office/drawing/2015/06/chart">
              <c:ext xmlns:c16="http://schemas.microsoft.com/office/drawing/2014/chart" uri="{C3380CC4-5D6E-409C-BE32-E72D297353CC}">
                <c16:uniqueId val="{0000000D-1AF5-4E79-A05D-6DF5F208E5B8}"/>
              </c:ext>
            </c:extLst>
          </c:dPt>
          <c:dPt>
            <c:idx val="7"/>
            <c:invertIfNegative val="0"/>
            <c:bubble3D val="0"/>
            <c:spPr>
              <a:solidFill>
                <a:schemeClr val="accent5"/>
              </a:solidFill>
            </c:spPr>
            <c:extLst xmlns:c16r2="http://schemas.microsoft.com/office/drawing/2015/06/chart">
              <c:ext xmlns:c16="http://schemas.microsoft.com/office/drawing/2014/chart" uri="{C3380CC4-5D6E-409C-BE32-E72D297353CC}">
                <c16:uniqueId val="{0000000F-1AF5-4E79-A05D-6DF5F208E5B8}"/>
              </c:ext>
            </c:extLst>
          </c:dPt>
          <c:dPt>
            <c:idx val="8"/>
            <c:invertIfNegative val="0"/>
            <c:bubble3D val="0"/>
            <c:extLst xmlns:c16r2="http://schemas.microsoft.com/office/drawing/2015/06/chart">
              <c:ext xmlns:c16="http://schemas.microsoft.com/office/drawing/2014/chart" uri="{C3380CC4-5D6E-409C-BE32-E72D297353CC}">
                <c16:uniqueId val="{00000011-1AF5-4E79-A05D-6DF5F208E5B8}"/>
              </c:ext>
            </c:extLst>
          </c:dPt>
          <c:dPt>
            <c:idx val="10"/>
            <c:invertIfNegative val="0"/>
            <c:bubble3D val="0"/>
            <c:spPr>
              <a:solidFill>
                <a:schemeClr val="accent3"/>
              </a:solidFill>
            </c:spPr>
            <c:extLst xmlns:c16r2="http://schemas.microsoft.com/office/drawing/2015/06/chart">
              <c:ext xmlns:c16="http://schemas.microsoft.com/office/drawing/2014/chart" uri="{C3380CC4-5D6E-409C-BE32-E72D297353CC}">
                <c16:uniqueId val="{00000015-1AF5-4E79-A05D-6DF5F208E5B8}"/>
              </c:ext>
            </c:extLst>
          </c:dPt>
          <c:dPt>
            <c:idx val="11"/>
            <c:invertIfNegative val="0"/>
            <c:bubble3D val="0"/>
            <c:spPr>
              <a:solidFill>
                <a:schemeClr val="accent4"/>
              </a:solidFill>
            </c:spPr>
            <c:extLst xmlns:c16r2="http://schemas.microsoft.com/office/drawing/2015/06/chart">
              <c:ext xmlns:c16="http://schemas.microsoft.com/office/drawing/2014/chart" uri="{C3380CC4-5D6E-409C-BE32-E72D297353CC}">
                <c16:uniqueId val="{00000017-1AF5-4E79-A05D-6DF5F208E5B8}"/>
              </c:ext>
            </c:extLst>
          </c:dPt>
          <c:dLbls>
            <c:dLbl>
              <c:idx val="7"/>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F-1AF5-4E79-A05D-6DF5F208E5B8}"/>
                </c:ext>
                <c:ext xmlns:c15="http://schemas.microsoft.com/office/drawing/2012/chart" uri="{CE6537A1-D6FC-4f65-9D91-7224C49458BB}"/>
              </c:extLst>
            </c:dLbl>
            <c:spPr>
              <a:noFill/>
              <a:ln>
                <a:noFill/>
              </a:ln>
              <a:effectLst/>
            </c:spPr>
            <c:txPr>
              <a:bodyPr/>
              <a:lstStyle/>
              <a:p>
                <a:pPr>
                  <a:defRPr sz="900">
                    <a:solidFill>
                      <a:schemeClr val="tx1"/>
                    </a:solidFill>
                  </a:defRPr>
                </a:pPr>
                <a:endParaRPr lang="nl-NL"/>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Sheet1!$A$2:$A$10</c:f>
              <c:strCache>
                <c:ptCount val="9"/>
                <c:pt idx="0">
                  <c:v>Via een winkelbezoek</c:v>
                </c:pt>
                <c:pt idx="1">
                  <c:v>Via chatapplicaties (zoals Whatsapp) met tekst berichten</c:v>
                </c:pt>
                <c:pt idx="2">
                  <c:v>Via de (mobiele) website van het bedrijf en email</c:v>
                </c:pt>
                <c:pt idx="3">
                  <c:v>Via een telefoongesprek</c:v>
                </c:pt>
                <c:pt idx="4">
                  <c:v>Via chatapplicaties (zoals Whatsapp) met spraak berichten</c:v>
                </c:pt>
                <c:pt idx="5">
                  <c:v>Via mobiele app van het bedrijf</c:v>
                </c:pt>
                <c:pt idx="6">
                  <c:v>Via social media platform (zoals Facebook)</c:v>
                </c:pt>
                <c:pt idx="7">
                  <c:v>Op een andere manier</c:v>
                </c:pt>
                <c:pt idx="8">
                  <c:v>Geen behoefte aan, ik probeer het liever zelf op te zoeken</c:v>
                </c:pt>
              </c:strCache>
            </c:strRef>
          </c:cat>
          <c:val>
            <c:numRef>
              <c:f>Sheet1!$B$2:$B$10</c:f>
              <c:numCache>
                <c:formatCode>0%</c:formatCode>
                <c:ptCount val="9"/>
                <c:pt idx="0">
                  <c:v>0.7</c:v>
                </c:pt>
                <c:pt idx="1">
                  <c:v>0.22</c:v>
                </c:pt>
                <c:pt idx="2">
                  <c:v>0.2</c:v>
                </c:pt>
                <c:pt idx="3">
                  <c:v>0.19</c:v>
                </c:pt>
                <c:pt idx="4">
                  <c:v>0.11</c:v>
                </c:pt>
                <c:pt idx="5">
                  <c:v>0.08</c:v>
                </c:pt>
                <c:pt idx="6">
                  <c:v>0.06</c:v>
                </c:pt>
                <c:pt idx="7">
                  <c:v>0.01</c:v>
                </c:pt>
                <c:pt idx="8">
                  <c:v>7.0000000000000007E-2</c:v>
                </c:pt>
              </c:numCache>
            </c:numRef>
          </c:val>
          <c:extLst xmlns:c16r2="http://schemas.microsoft.com/office/drawing/2015/06/chart">
            <c:ext xmlns:c16="http://schemas.microsoft.com/office/drawing/2014/chart" uri="{C3380CC4-5D6E-409C-BE32-E72D297353CC}">
              <c16:uniqueId val="{00000018-1AF5-4E79-A05D-6DF5F208E5B8}"/>
            </c:ext>
          </c:extLst>
        </c:ser>
        <c:ser>
          <c:idx val="1"/>
          <c:order val="1"/>
          <c:tx>
            <c:strRef>
              <c:f>Sheet1!$C$1</c:f>
              <c:strCache>
                <c:ptCount val="1"/>
                <c:pt idx="0">
                  <c:v>2019</c:v>
                </c:pt>
              </c:strCache>
            </c:strRef>
          </c:tx>
          <c:invertIfNegative val="0"/>
          <c:dPt>
            <c:idx val="0"/>
            <c:invertIfNegative val="0"/>
            <c:bubble3D val="0"/>
            <c:spPr>
              <a:solidFill>
                <a:schemeClr val="accent3">
                  <a:alpha val="75000"/>
                </a:schemeClr>
              </a:solidFill>
            </c:spPr>
            <c:extLst xmlns:c16r2="http://schemas.microsoft.com/office/drawing/2015/06/chart">
              <c:ext xmlns:c16="http://schemas.microsoft.com/office/drawing/2014/chart" uri="{C3380CC4-5D6E-409C-BE32-E72D297353CC}">
                <c16:uniqueId val="{0000001A-1AF5-4E79-A05D-6DF5F208E5B8}"/>
              </c:ext>
            </c:extLst>
          </c:dPt>
          <c:dPt>
            <c:idx val="1"/>
            <c:invertIfNegative val="0"/>
            <c:bubble3D val="0"/>
            <c:spPr>
              <a:solidFill>
                <a:schemeClr val="accent3">
                  <a:lumMod val="60000"/>
                  <a:lumOff val="40000"/>
                  <a:alpha val="75000"/>
                </a:schemeClr>
              </a:solidFill>
            </c:spPr>
            <c:extLst xmlns:c16r2="http://schemas.microsoft.com/office/drawing/2015/06/chart">
              <c:ext xmlns:c16="http://schemas.microsoft.com/office/drawing/2014/chart" uri="{C3380CC4-5D6E-409C-BE32-E72D297353CC}">
                <c16:uniqueId val="{0000001C-1AF5-4E79-A05D-6DF5F208E5B8}"/>
              </c:ext>
            </c:extLst>
          </c:dPt>
          <c:dPt>
            <c:idx val="2"/>
            <c:invertIfNegative val="0"/>
            <c:bubble3D val="0"/>
            <c:spPr>
              <a:solidFill>
                <a:schemeClr val="accent6">
                  <a:alpha val="75000"/>
                </a:schemeClr>
              </a:solidFill>
            </c:spPr>
            <c:extLst xmlns:c16r2="http://schemas.microsoft.com/office/drawing/2015/06/chart">
              <c:ext xmlns:c16="http://schemas.microsoft.com/office/drawing/2014/chart" uri="{C3380CC4-5D6E-409C-BE32-E72D297353CC}">
                <c16:uniqueId val="{0000001E-1AF5-4E79-A05D-6DF5F208E5B8}"/>
              </c:ext>
            </c:extLst>
          </c:dPt>
          <c:dPt>
            <c:idx val="3"/>
            <c:invertIfNegative val="0"/>
            <c:bubble3D val="0"/>
            <c:spPr>
              <a:solidFill>
                <a:schemeClr val="accent6">
                  <a:lumMod val="60000"/>
                  <a:lumOff val="40000"/>
                  <a:alpha val="75000"/>
                </a:schemeClr>
              </a:solidFill>
            </c:spPr>
            <c:extLst xmlns:c16r2="http://schemas.microsoft.com/office/drawing/2015/06/chart">
              <c:ext xmlns:c16="http://schemas.microsoft.com/office/drawing/2014/chart" uri="{C3380CC4-5D6E-409C-BE32-E72D297353CC}">
                <c16:uniqueId val="{00000020-1AF5-4E79-A05D-6DF5F208E5B8}"/>
              </c:ext>
            </c:extLst>
          </c:dPt>
          <c:dPt>
            <c:idx val="4"/>
            <c:invertIfNegative val="0"/>
            <c:bubble3D val="0"/>
            <c:spPr>
              <a:solidFill>
                <a:schemeClr val="accent2">
                  <a:alpha val="75000"/>
                </a:schemeClr>
              </a:solidFill>
            </c:spPr>
            <c:extLst xmlns:c16r2="http://schemas.microsoft.com/office/drawing/2015/06/chart">
              <c:ext xmlns:c16="http://schemas.microsoft.com/office/drawing/2014/chart" uri="{C3380CC4-5D6E-409C-BE32-E72D297353CC}">
                <c16:uniqueId val="{00000022-1AF5-4E79-A05D-6DF5F208E5B8}"/>
              </c:ext>
            </c:extLst>
          </c:dPt>
          <c:dPt>
            <c:idx val="5"/>
            <c:invertIfNegative val="0"/>
            <c:bubble3D val="0"/>
            <c:spPr>
              <a:solidFill>
                <a:schemeClr val="tx2">
                  <a:alpha val="75000"/>
                </a:schemeClr>
              </a:solidFill>
            </c:spPr>
            <c:extLst xmlns:c16r2="http://schemas.microsoft.com/office/drawing/2015/06/chart">
              <c:ext xmlns:c16="http://schemas.microsoft.com/office/drawing/2014/chart" uri="{C3380CC4-5D6E-409C-BE32-E72D297353CC}">
                <c16:uniqueId val="{00000024-1AF5-4E79-A05D-6DF5F208E5B8}"/>
              </c:ext>
            </c:extLst>
          </c:dPt>
          <c:dPt>
            <c:idx val="6"/>
            <c:invertIfNegative val="0"/>
            <c:bubble3D val="0"/>
            <c:spPr>
              <a:solidFill>
                <a:schemeClr val="accent4">
                  <a:alpha val="75000"/>
                </a:schemeClr>
              </a:solidFill>
            </c:spPr>
            <c:extLst xmlns:c16r2="http://schemas.microsoft.com/office/drawing/2015/06/chart">
              <c:ext xmlns:c16="http://schemas.microsoft.com/office/drawing/2014/chart" uri="{C3380CC4-5D6E-409C-BE32-E72D297353CC}">
                <c16:uniqueId val="{00000026-1AF5-4E79-A05D-6DF5F208E5B8}"/>
              </c:ext>
            </c:extLst>
          </c:dPt>
          <c:dPt>
            <c:idx val="7"/>
            <c:invertIfNegative val="0"/>
            <c:bubble3D val="0"/>
            <c:spPr>
              <a:solidFill>
                <a:schemeClr val="accent5">
                  <a:alpha val="75000"/>
                </a:schemeClr>
              </a:solidFill>
            </c:spPr>
            <c:extLst xmlns:c16r2="http://schemas.microsoft.com/office/drawing/2015/06/chart">
              <c:ext xmlns:c16="http://schemas.microsoft.com/office/drawing/2014/chart" uri="{C3380CC4-5D6E-409C-BE32-E72D297353CC}">
                <c16:uniqueId val="{00000028-1AF5-4E79-A05D-6DF5F208E5B8}"/>
              </c:ext>
            </c:extLst>
          </c:dPt>
          <c:dPt>
            <c:idx val="8"/>
            <c:invertIfNegative val="0"/>
            <c:bubble3D val="0"/>
            <c:spPr>
              <a:solidFill>
                <a:schemeClr val="accent1">
                  <a:alpha val="75000"/>
                </a:schemeClr>
              </a:solidFill>
            </c:spPr>
            <c:extLst xmlns:c16r2="http://schemas.microsoft.com/office/drawing/2015/06/chart">
              <c:ext xmlns:c16="http://schemas.microsoft.com/office/drawing/2014/chart" uri="{C3380CC4-5D6E-409C-BE32-E72D297353CC}">
                <c16:uniqueId val="{0000002A-1AF5-4E79-A05D-6DF5F208E5B8}"/>
              </c:ext>
            </c:extLst>
          </c:dPt>
          <c:dLbls>
            <c:dLbl>
              <c:idx val="7"/>
              <c:delete val="1"/>
              <c:extLst xmlns:c16r2="http://schemas.microsoft.com/office/drawing/2015/06/chart">
                <c:ext xmlns:c16="http://schemas.microsoft.com/office/drawing/2014/chart" uri="{C3380CC4-5D6E-409C-BE32-E72D297353CC}">
                  <c16:uniqueId val="{00000028-1AF5-4E79-A05D-6DF5F208E5B8}"/>
                </c:ext>
                <c:ext xmlns:c15="http://schemas.microsoft.com/office/drawing/2012/chart" uri="{CE6537A1-D6FC-4f65-9D91-7224C49458BB}"/>
              </c:extLst>
            </c:dLbl>
            <c:spPr>
              <a:noFill/>
              <a:ln>
                <a:noFill/>
              </a:ln>
              <a:effectLst/>
            </c:spPr>
            <c:txPr>
              <a:bodyPr wrap="square" lIns="38100" tIns="19050" rIns="38100" bIns="19050" anchor="ctr">
                <a:spAutoFit/>
              </a:bodyPr>
              <a:lstStyle/>
              <a:p>
                <a:pPr>
                  <a:defRPr sz="900"/>
                </a:pPr>
                <a:endParaRPr lang="nl-N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Sheet1!$A$2:$A$10</c:f>
              <c:strCache>
                <c:ptCount val="9"/>
                <c:pt idx="0">
                  <c:v>Via een winkelbezoek</c:v>
                </c:pt>
                <c:pt idx="1">
                  <c:v>Via chatapplicaties (zoals Whatsapp) met tekst berichten</c:v>
                </c:pt>
                <c:pt idx="2">
                  <c:v>Via de (mobiele) website van het bedrijf en email</c:v>
                </c:pt>
                <c:pt idx="3">
                  <c:v>Via een telefoongesprek</c:v>
                </c:pt>
                <c:pt idx="4">
                  <c:v>Via chatapplicaties (zoals Whatsapp) met spraak berichten</c:v>
                </c:pt>
                <c:pt idx="5">
                  <c:v>Via mobiele app van het bedrijf</c:v>
                </c:pt>
                <c:pt idx="6">
                  <c:v>Via social media platform (zoals Facebook)</c:v>
                </c:pt>
                <c:pt idx="7">
                  <c:v>Op een andere manier</c:v>
                </c:pt>
                <c:pt idx="8">
                  <c:v>Geen behoefte aan, ik probeer het liever zelf op te zoeken</c:v>
                </c:pt>
              </c:strCache>
            </c:strRef>
          </c:cat>
          <c:val>
            <c:numRef>
              <c:f>Sheet1!$C$2:$C$10</c:f>
              <c:numCache>
                <c:formatCode>0%</c:formatCode>
                <c:ptCount val="9"/>
                <c:pt idx="0">
                  <c:v>0.72599999999999998</c:v>
                </c:pt>
                <c:pt idx="1">
                  <c:v>0.23899999999999999</c:v>
                </c:pt>
                <c:pt idx="2">
                  <c:v>0.23100000000000001</c:v>
                </c:pt>
                <c:pt idx="3">
                  <c:v>0.22600000000000001</c:v>
                </c:pt>
                <c:pt idx="4">
                  <c:v>7.6999999999999999E-2</c:v>
                </c:pt>
                <c:pt idx="5">
                  <c:v>9.2999999999999999E-2</c:v>
                </c:pt>
                <c:pt idx="6">
                  <c:v>0.06</c:v>
                </c:pt>
                <c:pt idx="7">
                  <c:v>3.0000000000000001E-3</c:v>
                </c:pt>
                <c:pt idx="8">
                  <c:v>6.3E-2</c:v>
                </c:pt>
              </c:numCache>
            </c:numRef>
          </c:val>
          <c:extLst xmlns:c16r2="http://schemas.microsoft.com/office/drawing/2015/06/chart">
            <c:ext xmlns:c16="http://schemas.microsoft.com/office/drawing/2014/chart" uri="{C3380CC4-5D6E-409C-BE32-E72D297353CC}">
              <c16:uniqueId val="{0000002B-1AF5-4E79-A05D-6DF5F208E5B8}"/>
            </c:ext>
          </c:extLst>
        </c:ser>
        <c:ser>
          <c:idx val="2"/>
          <c:order val="2"/>
          <c:tx>
            <c:strRef>
              <c:f>Sheet1!$D$1</c:f>
              <c:strCache>
                <c:ptCount val="1"/>
                <c:pt idx="0">
                  <c:v>2018</c:v>
                </c:pt>
              </c:strCache>
            </c:strRef>
          </c:tx>
          <c:invertIfNegative val="0"/>
          <c:dPt>
            <c:idx val="0"/>
            <c:invertIfNegative val="0"/>
            <c:bubble3D val="0"/>
            <c:spPr>
              <a:solidFill>
                <a:schemeClr val="accent3">
                  <a:alpha val="50000"/>
                </a:schemeClr>
              </a:solidFill>
            </c:spPr>
            <c:extLst xmlns:c16r2="http://schemas.microsoft.com/office/drawing/2015/06/chart">
              <c:ext xmlns:c16="http://schemas.microsoft.com/office/drawing/2014/chart" uri="{C3380CC4-5D6E-409C-BE32-E72D297353CC}">
                <c16:uniqueId val="{0000002D-1AF5-4E79-A05D-6DF5F208E5B8}"/>
              </c:ext>
            </c:extLst>
          </c:dPt>
          <c:dPt>
            <c:idx val="1"/>
            <c:invertIfNegative val="0"/>
            <c:bubble3D val="0"/>
            <c:spPr>
              <a:solidFill>
                <a:schemeClr val="accent3">
                  <a:lumMod val="60000"/>
                  <a:lumOff val="40000"/>
                  <a:alpha val="50000"/>
                </a:schemeClr>
              </a:solidFill>
            </c:spPr>
            <c:extLst xmlns:c16r2="http://schemas.microsoft.com/office/drawing/2015/06/chart">
              <c:ext xmlns:c16="http://schemas.microsoft.com/office/drawing/2014/chart" uri="{C3380CC4-5D6E-409C-BE32-E72D297353CC}">
                <c16:uniqueId val="{0000002F-1AF5-4E79-A05D-6DF5F208E5B8}"/>
              </c:ext>
            </c:extLst>
          </c:dPt>
          <c:dPt>
            <c:idx val="2"/>
            <c:invertIfNegative val="0"/>
            <c:bubble3D val="0"/>
            <c:spPr>
              <a:solidFill>
                <a:schemeClr val="accent6">
                  <a:alpha val="50000"/>
                </a:schemeClr>
              </a:solidFill>
            </c:spPr>
            <c:extLst xmlns:c16r2="http://schemas.microsoft.com/office/drawing/2015/06/chart">
              <c:ext xmlns:c16="http://schemas.microsoft.com/office/drawing/2014/chart" uri="{C3380CC4-5D6E-409C-BE32-E72D297353CC}">
                <c16:uniqueId val="{00000038-DB3E-4C48-905B-F292B647610E}"/>
              </c:ext>
            </c:extLst>
          </c:dPt>
          <c:dPt>
            <c:idx val="3"/>
            <c:invertIfNegative val="0"/>
            <c:bubble3D val="0"/>
            <c:spPr>
              <a:solidFill>
                <a:schemeClr val="accent6">
                  <a:lumMod val="60000"/>
                  <a:lumOff val="40000"/>
                  <a:alpha val="50000"/>
                </a:schemeClr>
              </a:solidFill>
            </c:spPr>
            <c:extLst xmlns:c16r2="http://schemas.microsoft.com/office/drawing/2015/06/chart">
              <c:ext xmlns:c16="http://schemas.microsoft.com/office/drawing/2014/chart" uri="{C3380CC4-5D6E-409C-BE32-E72D297353CC}">
                <c16:uniqueId val="{00000031-1AF5-4E79-A05D-6DF5F208E5B8}"/>
              </c:ext>
            </c:extLst>
          </c:dPt>
          <c:dPt>
            <c:idx val="4"/>
            <c:invertIfNegative val="0"/>
            <c:bubble3D val="0"/>
            <c:spPr>
              <a:solidFill>
                <a:schemeClr val="accent2">
                  <a:alpha val="50000"/>
                </a:schemeClr>
              </a:solidFill>
            </c:spPr>
            <c:extLst xmlns:c16r2="http://schemas.microsoft.com/office/drawing/2015/06/chart">
              <c:ext xmlns:c16="http://schemas.microsoft.com/office/drawing/2014/chart" uri="{C3380CC4-5D6E-409C-BE32-E72D297353CC}">
                <c16:uniqueId val="{00000033-1AF5-4E79-A05D-6DF5F208E5B8}"/>
              </c:ext>
            </c:extLst>
          </c:dPt>
          <c:dPt>
            <c:idx val="5"/>
            <c:invertIfNegative val="0"/>
            <c:bubble3D val="0"/>
            <c:spPr>
              <a:solidFill>
                <a:schemeClr val="tx2">
                  <a:alpha val="50000"/>
                </a:schemeClr>
              </a:solidFill>
            </c:spPr>
            <c:extLst xmlns:c16r2="http://schemas.microsoft.com/office/drawing/2015/06/chart">
              <c:ext xmlns:c16="http://schemas.microsoft.com/office/drawing/2014/chart" uri="{C3380CC4-5D6E-409C-BE32-E72D297353CC}">
                <c16:uniqueId val="{00000039-DB3E-4C48-905B-F292B647610E}"/>
              </c:ext>
            </c:extLst>
          </c:dPt>
          <c:dPt>
            <c:idx val="6"/>
            <c:invertIfNegative val="0"/>
            <c:bubble3D val="0"/>
            <c:spPr>
              <a:solidFill>
                <a:schemeClr val="accent4">
                  <a:alpha val="50000"/>
                </a:schemeClr>
              </a:solidFill>
            </c:spPr>
            <c:extLst xmlns:c16r2="http://schemas.microsoft.com/office/drawing/2015/06/chart">
              <c:ext xmlns:c16="http://schemas.microsoft.com/office/drawing/2014/chart" uri="{C3380CC4-5D6E-409C-BE32-E72D297353CC}">
                <c16:uniqueId val="{00000035-1AF5-4E79-A05D-6DF5F208E5B8}"/>
              </c:ext>
            </c:extLst>
          </c:dPt>
          <c:dPt>
            <c:idx val="7"/>
            <c:invertIfNegative val="0"/>
            <c:bubble3D val="0"/>
            <c:spPr>
              <a:solidFill>
                <a:schemeClr val="accent5">
                  <a:alpha val="50000"/>
                </a:schemeClr>
              </a:solidFill>
            </c:spPr>
            <c:extLst xmlns:c16r2="http://schemas.microsoft.com/office/drawing/2015/06/chart">
              <c:ext xmlns:c16="http://schemas.microsoft.com/office/drawing/2014/chart" uri="{C3380CC4-5D6E-409C-BE32-E72D297353CC}">
                <c16:uniqueId val="{00000037-1AF5-4E79-A05D-6DF5F208E5B8}"/>
              </c:ext>
            </c:extLst>
          </c:dPt>
          <c:dPt>
            <c:idx val="8"/>
            <c:invertIfNegative val="0"/>
            <c:bubble3D val="0"/>
            <c:spPr>
              <a:solidFill>
                <a:schemeClr val="bg2">
                  <a:lumMod val="60000"/>
                  <a:lumOff val="40000"/>
                  <a:alpha val="50000"/>
                </a:schemeClr>
              </a:solidFill>
            </c:spPr>
            <c:extLst xmlns:c16r2="http://schemas.microsoft.com/office/drawing/2015/06/chart">
              <c:ext xmlns:c16="http://schemas.microsoft.com/office/drawing/2014/chart" uri="{C3380CC4-5D6E-409C-BE32-E72D297353CC}">
                <c16:uniqueId val="{00000039-1AF5-4E79-A05D-6DF5F208E5B8}"/>
              </c:ext>
            </c:extLst>
          </c:dPt>
          <c:dLbls>
            <c:spPr>
              <a:noFill/>
              <a:ln>
                <a:noFill/>
              </a:ln>
              <a:effectLst/>
            </c:spPr>
            <c:txPr>
              <a:bodyPr wrap="square" lIns="38100" tIns="19050" rIns="38100" bIns="19050" anchor="ctr">
                <a:spAutoFit/>
              </a:bodyPr>
              <a:lstStyle/>
              <a:p>
                <a:pPr>
                  <a:defRPr sz="900"/>
                </a:pPr>
                <a:endParaRPr lang="nl-N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Sheet1!$A$2:$A$10</c:f>
              <c:strCache>
                <c:ptCount val="9"/>
                <c:pt idx="0">
                  <c:v>Via een winkelbezoek</c:v>
                </c:pt>
                <c:pt idx="1">
                  <c:v>Via chatapplicaties (zoals Whatsapp) met tekst berichten</c:v>
                </c:pt>
                <c:pt idx="2">
                  <c:v>Via de (mobiele) website van het bedrijf en email</c:v>
                </c:pt>
                <c:pt idx="3">
                  <c:v>Via een telefoongesprek</c:v>
                </c:pt>
                <c:pt idx="4">
                  <c:v>Via chatapplicaties (zoals Whatsapp) met spraak berichten</c:v>
                </c:pt>
                <c:pt idx="5">
                  <c:v>Via mobiele app van het bedrijf</c:v>
                </c:pt>
                <c:pt idx="6">
                  <c:v>Via social media platform (zoals Facebook)</c:v>
                </c:pt>
                <c:pt idx="7">
                  <c:v>Op een andere manier</c:v>
                </c:pt>
                <c:pt idx="8">
                  <c:v>Geen behoefte aan, ik probeer het liever zelf op te zoeken</c:v>
                </c:pt>
              </c:strCache>
            </c:strRef>
          </c:cat>
          <c:val>
            <c:numRef>
              <c:f>Sheet1!$D$2:$D$10</c:f>
              <c:numCache>
                <c:formatCode>0%</c:formatCode>
                <c:ptCount val="9"/>
                <c:pt idx="0">
                  <c:v>0.57999999999999996</c:v>
                </c:pt>
                <c:pt idx="1">
                  <c:v>0.21</c:v>
                </c:pt>
                <c:pt idx="2">
                  <c:v>0.18</c:v>
                </c:pt>
                <c:pt idx="3">
                  <c:v>0.15</c:v>
                </c:pt>
                <c:pt idx="4">
                  <c:v>0.08</c:v>
                </c:pt>
                <c:pt idx="5">
                  <c:v>7.0000000000000007E-2</c:v>
                </c:pt>
                <c:pt idx="6">
                  <c:v>0.04</c:v>
                </c:pt>
                <c:pt idx="7">
                  <c:v>0.01</c:v>
                </c:pt>
                <c:pt idx="8">
                  <c:v>7.0000000000000007E-2</c:v>
                </c:pt>
              </c:numCache>
            </c:numRef>
          </c:val>
          <c:extLst xmlns:c16r2="http://schemas.microsoft.com/office/drawing/2015/06/chart">
            <c:ext xmlns:c16="http://schemas.microsoft.com/office/drawing/2014/chart" uri="{C3380CC4-5D6E-409C-BE32-E72D297353CC}">
              <c16:uniqueId val="{0000003A-1AF5-4E79-A05D-6DF5F208E5B8}"/>
            </c:ext>
          </c:extLst>
        </c:ser>
        <c:dLbls>
          <c:showLegendKey val="0"/>
          <c:showVal val="1"/>
          <c:showCatName val="0"/>
          <c:showSerName val="0"/>
          <c:showPercent val="0"/>
          <c:showBubbleSize val="0"/>
        </c:dLbls>
        <c:gapWidth val="50"/>
        <c:axId val="501642480"/>
        <c:axId val="501637776"/>
      </c:barChart>
      <c:catAx>
        <c:axId val="501642480"/>
        <c:scaling>
          <c:orientation val="minMax"/>
        </c:scaling>
        <c:delete val="1"/>
        <c:axPos val="b"/>
        <c:numFmt formatCode="General" sourceLinked="1"/>
        <c:majorTickMark val="out"/>
        <c:minorTickMark val="none"/>
        <c:tickLblPos val="nextTo"/>
        <c:crossAx val="501637776"/>
        <c:crosses val="autoZero"/>
        <c:auto val="1"/>
        <c:lblAlgn val="ctr"/>
        <c:lblOffset val="100"/>
        <c:noMultiLvlLbl val="0"/>
      </c:catAx>
      <c:valAx>
        <c:axId val="501637776"/>
        <c:scaling>
          <c:orientation val="minMax"/>
        </c:scaling>
        <c:delete val="1"/>
        <c:axPos val="l"/>
        <c:numFmt formatCode="0%" sourceLinked="1"/>
        <c:majorTickMark val="out"/>
        <c:minorTickMark val="none"/>
        <c:tickLblPos val="nextTo"/>
        <c:crossAx val="501642480"/>
        <c:crosses val="autoZero"/>
        <c:crossBetween val="between"/>
      </c:valAx>
    </c:plotArea>
    <c:plotVisOnly val="1"/>
    <c:dispBlanksAs val="gap"/>
    <c:showDLblsOverMax val="0"/>
  </c:chart>
  <c:txPr>
    <a:bodyPr/>
    <a:lstStyle/>
    <a:p>
      <a:pPr>
        <a:defRPr sz="1800"/>
      </a:pPr>
      <a:endParaRPr lang="nl-NL"/>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6404819752483327E-2"/>
          <c:y val="0.12222222222222222"/>
          <c:w val="0.96719036049503337"/>
          <c:h val="0.75555555555555554"/>
        </c:manualLayout>
      </c:layout>
      <c:barChart>
        <c:barDir val="col"/>
        <c:grouping val="clustered"/>
        <c:varyColors val="0"/>
        <c:ser>
          <c:idx val="0"/>
          <c:order val="0"/>
          <c:tx>
            <c:strRef>
              <c:f>Sheet1!$B$1</c:f>
              <c:strCache>
                <c:ptCount val="1"/>
                <c:pt idx="0">
                  <c:v>2020</c:v>
                </c:pt>
              </c:strCache>
            </c:strRef>
          </c:tx>
          <c:spPr>
            <a:solidFill>
              <a:schemeClr val="accent1"/>
            </a:solidFill>
          </c:spPr>
          <c:invertIfNegative val="0"/>
          <c:dPt>
            <c:idx val="0"/>
            <c:invertIfNegative val="0"/>
            <c:bubble3D val="0"/>
            <c:spPr>
              <a:solidFill>
                <a:schemeClr val="accent3"/>
              </a:solidFill>
            </c:spPr>
            <c:extLst xmlns:c16r2="http://schemas.microsoft.com/office/drawing/2015/06/chart">
              <c:ext xmlns:c16="http://schemas.microsoft.com/office/drawing/2014/chart" uri="{C3380CC4-5D6E-409C-BE32-E72D297353CC}">
                <c16:uniqueId val="{00000001-6499-4CC5-ABD8-C6282A8459BF}"/>
              </c:ext>
            </c:extLst>
          </c:dPt>
          <c:dPt>
            <c:idx val="1"/>
            <c:invertIfNegative val="0"/>
            <c:bubble3D val="0"/>
            <c:spPr>
              <a:solidFill>
                <a:schemeClr val="accent3">
                  <a:lumMod val="60000"/>
                  <a:lumOff val="40000"/>
                </a:schemeClr>
              </a:solidFill>
            </c:spPr>
            <c:extLst xmlns:c16r2="http://schemas.microsoft.com/office/drawing/2015/06/chart">
              <c:ext xmlns:c16="http://schemas.microsoft.com/office/drawing/2014/chart" uri="{C3380CC4-5D6E-409C-BE32-E72D297353CC}">
                <c16:uniqueId val="{00000003-6499-4CC5-ABD8-C6282A8459BF}"/>
              </c:ext>
            </c:extLst>
          </c:dPt>
          <c:dPt>
            <c:idx val="2"/>
            <c:invertIfNegative val="0"/>
            <c:bubble3D val="0"/>
            <c:spPr>
              <a:solidFill>
                <a:schemeClr val="accent6"/>
              </a:solidFill>
            </c:spPr>
            <c:extLst xmlns:c16r2="http://schemas.microsoft.com/office/drawing/2015/06/chart">
              <c:ext xmlns:c16="http://schemas.microsoft.com/office/drawing/2014/chart" uri="{C3380CC4-5D6E-409C-BE32-E72D297353CC}">
                <c16:uniqueId val="{00000005-6499-4CC5-ABD8-C6282A8459BF}"/>
              </c:ext>
            </c:extLst>
          </c:dPt>
          <c:dPt>
            <c:idx val="3"/>
            <c:invertIfNegative val="0"/>
            <c:bubble3D val="0"/>
            <c:spPr>
              <a:solidFill>
                <a:schemeClr val="accent6">
                  <a:lumMod val="60000"/>
                  <a:lumOff val="40000"/>
                </a:schemeClr>
              </a:solidFill>
            </c:spPr>
            <c:extLst xmlns:c16r2="http://schemas.microsoft.com/office/drawing/2015/06/chart">
              <c:ext xmlns:c16="http://schemas.microsoft.com/office/drawing/2014/chart" uri="{C3380CC4-5D6E-409C-BE32-E72D297353CC}">
                <c16:uniqueId val="{00000007-6499-4CC5-ABD8-C6282A8459BF}"/>
              </c:ext>
            </c:extLst>
          </c:dPt>
          <c:dPt>
            <c:idx val="4"/>
            <c:invertIfNegative val="0"/>
            <c:bubble3D val="0"/>
            <c:spPr>
              <a:solidFill>
                <a:schemeClr val="accent2"/>
              </a:solidFill>
            </c:spPr>
            <c:extLst xmlns:c16r2="http://schemas.microsoft.com/office/drawing/2015/06/chart">
              <c:ext xmlns:c16="http://schemas.microsoft.com/office/drawing/2014/chart" uri="{C3380CC4-5D6E-409C-BE32-E72D297353CC}">
                <c16:uniqueId val="{00000009-6499-4CC5-ABD8-C6282A8459BF}"/>
              </c:ext>
            </c:extLst>
          </c:dPt>
          <c:dPt>
            <c:idx val="5"/>
            <c:invertIfNegative val="0"/>
            <c:bubble3D val="0"/>
            <c:spPr>
              <a:solidFill>
                <a:schemeClr val="tx2"/>
              </a:solidFill>
            </c:spPr>
            <c:extLst xmlns:c16r2="http://schemas.microsoft.com/office/drawing/2015/06/chart">
              <c:ext xmlns:c16="http://schemas.microsoft.com/office/drawing/2014/chart" uri="{C3380CC4-5D6E-409C-BE32-E72D297353CC}">
                <c16:uniqueId val="{0000000B-6499-4CC5-ABD8-C6282A8459BF}"/>
              </c:ext>
            </c:extLst>
          </c:dPt>
          <c:dPt>
            <c:idx val="6"/>
            <c:invertIfNegative val="0"/>
            <c:bubble3D val="0"/>
            <c:spPr>
              <a:solidFill>
                <a:schemeClr val="accent4"/>
              </a:solidFill>
            </c:spPr>
            <c:extLst xmlns:c16r2="http://schemas.microsoft.com/office/drawing/2015/06/chart">
              <c:ext xmlns:c16="http://schemas.microsoft.com/office/drawing/2014/chart" uri="{C3380CC4-5D6E-409C-BE32-E72D297353CC}">
                <c16:uniqueId val="{0000000D-6499-4CC5-ABD8-C6282A8459BF}"/>
              </c:ext>
            </c:extLst>
          </c:dPt>
          <c:dPt>
            <c:idx val="7"/>
            <c:invertIfNegative val="0"/>
            <c:bubble3D val="0"/>
            <c:spPr>
              <a:solidFill>
                <a:schemeClr val="accent5"/>
              </a:solidFill>
            </c:spPr>
            <c:extLst xmlns:c16r2="http://schemas.microsoft.com/office/drawing/2015/06/chart">
              <c:ext xmlns:c16="http://schemas.microsoft.com/office/drawing/2014/chart" uri="{C3380CC4-5D6E-409C-BE32-E72D297353CC}">
                <c16:uniqueId val="{0000000F-6499-4CC5-ABD8-C6282A8459BF}"/>
              </c:ext>
            </c:extLst>
          </c:dPt>
          <c:dPt>
            <c:idx val="8"/>
            <c:invertIfNegative val="0"/>
            <c:bubble3D val="0"/>
            <c:extLst xmlns:c16r2="http://schemas.microsoft.com/office/drawing/2015/06/chart">
              <c:ext xmlns:c16="http://schemas.microsoft.com/office/drawing/2014/chart" uri="{C3380CC4-5D6E-409C-BE32-E72D297353CC}">
                <c16:uniqueId val="{00000011-6499-4CC5-ABD8-C6282A8459BF}"/>
              </c:ext>
            </c:extLst>
          </c:dPt>
          <c:dPt>
            <c:idx val="10"/>
            <c:invertIfNegative val="0"/>
            <c:bubble3D val="0"/>
            <c:spPr>
              <a:solidFill>
                <a:schemeClr val="accent3"/>
              </a:solidFill>
            </c:spPr>
            <c:extLst xmlns:c16r2="http://schemas.microsoft.com/office/drawing/2015/06/chart">
              <c:ext xmlns:c16="http://schemas.microsoft.com/office/drawing/2014/chart" uri="{C3380CC4-5D6E-409C-BE32-E72D297353CC}">
                <c16:uniqueId val="{00000015-6499-4CC5-ABD8-C6282A8459BF}"/>
              </c:ext>
            </c:extLst>
          </c:dPt>
          <c:dPt>
            <c:idx val="11"/>
            <c:invertIfNegative val="0"/>
            <c:bubble3D val="0"/>
            <c:spPr>
              <a:solidFill>
                <a:schemeClr val="accent4"/>
              </a:solidFill>
            </c:spPr>
            <c:extLst xmlns:c16r2="http://schemas.microsoft.com/office/drawing/2015/06/chart">
              <c:ext xmlns:c16="http://schemas.microsoft.com/office/drawing/2014/chart" uri="{C3380CC4-5D6E-409C-BE32-E72D297353CC}">
                <c16:uniqueId val="{00000017-6499-4CC5-ABD8-C6282A8459BF}"/>
              </c:ext>
            </c:extLst>
          </c:dPt>
          <c:dLbls>
            <c:dLbl>
              <c:idx val="7"/>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F-6499-4CC5-ABD8-C6282A8459BF}"/>
                </c:ext>
                <c:ext xmlns:c15="http://schemas.microsoft.com/office/drawing/2012/chart" uri="{CE6537A1-D6FC-4f65-9D91-7224C49458BB}"/>
              </c:extLst>
            </c:dLbl>
            <c:spPr>
              <a:noFill/>
              <a:ln>
                <a:noFill/>
              </a:ln>
              <a:effectLst/>
            </c:spPr>
            <c:txPr>
              <a:bodyPr wrap="square" lIns="38100" tIns="19050" rIns="38100" bIns="19050" anchor="ctr">
                <a:spAutoFit/>
              </a:bodyPr>
              <a:lstStyle/>
              <a:p>
                <a:pPr>
                  <a:defRPr sz="900"/>
                </a:pPr>
                <a:endParaRPr lang="nl-NL"/>
              </a:p>
            </c:txPr>
            <c:dLblPos val="out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Sheet1!$A$2:$A$10</c:f>
              <c:strCache>
                <c:ptCount val="9"/>
                <c:pt idx="0">
                  <c:v>Via een winkelbezoek</c:v>
                </c:pt>
                <c:pt idx="1">
                  <c:v>Via chatapplicaties (zoals Whatsapp) met tekst berichten</c:v>
                </c:pt>
                <c:pt idx="2">
                  <c:v>Via de (mobiele) website van het bedrijf en email</c:v>
                </c:pt>
                <c:pt idx="3">
                  <c:v>Via een telefoongesprek</c:v>
                </c:pt>
                <c:pt idx="4">
                  <c:v>Via chatapplicaties (zoals Whatsapp) met spraak berichten</c:v>
                </c:pt>
                <c:pt idx="5">
                  <c:v>Via mobiele app van het bedrijf</c:v>
                </c:pt>
                <c:pt idx="6">
                  <c:v>Via social media platform (zoals Facebook)</c:v>
                </c:pt>
                <c:pt idx="7">
                  <c:v>Op een andere manier</c:v>
                </c:pt>
                <c:pt idx="8">
                  <c:v>Geen behoefte aan, ik probeer het liever zelf op te zoeken</c:v>
                </c:pt>
              </c:strCache>
            </c:strRef>
          </c:cat>
          <c:val>
            <c:numRef>
              <c:f>Sheet1!$B$2:$B$10</c:f>
              <c:numCache>
                <c:formatCode>0%</c:formatCode>
                <c:ptCount val="9"/>
                <c:pt idx="0">
                  <c:v>0.68</c:v>
                </c:pt>
                <c:pt idx="1">
                  <c:v>0.31</c:v>
                </c:pt>
                <c:pt idx="2">
                  <c:v>0.19</c:v>
                </c:pt>
                <c:pt idx="3">
                  <c:v>0.24</c:v>
                </c:pt>
                <c:pt idx="4">
                  <c:v>0.21</c:v>
                </c:pt>
                <c:pt idx="5">
                  <c:v>0.13</c:v>
                </c:pt>
                <c:pt idx="6">
                  <c:v>0.14000000000000001</c:v>
                </c:pt>
                <c:pt idx="7">
                  <c:v>0.01</c:v>
                </c:pt>
                <c:pt idx="8">
                  <c:v>0.08</c:v>
                </c:pt>
              </c:numCache>
            </c:numRef>
          </c:val>
          <c:extLst xmlns:c16r2="http://schemas.microsoft.com/office/drawing/2015/06/chart">
            <c:ext xmlns:c16="http://schemas.microsoft.com/office/drawing/2014/chart" uri="{C3380CC4-5D6E-409C-BE32-E72D297353CC}">
              <c16:uniqueId val="{00000018-6499-4CC5-ABD8-C6282A8459BF}"/>
            </c:ext>
          </c:extLst>
        </c:ser>
        <c:ser>
          <c:idx val="1"/>
          <c:order val="1"/>
          <c:tx>
            <c:strRef>
              <c:f>Sheet1!$C$1</c:f>
              <c:strCache>
                <c:ptCount val="1"/>
                <c:pt idx="0">
                  <c:v>20192</c:v>
                </c:pt>
              </c:strCache>
            </c:strRef>
          </c:tx>
          <c:spPr>
            <a:solidFill>
              <a:schemeClr val="accent1">
                <a:lumMod val="60000"/>
                <a:lumOff val="40000"/>
              </a:schemeClr>
            </a:solidFill>
          </c:spPr>
          <c:invertIfNegative val="0"/>
          <c:dPt>
            <c:idx val="0"/>
            <c:invertIfNegative val="0"/>
            <c:bubble3D val="0"/>
            <c:spPr>
              <a:solidFill>
                <a:schemeClr val="accent3">
                  <a:alpha val="75000"/>
                </a:schemeClr>
              </a:solidFill>
            </c:spPr>
            <c:extLst xmlns:c16r2="http://schemas.microsoft.com/office/drawing/2015/06/chart">
              <c:ext xmlns:c16="http://schemas.microsoft.com/office/drawing/2014/chart" uri="{C3380CC4-5D6E-409C-BE32-E72D297353CC}">
                <c16:uniqueId val="{0000001A-6499-4CC5-ABD8-C6282A8459BF}"/>
              </c:ext>
            </c:extLst>
          </c:dPt>
          <c:dPt>
            <c:idx val="1"/>
            <c:invertIfNegative val="0"/>
            <c:bubble3D val="0"/>
            <c:spPr>
              <a:solidFill>
                <a:schemeClr val="accent3">
                  <a:lumMod val="60000"/>
                  <a:lumOff val="40000"/>
                  <a:alpha val="75000"/>
                </a:schemeClr>
              </a:solidFill>
            </c:spPr>
            <c:extLst xmlns:c16r2="http://schemas.microsoft.com/office/drawing/2015/06/chart">
              <c:ext xmlns:c16="http://schemas.microsoft.com/office/drawing/2014/chart" uri="{C3380CC4-5D6E-409C-BE32-E72D297353CC}">
                <c16:uniqueId val="{0000001C-6499-4CC5-ABD8-C6282A8459BF}"/>
              </c:ext>
            </c:extLst>
          </c:dPt>
          <c:dPt>
            <c:idx val="2"/>
            <c:invertIfNegative val="0"/>
            <c:bubble3D val="0"/>
            <c:spPr>
              <a:solidFill>
                <a:schemeClr val="accent6">
                  <a:alpha val="75000"/>
                </a:schemeClr>
              </a:solidFill>
            </c:spPr>
            <c:extLst xmlns:c16r2="http://schemas.microsoft.com/office/drawing/2015/06/chart">
              <c:ext xmlns:c16="http://schemas.microsoft.com/office/drawing/2014/chart" uri="{C3380CC4-5D6E-409C-BE32-E72D297353CC}">
                <c16:uniqueId val="{0000001E-6499-4CC5-ABD8-C6282A8459BF}"/>
              </c:ext>
            </c:extLst>
          </c:dPt>
          <c:dPt>
            <c:idx val="3"/>
            <c:invertIfNegative val="0"/>
            <c:bubble3D val="0"/>
            <c:spPr>
              <a:solidFill>
                <a:schemeClr val="accent6">
                  <a:lumMod val="60000"/>
                  <a:lumOff val="40000"/>
                  <a:alpha val="75000"/>
                </a:schemeClr>
              </a:solidFill>
            </c:spPr>
            <c:extLst xmlns:c16r2="http://schemas.microsoft.com/office/drawing/2015/06/chart">
              <c:ext xmlns:c16="http://schemas.microsoft.com/office/drawing/2014/chart" uri="{C3380CC4-5D6E-409C-BE32-E72D297353CC}">
                <c16:uniqueId val="{00000020-6499-4CC5-ABD8-C6282A8459BF}"/>
              </c:ext>
            </c:extLst>
          </c:dPt>
          <c:dPt>
            <c:idx val="4"/>
            <c:invertIfNegative val="0"/>
            <c:bubble3D val="0"/>
            <c:spPr>
              <a:solidFill>
                <a:schemeClr val="accent2">
                  <a:alpha val="75000"/>
                </a:schemeClr>
              </a:solidFill>
            </c:spPr>
            <c:extLst xmlns:c16r2="http://schemas.microsoft.com/office/drawing/2015/06/chart">
              <c:ext xmlns:c16="http://schemas.microsoft.com/office/drawing/2014/chart" uri="{C3380CC4-5D6E-409C-BE32-E72D297353CC}">
                <c16:uniqueId val="{00000022-6499-4CC5-ABD8-C6282A8459BF}"/>
              </c:ext>
            </c:extLst>
          </c:dPt>
          <c:dPt>
            <c:idx val="5"/>
            <c:invertIfNegative val="0"/>
            <c:bubble3D val="0"/>
            <c:spPr>
              <a:solidFill>
                <a:schemeClr val="tx2">
                  <a:alpha val="75000"/>
                </a:schemeClr>
              </a:solidFill>
            </c:spPr>
            <c:extLst xmlns:c16r2="http://schemas.microsoft.com/office/drawing/2015/06/chart">
              <c:ext xmlns:c16="http://schemas.microsoft.com/office/drawing/2014/chart" uri="{C3380CC4-5D6E-409C-BE32-E72D297353CC}">
                <c16:uniqueId val="{00000024-6499-4CC5-ABD8-C6282A8459BF}"/>
              </c:ext>
            </c:extLst>
          </c:dPt>
          <c:dPt>
            <c:idx val="6"/>
            <c:invertIfNegative val="0"/>
            <c:bubble3D val="0"/>
            <c:spPr>
              <a:solidFill>
                <a:schemeClr val="accent4">
                  <a:alpha val="75000"/>
                </a:schemeClr>
              </a:solidFill>
            </c:spPr>
            <c:extLst xmlns:c16r2="http://schemas.microsoft.com/office/drawing/2015/06/chart">
              <c:ext xmlns:c16="http://schemas.microsoft.com/office/drawing/2014/chart" uri="{C3380CC4-5D6E-409C-BE32-E72D297353CC}">
                <c16:uniqueId val="{00000026-6499-4CC5-ABD8-C6282A8459BF}"/>
              </c:ext>
            </c:extLst>
          </c:dPt>
          <c:dPt>
            <c:idx val="7"/>
            <c:invertIfNegative val="0"/>
            <c:bubble3D val="0"/>
            <c:spPr>
              <a:solidFill>
                <a:schemeClr val="accent5">
                  <a:lumMod val="60000"/>
                  <a:lumOff val="40000"/>
                </a:schemeClr>
              </a:solidFill>
            </c:spPr>
            <c:extLst xmlns:c16r2="http://schemas.microsoft.com/office/drawing/2015/06/chart">
              <c:ext xmlns:c16="http://schemas.microsoft.com/office/drawing/2014/chart" uri="{C3380CC4-5D6E-409C-BE32-E72D297353CC}">
                <c16:uniqueId val="{00000028-6499-4CC5-ABD8-C6282A8459BF}"/>
              </c:ext>
            </c:extLst>
          </c:dPt>
          <c:dPt>
            <c:idx val="8"/>
            <c:invertIfNegative val="0"/>
            <c:bubble3D val="0"/>
            <c:spPr>
              <a:solidFill>
                <a:schemeClr val="accent1">
                  <a:alpha val="75000"/>
                </a:schemeClr>
              </a:solidFill>
            </c:spPr>
            <c:extLst xmlns:c16r2="http://schemas.microsoft.com/office/drawing/2015/06/chart">
              <c:ext xmlns:c16="http://schemas.microsoft.com/office/drawing/2014/chart" uri="{C3380CC4-5D6E-409C-BE32-E72D297353CC}">
                <c16:uniqueId val="{0000002A-6499-4CC5-ABD8-C6282A8459BF}"/>
              </c:ext>
            </c:extLst>
          </c:dPt>
          <c:dLbls>
            <c:dLbl>
              <c:idx val="7"/>
              <c:delete val="1"/>
              <c:extLst xmlns:c16r2="http://schemas.microsoft.com/office/drawing/2015/06/chart">
                <c:ext xmlns:c16="http://schemas.microsoft.com/office/drawing/2014/chart" uri="{C3380CC4-5D6E-409C-BE32-E72D297353CC}">
                  <c16:uniqueId val="{00000028-6499-4CC5-ABD8-C6282A8459BF}"/>
                </c:ext>
                <c:ext xmlns:c15="http://schemas.microsoft.com/office/drawing/2012/chart" uri="{CE6537A1-D6FC-4f65-9D91-7224C49458BB}"/>
              </c:extLst>
            </c:dLbl>
            <c:spPr>
              <a:noFill/>
              <a:ln>
                <a:noFill/>
              </a:ln>
              <a:effectLst/>
            </c:spPr>
            <c:txPr>
              <a:bodyPr wrap="square" lIns="38100" tIns="19050" rIns="38100" bIns="19050" anchor="ctr">
                <a:spAutoFit/>
              </a:bodyPr>
              <a:lstStyle/>
              <a:p>
                <a:pPr>
                  <a:defRPr sz="900"/>
                </a:pPr>
                <a:endParaRPr lang="nl-N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Sheet1!$A$2:$A$10</c:f>
              <c:strCache>
                <c:ptCount val="9"/>
                <c:pt idx="0">
                  <c:v>Via een winkelbezoek</c:v>
                </c:pt>
                <c:pt idx="1">
                  <c:v>Via chatapplicaties (zoals Whatsapp) met tekst berichten</c:v>
                </c:pt>
                <c:pt idx="2">
                  <c:v>Via de (mobiele) website van het bedrijf en email</c:v>
                </c:pt>
                <c:pt idx="3">
                  <c:v>Via een telefoongesprek</c:v>
                </c:pt>
                <c:pt idx="4">
                  <c:v>Via chatapplicaties (zoals Whatsapp) met spraak berichten</c:v>
                </c:pt>
                <c:pt idx="5">
                  <c:v>Via mobiele app van het bedrijf</c:v>
                </c:pt>
                <c:pt idx="6">
                  <c:v>Via social media platform (zoals Facebook)</c:v>
                </c:pt>
                <c:pt idx="7">
                  <c:v>Op een andere manier</c:v>
                </c:pt>
                <c:pt idx="8">
                  <c:v>Geen behoefte aan, ik probeer het liever zelf op te zoeken</c:v>
                </c:pt>
              </c:strCache>
            </c:strRef>
          </c:cat>
          <c:val>
            <c:numRef>
              <c:f>Sheet1!$C$2:$C$10</c:f>
              <c:numCache>
                <c:formatCode>0%</c:formatCode>
                <c:ptCount val="9"/>
                <c:pt idx="0">
                  <c:v>0.66200000000000003</c:v>
                </c:pt>
                <c:pt idx="1">
                  <c:v>0.33100000000000002</c:v>
                </c:pt>
                <c:pt idx="2">
                  <c:v>0.24399999999999999</c:v>
                </c:pt>
                <c:pt idx="3">
                  <c:v>0.24299999999999999</c:v>
                </c:pt>
                <c:pt idx="4">
                  <c:v>0.13600000000000001</c:v>
                </c:pt>
                <c:pt idx="5">
                  <c:v>0.14399999999999999</c:v>
                </c:pt>
                <c:pt idx="6">
                  <c:v>0.14099999999999999</c:v>
                </c:pt>
                <c:pt idx="7">
                  <c:v>0</c:v>
                </c:pt>
                <c:pt idx="8">
                  <c:v>7.0000000000000007E-2</c:v>
                </c:pt>
              </c:numCache>
            </c:numRef>
          </c:val>
          <c:extLst xmlns:c16r2="http://schemas.microsoft.com/office/drawing/2015/06/chart">
            <c:ext xmlns:c16="http://schemas.microsoft.com/office/drawing/2014/chart" uri="{C3380CC4-5D6E-409C-BE32-E72D297353CC}">
              <c16:uniqueId val="{0000002B-6499-4CC5-ABD8-C6282A8459BF}"/>
            </c:ext>
          </c:extLst>
        </c:ser>
        <c:ser>
          <c:idx val="2"/>
          <c:order val="2"/>
          <c:tx>
            <c:strRef>
              <c:f>Sheet1!$D$1</c:f>
              <c:strCache>
                <c:ptCount val="1"/>
                <c:pt idx="0">
                  <c:v>2018</c:v>
                </c:pt>
              </c:strCache>
            </c:strRef>
          </c:tx>
          <c:invertIfNegative val="0"/>
          <c:dPt>
            <c:idx val="0"/>
            <c:invertIfNegative val="0"/>
            <c:bubble3D val="0"/>
            <c:spPr>
              <a:solidFill>
                <a:schemeClr val="accent3">
                  <a:alpha val="50000"/>
                </a:schemeClr>
              </a:solidFill>
            </c:spPr>
            <c:extLst xmlns:c16r2="http://schemas.microsoft.com/office/drawing/2015/06/chart">
              <c:ext xmlns:c16="http://schemas.microsoft.com/office/drawing/2014/chart" uri="{C3380CC4-5D6E-409C-BE32-E72D297353CC}">
                <c16:uniqueId val="{0000002D-6499-4CC5-ABD8-C6282A8459BF}"/>
              </c:ext>
            </c:extLst>
          </c:dPt>
          <c:dPt>
            <c:idx val="1"/>
            <c:invertIfNegative val="0"/>
            <c:bubble3D val="0"/>
            <c:spPr>
              <a:solidFill>
                <a:schemeClr val="accent3">
                  <a:lumMod val="60000"/>
                  <a:lumOff val="40000"/>
                  <a:alpha val="50000"/>
                </a:schemeClr>
              </a:solidFill>
            </c:spPr>
            <c:extLst xmlns:c16r2="http://schemas.microsoft.com/office/drawing/2015/06/chart">
              <c:ext xmlns:c16="http://schemas.microsoft.com/office/drawing/2014/chart" uri="{C3380CC4-5D6E-409C-BE32-E72D297353CC}">
                <c16:uniqueId val="{0000002F-6499-4CC5-ABD8-C6282A8459BF}"/>
              </c:ext>
            </c:extLst>
          </c:dPt>
          <c:dPt>
            <c:idx val="2"/>
            <c:invertIfNegative val="0"/>
            <c:bubble3D val="0"/>
            <c:spPr>
              <a:solidFill>
                <a:schemeClr val="accent6">
                  <a:alpha val="50000"/>
                </a:schemeClr>
              </a:solidFill>
            </c:spPr>
            <c:extLst xmlns:c16r2="http://schemas.microsoft.com/office/drawing/2015/06/chart">
              <c:ext xmlns:c16="http://schemas.microsoft.com/office/drawing/2014/chart" uri="{C3380CC4-5D6E-409C-BE32-E72D297353CC}">
                <c16:uniqueId val="{00000038-979A-4AD2-A080-AE4D3A1B5E22}"/>
              </c:ext>
            </c:extLst>
          </c:dPt>
          <c:dPt>
            <c:idx val="3"/>
            <c:invertIfNegative val="0"/>
            <c:bubble3D val="0"/>
            <c:spPr>
              <a:solidFill>
                <a:schemeClr val="accent6">
                  <a:lumMod val="60000"/>
                  <a:lumOff val="40000"/>
                  <a:alpha val="50000"/>
                </a:schemeClr>
              </a:solidFill>
            </c:spPr>
            <c:extLst xmlns:c16r2="http://schemas.microsoft.com/office/drawing/2015/06/chart">
              <c:ext xmlns:c16="http://schemas.microsoft.com/office/drawing/2014/chart" uri="{C3380CC4-5D6E-409C-BE32-E72D297353CC}">
                <c16:uniqueId val="{00000031-6499-4CC5-ABD8-C6282A8459BF}"/>
              </c:ext>
            </c:extLst>
          </c:dPt>
          <c:dPt>
            <c:idx val="4"/>
            <c:invertIfNegative val="0"/>
            <c:bubble3D val="0"/>
            <c:spPr>
              <a:solidFill>
                <a:schemeClr val="accent2">
                  <a:alpha val="50000"/>
                </a:schemeClr>
              </a:solidFill>
            </c:spPr>
            <c:extLst xmlns:c16r2="http://schemas.microsoft.com/office/drawing/2015/06/chart">
              <c:ext xmlns:c16="http://schemas.microsoft.com/office/drawing/2014/chart" uri="{C3380CC4-5D6E-409C-BE32-E72D297353CC}">
                <c16:uniqueId val="{00000033-6499-4CC5-ABD8-C6282A8459BF}"/>
              </c:ext>
            </c:extLst>
          </c:dPt>
          <c:dPt>
            <c:idx val="5"/>
            <c:invertIfNegative val="0"/>
            <c:bubble3D val="0"/>
            <c:spPr>
              <a:solidFill>
                <a:schemeClr val="tx2">
                  <a:alpha val="50000"/>
                </a:schemeClr>
              </a:solidFill>
            </c:spPr>
            <c:extLst xmlns:c16r2="http://schemas.microsoft.com/office/drawing/2015/06/chart">
              <c:ext xmlns:c16="http://schemas.microsoft.com/office/drawing/2014/chart" uri="{C3380CC4-5D6E-409C-BE32-E72D297353CC}">
                <c16:uniqueId val="{00000039-979A-4AD2-A080-AE4D3A1B5E22}"/>
              </c:ext>
            </c:extLst>
          </c:dPt>
          <c:dPt>
            <c:idx val="6"/>
            <c:invertIfNegative val="0"/>
            <c:bubble3D val="0"/>
            <c:spPr>
              <a:solidFill>
                <a:schemeClr val="accent4">
                  <a:alpha val="50000"/>
                </a:schemeClr>
              </a:solidFill>
            </c:spPr>
            <c:extLst xmlns:c16r2="http://schemas.microsoft.com/office/drawing/2015/06/chart">
              <c:ext xmlns:c16="http://schemas.microsoft.com/office/drawing/2014/chart" uri="{C3380CC4-5D6E-409C-BE32-E72D297353CC}">
                <c16:uniqueId val="{00000035-6499-4CC5-ABD8-C6282A8459BF}"/>
              </c:ext>
            </c:extLst>
          </c:dPt>
          <c:dPt>
            <c:idx val="7"/>
            <c:invertIfNegative val="0"/>
            <c:bubble3D val="0"/>
            <c:spPr>
              <a:solidFill>
                <a:schemeClr val="accent5">
                  <a:alpha val="50000"/>
                </a:schemeClr>
              </a:solidFill>
            </c:spPr>
            <c:extLst xmlns:c16r2="http://schemas.microsoft.com/office/drawing/2015/06/chart">
              <c:ext xmlns:c16="http://schemas.microsoft.com/office/drawing/2014/chart" uri="{C3380CC4-5D6E-409C-BE32-E72D297353CC}">
                <c16:uniqueId val="{00000037-6499-4CC5-ABD8-C6282A8459BF}"/>
              </c:ext>
            </c:extLst>
          </c:dPt>
          <c:dPt>
            <c:idx val="8"/>
            <c:invertIfNegative val="0"/>
            <c:bubble3D val="0"/>
            <c:spPr>
              <a:solidFill>
                <a:schemeClr val="accent1">
                  <a:alpha val="50000"/>
                </a:schemeClr>
              </a:solidFill>
            </c:spPr>
            <c:extLst xmlns:c16r2="http://schemas.microsoft.com/office/drawing/2015/06/chart">
              <c:ext xmlns:c16="http://schemas.microsoft.com/office/drawing/2014/chart" uri="{C3380CC4-5D6E-409C-BE32-E72D297353CC}">
                <c16:uniqueId val="{00000039-6499-4CC5-ABD8-C6282A8459BF}"/>
              </c:ext>
            </c:extLst>
          </c:dPt>
          <c:dLbls>
            <c:spPr>
              <a:noFill/>
              <a:ln>
                <a:noFill/>
              </a:ln>
              <a:effectLst/>
            </c:spPr>
            <c:txPr>
              <a:bodyPr wrap="square" lIns="38100" tIns="19050" rIns="38100" bIns="19050" anchor="ctr">
                <a:spAutoFit/>
              </a:bodyPr>
              <a:lstStyle/>
              <a:p>
                <a:pPr>
                  <a:defRPr sz="900"/>
                </a:pPr>
                <a:endParaRPr lang="nl-N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ext>
            </c:extLst>
          </c:dLbls>
          <c:cat>
            <c:strRef>
              <c:f>Sheet1!$A$2:$A$10</c:f>
              <c:strCache>
                <c:ptCount val="9"/>
                <c:pt idx="0">
                  <c:v>Via een winkelbezoek</c:v>
                </c:pt>
                <c:pt idx="1">
                  <c:v>Via chatapplicaties (zoals Whatsapp) met tekst berichten</c:v>
                </c:pt>
                <c:pt idx="2">
                  <c:v>Via de (mobiele) website van het bedrijf en email</c:v>
                </c:pt>
                <c:pt idx="3">
                  <c:v>Via een telefoongesprek</c:v>
                </c:pt>
                <c:pt idx="4">
                  <c:v>Via chatapplicaties (zoals Whatsapp) met spraak berichten</c:v>
                </c:pt>
                <c:pt idx="5">
                  <c:v>Via mobiele app van het bedrijf</c:v>
                </c:pt>
                <c:pt idx="6">
                  <c:v>Via social media platform (zoals Facebook)</c:v>
                </c:pt>
                <c:pt idx="7">
                  <c:v>Op een andere manier</c:v>
                </c:pt>
                <c:pt idx="8">
                  <c:v>Geen behoefte aan, ik probeer het liever zelf op te zoeken</c:v>
                </c:pt>
              </c:strCache>
            </c:strRef>
          </c:cat>
          <c:val>
            <c:numRef>
              <c:f>Sheet1!$D$2:$D$10</c:f>
              <c:numCache>
                <c:formatCode>0%</c:formatCode>
                <c:ptCount val="9"/>
                <c:pt idx="0">
                  <c:v>0.49</c:v>
                </c:pt>
                <c:pt idx="1">
                  <c:v>0.21</c:v>
                </c:pt>
                <c:pt idx="2">
                  <c:v>0.21</c:v>
                </c:pt>
                <c:pt idx="3">
                  <c:v>0.19</c:v>
                </c:pt>
                <c:pt idx="4">
                  <c:v>0.13</c:v>
                </c:pt>
                <c:pt idx="5">
                  <c:v>0.09</c:v>
                </c:pt>
                <c:pt idx="6">
                  <c:v>0.06</c:v>
                </c:pt>
                <c:pt idx="7">
                  <c:v>0.01</c:v>
                </c:pt>
                <c:pt idx="8">
                  <c:v>7.0000000000000007E-2</c:v>
                </c:pt>
              </c:numCache>
            </c:numRef>
          </c:val>
          <c:extLst xmlns:c16r2="http://schemas.microsoft.com/office/drawing/2015/06/chart">
            <c:ext xmlns:c16="http://schemas.microsoft.com/office/drawing/2014/chart" uri="{C3380CC4-5D6E-409C-BE32-E72D297353CC}">
              <c16:uniqueId val="{0000003A-6499-4CC5-ABD8-C6282A8459BF}"/>
            </c:ext>
          </c:extLst>
        </c:ser>
        <c:dLbls>
          <c:showLegendKey val="0"/>
          <c:showVal val="1"/>
          <c:showCatName val="0"/>
          <c:showSerName val="0"/>
          <c:showPercent val="0"/>
          <c:showBubbleSize val="0"/>
        </c:dLbls>
        <c:gapWidth val="50"/>
        <c:axId val="501643264"/>
        <c:axId val="501643656"/>
      </c:barChart>
      <c:catAx>
        <c:axId val="501643264"/>
        <c:scaling>
          <c:orientation val="minMax"/>
        </c:scaling>
        <c:delete val="1"/>
        <c:axPos val="b"/>
        <c:numFmt formatCode="General" sourceLinked="1"/>
        <c:majorTickMark val="out"/>
        <c:minorTickMark val="none"/>
        <c:tickLblPos val="none"/>
        <c:crossAx val="501643656"/>
        <c:crosses val="autoZero"/>
        <c:auto val="1"/>
        <c:lblAlgn val="ctr"/>
        <c:lblOffset val="100"/>
        <c:noMultiLvlLbl val="0"/>
      </c:catAx>
      <c:valAx>
        <c:axId val="501643656"/>
        <c:scaling>
          <c:orientation val="minMax"/>
          <c:max val="0.75000000000000011"/>
          <c:min val="0"/>
        </c:scaling>
        <c:delete val="1"/>
        <c:axPos val="l"/>
        <c:numFmt formatCode="0%" sourceLinked="1"/>
        <c:majorTickMark val="out"/>
        <c:minorTickMark val="none"/>
        <c:tickLblPos val="nextTo"/>
        <c:crossAx val="501643264"/>
        <c:crosses val="autoZero"/>
        <c:crossBetween val="between"/>
      </c:valAx>
    </c:plotArea>
    <c:plotVisOnly val="1"/>
    <c:dispBlanksAs val="gap"/>
    <c:showDLblsOverMax val="0"/>
  </c:chart>
  <c:txPr>
    <a:bodyPr/>
    <a:lstStyle/>
    <a:p>
      <a:pPr>
        <a:defRPr sz="1800"/>
      </a:pPr>
      <a:endParaRPr lang="nl-NL"/>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2333907480314967E-2"/>
          <c:y val="3.5426003396534643E-2"/>
          <c:w val="0.90158243110236225"/>
          <c:h val="0.92914799320693076"/>
        </c:manualLayout>
      </c:layout>
      <c:doughnutChart>
        <c:varyColors val="1"/>
        <c:ser>
          <c:idx val="0"/>
          <c:order val="0"/>
          <c:tx>
            <c:strRef>
              <c:f>Sheet1!$B$1</c:f>
              <c:strCache>
                <c:ptCount val="1"/>
                <c:pt idx="0">
                  <c:v>Sales</c:v>
                </c:pt>
              </c:strCache>
            </c:strRef>
          </c:tx>
          <c:spPr>
            <a:solidFill>
              <a:srgbClr val="5776B2"/>
            </a:solidFill>
          </c:spPr>
          <c:dPt>
            <c:idx val="0"/>
            <c:bubble3D val="0"/>
            <c:spPr>
              <a:solidFill>
                <a:srgbClr val="5776B2"/>
              </a:solidFill>
              <a:ln w="19050">
                <a:solidFill>
                  <a:schemeClr val="lt1"/>
                </a:solidFill>
              </a:ln>
              <a:effectLst/>
            </c:spPr>
          </c:dPt>
          <c:dPt>
            <c:idx val="1"/>
            <c:bubble3D val="0"/>
            <c:spPr>
              <a:solidFill>
                <a:srgbClr val="666666"/>
              </a:solidFill>
              <a:ln w="19050">
                <a:solidFill>
                  <a:schemeClr val="lt1"/>
                </a:solidFill>
              </a:ln>
              <a:effectLst/>
            </c:spPr>
            <c:extLst xmlns:c16r2="http://schemas.microsoft.com/office/drawing/2015/06/chart">
              <c:ext xmlns:c16="http://schemas.microsoft.com/office/drawing/2014/chart" uri="{C3380CC4-5D6E-409C-BE32-E72D297353CC}">
                <c16:uniqueId val="{00000001-E33E-4114-AE14-9ACA4C0DE445}"/>
              </c:ext>
            </c:extLst>
          </c:dPt>
          <c:cat>
            <c:strRef>
              <c:f>Sheet1!$A$2:$A$3</c:f>
              <c:strCache>
                <c:ptCount val="2"/>
                <c:pt idx="0">
                  <c:v>1st Qtr</c:v>
                </c:pt>
                <c:pt idx="1">
                  <c:v>2nd Qtr</c:v>
                </c:pt>
              </c:strCache>
            </c:strRef>
          </c:cat>
          <c:val>
            <c:numRef>
              <c:f>Sheet1!$B$2:$B$3</c:f>
              <c:numCache>
                <c:formatCode>General</c:formatCode>
                <c:ptCount val="2"/>
                <c:pt idx="0">
                  <c:v>74</c:v>
                </c:pt>
                <c:pt idx="1">
                  <c:v>26</c:v>
                </c:pt>
              </c:numCache>
            </c:numRef>
          </c:val>
          <c:extLst xmlns:c16r2="http://schemas.microsoft.com/office/drawing/2015/06/chart">
            <c:ext xmlns:c16="http://schemas.microsoft.com/office/drawing/2014/chart" uri="{C3380CC4-5D6E-409C-BE32-E72D297353CC}">
              <c16:uniqueId val="{00000000-E33E-4114-AE14-9ACA4C0DE445}"/>
            </c:ext>
          </c:extLst>
        </c:ser>
        <c:dLbls>
          <c:showLegendKey val="0"/>
          <c:showVal val="0"/>
          <c:showCatName val="0"/>
          <c:showSerName val="0"/>
          <c:showPercent val="0"/>
          <c:showBubbleSize val="0"/>
          <c:showLeaderLines val="1"/>
        </c:dLbls>
        <c:firstSliceAng val="0"/>
        <c:holeSize val="75"/>
      </c:doughnutChart>
      <c:spPr>
        <a:noFill/>
        <a:ln>
          <a:noFill/>
        </a:ln>
        <a:effectLst/>
      </c:spPr>
    </c:plotArea>
    <c:plotVisOnly val="1"/>
    <c:dispBlanksAs val="gap"/>
    <c:showDLblsOverMax val="0"/>
    <c:extLst xmlns:c16r2="http://schemas.microsoft.com/office/drawing/2015/06/char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nl-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51081356837606839"/>
          <c:y val="2.5585606060606062E-2"/>
          <c:w val="0.48918643162393161"/>
          <c:h val="0.87307121212121219"/>
        </c:manualLayout>
      </c:layout>
      <c:barChart>
        <c:barDir val="bar"/>
        <c:grouping val="percentStacked"/>
        <c:varyColors val="0"/>
        <c:ser>
          <c:idx val="0"/>
          <c:order val="0"/>
          <c:tx>
            <c:strRef>
              <c:f>'B03'!$H$15</c:f>
              <c:strCache>
                <c:ptCount val="1"/>
                <c:pt idx="0">
                  <c:v>Top Box</c:v>
                </c:pt>
              </c:strCache>
            </c:strRef>
          </c:tx>
          <c:spPr>
            <a:solidFill>
              <a:schemeClr val="accent6"/>
            </a:solidFill>
            <a:ln w="9525">
              <a:solidFill>
                <a:schemeClr val="bg1"/>
              </a:solidFill>
              <a:prstDash val="solid"/>
            </a:ln>
          </c:spPr>
          <c:invertIfNegative val="0"/>
          <c:dLbls>
            <c:dLbl>
              <c:idx val="4"/>
              <c:layout>
                <c:manualLayout>
                  <c:x val="2.7136752136752138E-3"/>
                  <c:y val="-4.9750137532878127E-17"/>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D014-43FA-B90F-6D919062C60C}"/>
                </c:ext>
                <c:ext xmlns:c15="http://schemas.microsoft.com/office/drawing/2012/chart" uri="{CE6537A1-D6FC-4f65-9D91-7224C49458BB}"/>
              </c:extLst>
            </c:dLbl>
            <c:dLbl>
              <c:idx val="5"/>
              <c:layout>
                <c:manualLayout>
                  <c:x val="2.7136752136752138E-3"/>
                  <c:y val="0"/>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D014-43FA-B90F-6D919062C60C}"/>
                </c:ext>
                <c:ext xmlns:c15="http://schemas.microsoft.com/office/drawing/2012/chart" uri="{CE6537A1-D6FC-4f65-9D91-7224C49458BB}"/>
              </c:extLst>
            </c:dLbl>
            <c:dLbl>
              <c:idx val="7"/>
              <c:layout>
                <c:manualLayout>
                  <c:x val="4.0705128205128201E-3"/>
                  <c:y val="-9.9500275065756255E-17"/>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D014-43FA-B90F-6D919062C60C}"/>
                </c:ext>
                <c:ext xmlns:c15="http://schemas.microsoft.com/office/drawing/2012/chart" uri="{CE6537A1-D6FC-4f65-9D91-7224C49458BB}"/>
              </c:extLst>
            </c:dLbl>
            <c:dLbl>
              <c:idx val="8"/>
              <c:layout>
                <c:manualLayout>
                  <c:x val="2.7136752136752138E-3"/>
                  <c:y val="9.9500275065756255E-17"/>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D014-43FA-B90F-6D919062C60C}"/>
                </c:ext>
                <c:ext xmlns:c15="http://schemas.microsoft.com/office/drawing/2012/chart" uri="{CE6537A1-D6FC-4f65-9D91-7224C49458BB}"/>
              </c:extLst>
            </c:dLbl>
            <c:spPr>
              <a:noFill/>
              <a:ln w="25400">
                <a:noFill/>
              </a:ln>
            </c:spPr>
            <c:txPr>
              <a:bodyPr/>
              <a:lstStyle/>
              <a:p>
                <a:pPr>
                  <a:defRPr sz="1000">
                    <a:solidFill>
                      <a:schemeClr val="bg1"/>
                    </a:solidFill>
                  </a:defRPr>
                </a:pPr>
                <a:endParaRPr lang="nl-N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B03'!$C$16:$C$24</c:f>
              <c:strCache>
                <c:ptCount val="9"/>
                <c:pt idx="0">
                  <c:v>Body scanner/foot scanner to determine your size</c:v>
                </c:pt>
                <c:pt idx="1">
                  <c:v>Virtual reality</c:v>
                </c:pt>
                <c:pt idx="2">
                  <c:v>Smart fitting room</c:v>
                </c:pt>
                <c:pt idx="3">
                  <c:v>Smart mirror</c:v>
                </c:pt>
                <c:pt idx="4">
                  <c:v>Pay through facial recognition</c:v>
                </c:pt>
                <c:pt idx="5">
                  <c:v>Robots that assist you in store</c:v>
                </c:pt>
                <c:pt idx="6">
                  <c:v>Checkout-free stores</c:v>
                </c:pt>
                <c:pt idx="7">
                  <c:v>Personalised recommendations for products</c:v>
                </c:pt>
                <c:pt idx="8">
                  <c:v>Personalized offers on your phone as you enter the shop</c:v>
                </c:pt>
              </c:strCache>
            </c:strRef>
          </c:cat>
          <c:val>
            <c:numRef>
              <c:f>'B03'!$H$16:$H$24</c:f>
              <c:numCache>
                <c:formatCode>0%</c:formatCode>
                <c:ptCount val="9"/>
                <c:pt idx="0">
                  <c:v>0.83440186573339037</c:v>
                </c:pt>
                <c:pt idx="1">
                  <c:v>0.79881721413704398</c:v>
                </c:pt>
                <c:pt idx="2">
                  <c:v>0.78027966646721625</c:v>
                </c:pt>
                <c:pt idx="3">
                  <c:v>0.73684507157356638</c:v>
                </c:pt>
                <c:pt idx="4">
                  <c:v>0.69164431524840997</c:v>
                </c:pt>
                <c:pt idx="5">
                  <c:v>0.64956609570901369</c:v>
                </c:pt>
                <c:pt idx="6">
                  <c:v>0.61265616537476131</c:v>
                </c:pt>
                <c:pt idx="7">
                  <c:v>0.59586684841174609</c:v>
                </c:pt>
                <c:pt idx="8">
                  <c:v>0.592615465484438</c:v>
                </c:pt>
              </c:numCache>
            </c:numRef>
          </c:val>
          <c:extLst xmlns:c16r2="http://schemas.microsoft.com/office/drawing/2015/06/chart">
            <c:ext xmlns:c16="http://schemas.microsoft.com/office/drawing/2014/chart" uri="{C3380CC4-5D6E-409C-BE32-E72D297353CC}">
              <c16:uniqueId val="{00000004-D014-43FA-B90F-6D919062C60C}"/>
            </c:ext>
          </c:extLst>
        </c:ser>
        <c:ser>
          <c:idx val="1"/>
          <c:order val="1"/>
          <c:tx>
            <c:strRef>
              <c:f>'B03'!$I$15</c:f>
              <c:strCache>
                <c:ptCount val="1"/>
                <c:pt idx="0">
                  <c:v>Bottom Box</c:v>
                </c:pt>
              </c:strCache>
            </c:strRef>
          </c:tx>
          <c:spPr>
            <a:solidFill>
              <a:schemeClr val="accent2"/>
            </a:solidFill>
            <a:ln w="9525">
              <a:solidFill>
                <a:schemeClr val="bg1"/>
              </a:solidFill>
              <a:prstDash val="solid"/>
            </a:ln>
          </c:spPr>
          <c:invertIfNegative val="0"/>
          <c:dLbls>
            <c:spPr>
              <a:noFill/>
              <a:ln w="25400">
                <a:noFill/>
              </a:ln>
            </c:spPr>
            <c:txPr>
              <a:bodyPr/>
              <a:lstStyle/>
              <a:p>
                <a:pPr>
                  <a:defRPr sz="1000">
                    <a:solidFill>
                      <a:schemeClr val="bg1"/>
                    </a:solidFill>
                  </a:defRPr>
                </a:pPr>
                <a:endParaRPr lang="nl-N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B03'!$C$16:$C$24</c:f>
              <c:strCache>
                <c:ptCount val="9"/>
                <c:pt idx="0">
                  <c:v>Body scanner/foot scanner to determine your size</c:v>
                </c:pt>
                <c:pt idx="1">
                  <c:v>Virtual reality</c:v>
                </c:pt>
                <c:pt idx="2">
                  <c:v>Smart fitting room</c:v>
                </c:pt>
                <c:pt idx="3">
                  <c:v>Smart mirror</c:v>
                </c:pt>
                <c:pt idx="4">
                  <c:v>Pay through facial recognition</c:v>
                </c:pt>
                <c:pt idx="5">
                  <c:v>Robots that assist you in store</c:v>
                </c:pt>
                <c:pt idx="6">
                  <c:v>Checkout-free stores</c:v>
                </c:pt>
                <c:pt idx="7">
                  <c:v>Personalised recommendations for products</c:v>
                </c:pt>
                <c:pt idx="8">
                  <c:v>Personalized offers on your phone as you enter the shop</c:v>
                </c:pt>
              </c:strCache>
            </c:strRef>
          </c:cat>
          <c:val>
            <c:numRef>
              <c:f>'B03'!$I$16:$I$24</c:f>
              <c:numCache>
                <c:formatCode>0%</c:formatCode>
                <c:ptCount val="9"/>
                <c:pt idx="0">
                  <c:v>0.16559813426660944</c:v>
                </c:pt>
                <c:pt idx="1">
                  <c:v>0.20118278586295621</c:v>
                </c:pt>
                <c:pt idx="2">
                  <c:v>0.21972033353278428</c:v>
                </c:pt>
                <c:pt idx="3">
                  <c:v>0.2631549284264339</c:v>
                </c:pt>
                <c:pt idx="4">
                  <c:v>0.30835568475159086</c:v>
                </c:pt>
                <c:pt idx="5">
                  <c:v>0.3504339042909867</c:v>
                </c:pt>
                <c:pt idx="6">
                  <c:v>0.38734383462523958</c:v>
                </c:pt>
                <c:pt idx="7">
                  <c:v>0.40413315158825386</c:v>
                </c:pt>
                <c:pt idx="8">
                  <c:v>0.40738453451556134</c:v>
                </c:pt>
              </c:numCache>
            </c:numRef>
          </c:val>
          <c:extLst xmlns:c16r2="http://schemas.microsoft.com/office/drawing/2015/06/chart">
            <c:ext xmlns:c16="http://schemas.microsoft.com/office/drawing/2014/chart" uri="{C3380CC4-5D6E-409C-BE32-E72D297353CC}">
              <c16:uniqueId val="{00000005-D014-43FA-B90F-6D919062C60C}"/>
            </c:ext>
          </c:extLst>
        </c:ser>
        <c:dLbls>
          <c:showLegendKey val="0"/>
          <c:showVal val="1"/>
          <c:showCatName val="0"/>
          <c:showSerName val="0"/>
          <c:showPercent val="0"/>
          <c:showBubbleSize val="0"/>
        </c:dLbls>
        <c:gapWidth val="25"/>
        <c:overlap val="100"/>
        <c:axId val="611232920"/>
        <c:axId val="611234096"/>
      </c:barChart>
      <c:catAx>
        <c:axId val="611232920"/>
        <c:scaling>
          <c:orientation val="maxMin"/>
        </c:scaling>
        <c:delete val="0"/>
        <c:axPos val="l"/>
        <c:numFmt formatCode="General" sourceLinked="1"/>
        <c:majorTickMark val="out"/>
        <c:minorTickMark val="none"/>
        <c:tickLblPos val="nextTo"/>
        <c:spPr>
          <a:ln w="3175">
            <a:solidFill>
              <a:schemeClr val="tx1">
                <a:lumMod val="75000"/>
                <a:lumOff val="25000"/>
              </a:schemeClr>
            </a:solidFill>
            <a:prstDash val="solid"/>
          </a:ln>
        </c:spPr>
        <c:txPr>
          <a:bodyPr rot="0" vert="horz"/>
          <a:lstStyle/>
          <a:p>
            <a:pPr>
              <a:defRPr sz="1000"/>
            </a:pPr>
            <a:endParaRPr lang="nl-NL"/>
          </a:p>
        </c:txPr>
        <c:crossAx val="611234096"/>
        <c:crosses val="autoZero"/>
        <c:auto val="1"/>
        <c:lblAlgn val="ctr"/>
        <c:lblOffset val="100"/>
        <c:tickLblSkip val="1"/>
        <c:tickMarkSkip val="1"/>
        <c:noMultiLvlLbl val="0"/>
      </c:catAx>
      <c:valAx>
        <c:axId val="611234096"/>
        <c:scaling>
          <c:orientation val="minMax"/>
        </c:scaling>
        <c:delete val="1"/>
        <c:axPos val="b"/>
        <c:numFmt formatCode="0%" sourceLinked="1"/>
        <c:majorTickMark val="out"/>
        <c:minorTickMark val="none"/>
        <c:tickLblPos val="nextTo"/>
        <c:crossAx val="611232920"/>
        <c:crosses val="max"/>
        <c:crossBetween val="between"/>
        <c:majorUnit val="0.2"/>
      </c:valAx>
      <c:spPr>
        <a:noFill/>
        <a:ln w="25400">
          <a:noFill/>
        </a:ln>
      </c:spPr>
    </c:plotArea>
    <c:plotVisOnly val="1"/>
    <c:dispBlanksAs val="gap"/>
    <c:showDLblsOverMax val="0"/>
  </c:chart>
  <c:spPr>
    <a:noFill/>
    <a:ln w="9525">
      <a:noFill/>
    </a:ln>
  </c:spPr>
  <c:txPr>
    <a:bodyPr/>
    <a:lstStyle/>
    <a:p>
      <a:pPr>
        <a:defRPr sz="800" b="0" i="0" u="none" strike="noStrike" baseline="0">
          <a:solidFill>
            <a:sysClr val="windowText" lastClr="000000"/>
          </a:solidFill>
          <a:latin typeface="+mn-lt"/>
          <a:ea typeface="Tahoma"/>
          <a:cs typeface="Arial" pitchFamily="34" charset="0"/>
        </a:defRPr>
      </a:pPr>
      <a:endParaRPr lang="nl-NL"/>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nl-NL"/>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0.51081356837606839"/>
          <c:y val="2.5585606060606062E-2"/>
          <c:w val="0.48918643162393161"/>
          <c:h val="0.87307121212121219"/>
        </c:manualLayout>
      </c:layout>
      <c:barChart>
        <c:barDir val="bar"/>
        <c:grouping val="percentStacked"/>
        <c:varyColors val="0"/>
        <c:ser>
          <c:idx val="0"/>
          <c:order val="0"/>
          <c:tx>
            <c:strRef>
              <c:f>'B03'!$H$15</c:f>
              <c:strCache>
                <c:ptCount val="1"/>
                <c:pt idx="0">
                  <c:v>Top Box</c:v>
                </c:pt>
              </c:strCache>
            </c:strRef>
          </c:tx>
          <c:spPr>
            <a:solidFill>
              <a:schemeClr val="accent6"/>
            </a:solidFill>
            <a:ln w="9525">
              <a:solidFill>
                <a:schemeClr val="bg1"/>
              </a:solidFill>
              <a:prstDash val="solid"/>
            </a:ln>
          </c:spPr>
          <c:invertIfNegative val="0"/>
          <c:dLbls>
            <c:dLbl>
              <c:idx val="4"/>
              <c:layout>
                <c:manualLayout>
                  <c:x val="2.7136752136752138E-3"/>
                  <c:y val="-4.9750137532878127E-17"/>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0-F62D-4FD1-9780-B44AEA31EA58}"/>
                </c:ext>
                <c:ext xmlns:c15="http://schemas.microsoft.com/office/drawing/2012/chart" uri="{CE6537A1-D6FC-4f65-9D91-7224C49458BB}"/>
              </c:extLst>
            </c:dLbl>
            <c:dLbl>
              <c:idx val="5"/>
              <c:layout>
                <c:manualLayout>
                  <c:x val="2.7136752136752138E-3"/>
                  <c:y val="0"/>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1-F62D-4FD1-9780-B44AEA31EA58}"/>
                </c:ext>
                <c:ext xmlns:c15="http://schemas.microsoft.com/office/drawing/2012/chart" uri="{CE6537A1-D6FC-4f65-9D91-7224C49458BB}"/>
              </c:extLst>
            </c:dLbl>
            <c:dLbl>
              <c:idx val="7"/>
              <c:layout>
                <c:manualLayout>
                  <c:x val="4.0705128205128201E-3"/>
                  <c:y val="-9.9500275065756255E-17"/>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2-F62D-4FD1-9780-B44AEA31EA58}"/>
                </c:ext>
                <c:ext xmlns:c15="http://schemas.microsoft.com/office/drawing/2012/chart" uri="{CE6537A1-D6FC-4f65-9D91-7224C49458BB}"/>
              </c:extLst>
            </c:dLbl>
            <c:dLbl>
              <c:idx val="8"/>
              <c:layout>
                <c:manualLayout>
                  <c:x val="2.7136752136752138E-3"/>
                  <c:y val="9.9500275065756255E-17"/>
                </c:manualLayout>
              </c:layout>
              <c:showLegendKey val="0"/>
              <c:showVal val="1"/>
              <c:showCatName val="0"/>
              <c:showSerName val="0"/>
              <c:showPercent val="0"/>
              <c:showBubbleSize val="0"/>
              <c:extLst xmlns:c16r2="http://schemas.microsoft.com/office/drawing/2015/06/chart">
                <c:ext xmlns:c16="http://schemas.microsoft.com/office/drawing/2014/chart" uri="{C3380CC4-5D6E-409C-BE32-E72D297353CC}">
                  <c16:uniqueId val="{00000003-F62D-4FD1-9780-B44AEA31EA58}"/>
                </c:ext>
                <c:ext xmlns:c15="http://schemas.microsoft.com/office/drawing/2012/chart" uri="{CE6537A1-D6FC-4f65-9D91-7224C49458BB}"/>
              </c:extLst>
            </c:dLbl>
            <c:spPr>
              <a:noFill/>
              <a:ln w="25400">
                <a:noFill/>
              </a:ln>
            </c:spPr>
            <c:txPr>
              <a:bodyPr/>
              <a:lstStyle/>
              <a:p>
                <a:pPr>
                  <a:defRPr sz="1000">
                    <a:solidFill>
                      <a:schemeClr val="bg1"/>
                    </a:solidFill>
                  </a:defRPr>
                </a:pPr>
                <a:endParaRPr lang="nl-N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B03'!$C$16:$C$20</c:f>
              <c:strCache>
                <c:ptCount val="5"/>
                <c:pt idx="0">
                  <c:v>Body scanner/foot scanner to determine your size</c:v>
                </c:pt>
                <c:pt idx="1">
                  <c:v>Virtual reality</c:v>
                </c:pt>
                <c:pt idx="2">
                  <c:v>Smart fitting room</c:v>
                </c:pt>
                <c:pt idx="3">
                  <c:v>Smart mirror</c:v>
                </c:pt>
                <c:pt idx="4">
                  <c:v>Pay through facial recognition</c:v>
                </c:pt>
              </c:strCache>
            </c:strRef>
          </c:cat>
          <c:val>
            <c:numRef>
              <c:f>'B03'!$H$16:$H$20</c:f>
              <c:numCache>
                <c:formatCode>0%</c:formatCode>
                <c:ptCount val="5"/>
                <c:pt idx="0">
                  <c:v>0.83440186573339037</c:v>
                </c:pt>
                <c:pt idx="1">
                  <c:v>0.79881721413704398</c:v>
                </c:pt>
                <c:pt idx="2">
                  <c:v>0.78027966646721625</c:v>
                </c:pt>
                <c:pt idx="3">
                  <c:v>0.73684507157356638</c:v>
                </c:pt>
                <c:pt idx="4">
                  <c:v>0.69164431524840997</c:v>
                </c:pt>
              </c:numCache>
            </c:numRef>
          </c:val>
          <c:extLst xmlns:c16r2="http://schemas.microsoft.com/office/drawing/2015/06/chart">
            <c:ext xmlns:c16="http://schemas.microsoft.com/office/drawing/2014/chart" uri="{C3380CC4-5D6E-409C-BE32-E72D297353CC}">
              <c16:uniqueId val="{00000004-F62D-4FD1-9780-B44AEA31EA58}"/>
            </c:ext>
          </c:extLst>
        </c:ser>
        <c:ser>
          <c:idx val="1"/>
          <c:order val="1"/>
          <c:tx>
            <c:strRef>
              <c:f>'B03'!$I$15</c:f>
              <c:strCache>
                <c:ptCount val="1"/>
                <c:pt idx="0">
                  <c:v>Bottom Box</c:v>
                </c:pt>
              </c:strCache>
            </c:strRef>
          </c:tx>
          <c:spPr>
            <a:solidFill>
              <a:schemeClr val="accent2"/>
            </a:solidFill>
            <a:ln w="9525">
              <a:solidFill>
                <a:schemeClr val="bg1"/>
              </a:solidFill>
              <a:prstDash val="solid"/>
            </a:ln>
          </c:spPr>
          <c:invertIfNegative val="0"/>
          <c:dLbls>
            <c:spPr>
              <a:noFill/>
              <a:ln w="25400">
                <a:noFill/>
              </a:ln>
            </c:spPr>
            <c:txPr>
              <a:bodyPr/>
              <a:lstStyle/>
              <a:p>
                <a:pPr>
                  <a:defRPr sz="1000">
                    <a:solidFill>
                      <a:schemeClr val="bg1"/>
                    </a:solidFill>
                  </a:defRPr>
                </a:pPr>
                <a:endParaRPr lang="nl-NL"/>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0"/>
              </c:ext>
            </c:extLst>
          </c:dLbls>
          <c:cat>
            <c:strRef>
              <c:f>'B03'!$C$16:$C$20</c:f>
              <c:strCache>
                <c:ptCount val="5"/>
                <c:pt idx="0">
                  <c:v>Body scanner/foot scanner to determine your size</c:v>
                </c:pt>
                <c:pt idx="1">
                  <c:v>Virtual reality</c:v>
                </c:pt>
                <c:pt idx="2">
                  <c:v>Smart fitting room</c:v>
                </c:pt>
                <c:pt idx="3">
                  <c:v>Smart mirror</c:v>
                </c:pt>
                <c:pt idx="4">
                  <c:v>Pay through facial recognition</c:v>
                </c:pt>
              </c:strCache>
            </c:strRef>
          </c:cat>
          <c:val>
            <c:numRef>
              <c:f>'B03'!$I$16:$I$20</c:f>
              <c:numCache>
                <c:formatCode>0%</c:formatCode>
                <c:ptCount val="5"/>
                <c:pt idx="0">
                  <c:v>0.16559813426660944</c:v>
                </c:pt>
                <c:pt idx="1">
                  <c:v>0.20118278586295621</c:v>
                </c:pt>
                <c:pt idx="2">
                  <c:v>0.21972033353278428</c:v>
                </c:pt>
                <c:pt idx="3">
                  <c:v>0.2631549284264339</c:v>
                </c:pt>
                <c:pt idx="4">
                  <c:v>0.30835568475159086</c:v>
                </c:pt>
              </c:numCache>
            </c:numRef>
          </c:val>
          <c:extLst xmlns:c16r2="http://schemas.microsoft.com/office/drawing/2015/06/chart">
            <c:ext xmlns:c16="http://schemas.microsoft.com/office/drawing/2014/chart" uri="{C3380CC4-5D6E-409C-BE32-E72D297353CC}">
              <c16:uniqueId val="{00000005-F62D-4FD1-9780-B44AEA31EA58}"/>
            </c:ext>
          </c:extLst>
        </c:ser>
        <c:dLbls>
          <c:showLegendKey val="0"/>
          <c:showVal val="1"/>
          <c:showCatName val="0"/>
          <c:showSerName val="0"/>
          <c:showPercent val="0"/>
          <c:showBubbleSize val="0"/>
        </c:dLbls>
        <c:gapWidth val="25"/>
        <c:overlap val="100"/>
        <c:axId val="611236840"/>
        <c:axId val="611233704"/>
      </c:barChart>
      <c:catAx>
        <c:axId val="611236840"/>
        <c:scaling>
          <c:orientation val="maxMin"/>
        </c:scaling>
        <c:delete val="0"/>
        <c:axPos val="l"/>
        <c:numFmt formatCode="General" sourceLinked="1"/>
        <c:majorTickMark val="out"/>
        <c:minorTickMark val="none"/>
        <c:tickLblPos val="nextTo"/>
        <c:spPr>
          <a:ln w="3175">
            <a:solidFill>
              <a:schemeClr val="tx1">
                <a:lumMod val="75000"/>
                <a:lumOff val="25000"/>
              </a:schemeClr>
            </a:solidFill>
            <a:prstDash val="solid"/>
          </a:ln>
        </c:spPr>
        <c:txPr>
          <a:bodyPr rot="0" vert="horz"/>
          <a:lstStyle/>
          <a:p>
            <a:pPr>
              <a:defRPr sz="1000"/>
            </a:pPr>
            <a:endParaRPr lang="nl-NL"/>
          </a:p>
        </c:txPr>
        <c:crossAx val="611233704"/>
        <c:crosses val="autoZero"/>
        <c:auto val="1"/>
        <c:lblAlgn val="ctr"/>
        <c:lblOffset val="100"/>
        <c:tickLblSkip val="1"/>
        <c:tickMarkSkip val="1"/>
        <c:noMultiLvlLbl val="0"/>
      </c:catAx>
      <c:valAx>
        <c:axId val="611233704"/>
        <c:scaling>
          <c:orientation val="minMax"/>
        </c:scaling>
        <c:delete val="1"/>
        <c:axPos val="b"/>
        <c:numFmt formatCode="0%" sourceLinked="1"/>
        <c:majorTickMark val="out"/>
        <c:minorTickMark val="none"/>
        <c:tickLblPos val="nextTo"/>
        <c:crossAx val="611236840"/>
        <c:crosses val="max"/>
        <c:crossBetween val="between"/>
        <c:majorUnit val="0.2"/>
      </c:valAx>
      <c:spPr>
        <a:noFill/>
        <a:ln w="25400">
          <a:noFill/>
        </a:ln>
      </c:spPr>
    </c:plotArea>
    <c:plotVisOnly val="1"/>
    <c:dispBlanksAs val="gap"/>
    <c:showDLblsOverMax val="0"/>
  </c:chart>
  <c:spPr>
    <a:noFill/>
    <a:ln w="9525">
      <a:noFill/>
    </a:ln>
  </c:spPr>
  <c:txPr>
    <a:bodyPr/>
    <a:lstStyle/>
    <a:p>
      <a:pPr>
        <a:defRPr sz="800" b="0" i="0" u="none" strike="noStrike" baseline="0">
          <a:solidFill>
            <a:sysClr val="windowText" lastClr="000000"/>
          </a:solidFill>
          <a:latin typeface="+mn-lt"/>
          <a:ea typeface="Tahoma"/>
          <a:cs typeface="Arial" pitchFamily="34" charset="0"/>
        </a:defRPr>
      </a:pPr>
      <a:endParaRPr lang="nl-NL"/>
    </a:p>
  </c:txPr>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3.vml.rels><?xml version="1.0" encoding="UTF-8" standalone="yes"?>
<Relationships xmlns="http://schemas.openxmlformats.org/package/2006/relationships"><Relationship Id="rId2" Type="http://schemas.openxmlformats.org/officeDocument/2006/relationships/image" Target="../media/image18.emf"/><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3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3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F0A3B1F8-6D62-4D30-9D58-5CC5D51CE00D}" type="datetimeFigureOut">
              <a:rPr lang="en-US" smtClean="0"/>
              <a:t>9/15/2020</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8FA928F-0A46-4B66-9905-FB1D800EB32E}" type="slidenum">
              <a:rPr lang="en-US" smtClean="0"/>
              <a:t>‹nr.›</a:t>
            </a:fld>
            <a:endParaRPr lang="en-US"/>
          </a:p>
        </p:txBody>
      </p:sp>
    </p:spTree>
    <p:extLst>
      <p:ext uri="{BB962C8B-B14F-4D97-AF65-F5344CB8AC3E}">
        <p14:creationId xmlns:p14="http://schemas.microsoft.com/office/powerpoint/2010/main" val="16231216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800">
                <a:solidFill>
                  <a:schemeClr val="tx1"/>
                </a:solidFill>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800">
                <a:solidFill>
                  <a:schemeClr val="tx1"/>
                </a:solidFill>
              </a:defRPr>
            </a:lvl1pPr>
          </a:lstStyle>
          <a:p>
            <a:fld id="{8045A0D1-07B4-46FF-9F04-18BB5AAA8479}" type="datetimeFigureOut">
              <a:rPr lang="en-US" smtClean="0"/>
              <a:pPr/>
              <a:t>9/15/2020</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0" tIns="0" rIns="0" bIns="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800">
                <a:solidFill>
                  <a:schemeClr val="tx1"/>
                </a:solidFill>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800">
                <a:solidFill>
                  <a:schemeClr val="tx1"/>
                </a:solidFill>
              </a:defRPr>
            </a:lvl1pPr>
          </a:lstStyle>
          <a:p>
            <a:fld id="{7A99B2F4-8F99-4FDD-A50D-433216698ED4}" type="slidenum">
              <a:rPr lang="en-US" smtClean="0"/>
              <a:pPr/>
              <a:t>‹nr.›</a:t>
            </a:fld>
            <a:endParaRPr lang="en-US"/>
          </a:p>
        </p:txBody>
      </p:sp>
    </p:spTree>
    <p:extLst>
      <p:ext uri="{BB962C8B-B14F-4D97-AF65-F5344CB8AC3E}">
        <p14:creationId xmlns:p14="http://schemas.microsoft.com/office/powerpoint/2010/main" val="362850185"/>
      </p:ext>
    </p:extLst>
  </p:cSld>
  <p:clrMap bg1="lt1" tx1="dk1" bg2="lt2" tx2="dk2" accent1="accent1" accent2="accent2" accent3="accent3" accent4="accent4" accent5="accent5" accent6="accent6" hlink="hlink" folHlink="folHlink"/>
  <p:notesStyle>
    <a:lvl1pPr marL="18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1pPr>
    <a:lvl2pPr marL="54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2pPr>
    <a:lvl3pPr marL="90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3pPr>
    <a:lvl4pPr marL="126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4pPr>
    <a:lvl5pPr marL="1620000" indent="-180000" algn="l" defTabSz="914400" rtl="0" eaLnBrk="1" latinLnBrk="0" hangingPunct="1">
      <a:lnSpc>
        <a:spcPct val="125000"/>
      </a:lnSpc>
      <a:buClr>
        <a:schemeClr val="tx2"/>
      </a:buClr>
      <a:buFont typeface="Wingdings" panose="05000000000000000000" pitchFamily="2" charset="2"/>
      <a:buChar char="§"/>
      <a:defRPr sz="10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Tx/>
              <a:buNone/>
            </a:pPr>
            <a:r>
              <a:rPr lang="nl-NL" dirty="0"/>
              <a:t>We hebben allemaal deze koppen wel voor bij zien komen in de afgelopen tijd.  </a:t>
            </a:r>
          </a:p>
          <a:p>
            <a:pPr marL="180000" marR="0" lvl="0" indent="-180000" algn="l" defTabSz="914400" rtl="0" eaLnBrk="1" fontAlgn="auto" latinLnBrk="0" hangingPunct="1">
              <a:lnSpc>
                <a:spcPct val="125000"/>
              </a:lnSpc>
              <a:spcBef>
                <a:spcPts val="0"/>
              </a:spcBef>
              <a:spcAft>
                <a:spcPts val="0"/>
              </a:spcAft>
              <a:buClr>
                <a:schemeClr val="tx2"/>
              </a:buClr>
              <a:buSzTx/>
              <a:buFontTx/>
              <a:buChar char="-"/>
              <a:tabLst/>
              <a:defRPr/>
            </a:pPr>
            <a:r>
              <a:rPr lang="nl-NL" dirty="0"/>
              <a:t>Tijdens de </a:t>
            </a:r>
            <a:r>
              <a:rPr lang="nl-NL" dirty="0" err="1"/>
              <a:t>lockdown</a:t>
            </a:r>
            <a:r>
              <a:rPr lang="nl-NL" dirty="0"/>
              <a:t> periode hebben meer Nederlanders online shoppen leren kennen. Het percentage online kopers in Nederland is gestegen wat neerkomt op veel nieuwe online shoppers. Referentie TMM Q2 volgende week. </a:t>
            </a:r>
          </a:p>
          <a:p>
            <a:pPr marL="180000" marR="0" lvl="0" indent="-180000" algn="l" defTabSz="914400" rtl="0" eaLnBrk="1" fontAlgn="auto" latinLnBrk="0" hangingPunct="1">
              <a:lnSpc>
                <a:spcPct val="125000"/>
              </a:lnSpc>
              <a:spcBef>
                <a:spcPts val="0"/>
              </a:spcBef>
              <a:spcAft>
                <a:spcPts val="0"/>
              </a:spcAft>
              <a:buClr>
                <a:schemeClr val="tx2"/>
              </a:buClr>
              <a:buSzTx/>
              <a:buFontTx/>
              <a:buChar char="-"/>
              <a:tabLst/>
              <a:defRPr/>
            </a:pPr>
            <a:r>
              <a:rPr lang="nl-NL" dirty="0"/>
              <a:t>De online aankopen voor producten zijn gestegen, bijv. binnen IT, Huishoudelijke elektronica, DIY/Garden en Home &amp; Living. Dit zorgde voor een enorme druk op de pakketbezorging die gelijk was aan de kerstdrukte. </a:t>
            </a:r>
          </a:p>
          <a:p>
            <a:pPr marL="180000" marR="0" lvl="0" indent="-180000" algn="l" defTabSz="914400" rtl="0" eaLnBrk="1" fontAlgn="auto" latinLnBrk="0" hangingPunct="1">
              <a:lnSpc>
                <a:spcPct val="125000"/>
              </a:lnSpc>
              <a:spcBef>
                <a:spcPts val="0"/>
              </a:spcBef>
              <a:spcAft>
                <a:spcPts val="0"/>
              </a:spcAft>
              <a:buClr>
                <a:schemeClr val="tx2"/>
              </a:buClr>
              <a:buSzTx/>
              <a:buFontTx/>
              <a:buChar char="-"/>
              <a:tabLst/>
              <a:defRPr/>
            </a:pPr>
            <a:r>
              <a:rPr lang="nl-NL" dirty="0"/>
              <a:t>Dit resulteerde in een shift van offline naar online en versnelde digitale transformatie voor retailers. </a:t>
            </a:r>
          </a:p>
          <a:p>
            <a:pPr marL="0" indent="0">
              <a:buFontTx/>
              <a:buNone/>
            </a:pPr>
            <a:endParaRPr lang="nl-NL" dirty="0"/>
          </a:p>
          <a:p>
            <a:pPr marL="0" indent="0">
              <a:buFontTx/>
              <a:buNone/>
            </a:pPr>
            <a:r>
              <a:rPr lang="nl-NL" dirty="0"/>
              <a:t>Welke trends zetten door en sterker nog, wat verwacht de consument over 5 jaar? </a:t>
            </a:r>
          </a:p>
          <a:p>
            <a:pPr marL="0" indent="0">
              <a:buFontTx/>
              <a:buNone/>
            </a:pPr>
            <a:r>
              <a:rPr lang="nl-NL" dirty="0"/>
              <a:t>Ondanks dat er sprake is van veel onzekerheid bieden we met behulp van het </a:t>
            </a:r>
            <a:r>
              <a:rPr lang="nl-NL" dirty="0" err="1"/>
              <a:t>ShoppingTomorrow</a:t>
            </a:r>
            <a:r>
              <a:rPr lang="nl-NL" dirty="0"/>
              <a:t> onderzoek inzicht in hoe de consument tegen de toekomst van </a:t>
            </a:r>
            <a:r>
              <a:rPr lang="nl-NL" dirty="0" err="1"/>
              <a:t>retail</a:t>
            </a:r>
            <a:r>
              <a:rPr lang="nl-NL" dirty="0"/>
              <a:t> aankijkt. </a:t>
            </a:r>
          </a:p>
        </p:txBody>
      </p:sp>
      <p:sp>
        <p:nvSpPr>
          <p:cNvPr id="4" name="Slide Number Placeholder 3"/>
          <p:cNvSpPr>
            <a:spLocks noGrp="1"/>
          </p:cNvSpPr>
          <p:nvPr>
            <p:ph type="sldNum" sz="quarter" idx="5"/>
          </p:nvPr>
        </p:nvSpPr>
        <p:spPr/>
        <p:txBody>
          <a:bodyPr/>
          <a:lstStyle/>
          <a:p>
            <a:fld id="{7A99B2F4-8F99-4FDD-A50D-433216698ED4}" type="slidenum">
              <a:rPr lang="en-US" smtClean="0"/>
              <a:pPr/>
              <a:t>2</a:t>
            </a:fld>
            <a:endParaRPr lang="en-US"/>
          </a:p>
        </p:txBody>
      </p:sp>
    </p:spTree>
    <p:extLst>
      <p:ext uri="{BB962C8B-B14F-4D97-AF65-F5344CB8AC3E}">
        <p14:creationId xmlns:p14="http://schemas.microsoft.com/office/powerpoint/2010/main" val="14968398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l-NL" dirty="0"/>
              <a:t>Hoe willen consumenten interacteren met retailers? </a:t>
            </a:r>
          </a:p>
        </p:txBody>
      </p:sp>
      <p:sp>
        <p:nvSpPr>
          <p:cNvPr id="4" name="Slide Number Placeholder 3"/>
          <p:cNvSpPr>
            <a:spLocks noGrp="1"/>
          </p:cNvSpPr>
          <p:nvPr>
            <p:ph type="sldNum" sz="quarter" idx="5"/>
          </p:nvPr>
        </p:nvSpPr>
        <p:spPr/>
        <p:txBody>
          <a:bodyPr/>
          <a:lstStyle/>
          <a:p>
            <a:fld id="{7A99B2F4-8F99-4FDD-A50D-433216698ED4}" type="slidenum">
              <a:rPr lang="en-US" smtClean="0"/>
              <a:pPr/>
              <a:t>12</a:t>
            </a:fld>
            <a:endParaRPr lang="en-US"/>
          </a:p>
        </p:txBody>
      </p:sp>
    </p:spTree>
    <p:extLst>
      <p:ext uri="{BB962C8B-B14F-4D97-AF65-F5344CB8AC3E}">
        <p14:creationId xmlns:p14="http://schemas.microsoft.com/office/powerpoint/2010/main" val="22024430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l-NL" dirty="0"/>
              <a:t>We zien dat nog steeds een groot gedeelte van de consumenten de voorkeur geeft aan een winkelbezoek als zij op zoek zijn naar informatie of advies. Vorig jaar kende deze contactmodus nog een enorme groei en dit jaar blijft dit zo. </a:t>
            </a:r>
          </a:p>
          <a:p>
            <a:pPr marL="0" indent="0">
              <a:buNone/>
            </a:pPr>
            <a:r>
              <a:rPr lang="nl-NL" dirty="0"/>
              <a:t>Chatten met behulp van een </a:t>
            </a:r>
            <a:r>
              <a:rPr lang="nl-NL" dirty="0" err="1"/>
              <a:t>chatbot</a:t>
            </a:r>
            <a:r>
              <a:rPr lang="nl-NL" dirty="0"/>
              <a:t> of andere vorm komt op de tweede plaats. </a:t>
            </a:r>
          </a:p>
          <a:p>
            <a:pPr marL="0" indent="0">
              <a:buNone/>
            </a:pPr>
            <a:r>
              <a:rPr lang="nl-NL" dirty="0"/>
              <a:t>Voice chat groeit het hardst vooral onder jongeren. </a:t>
            </a:r>
          </a:p>
        </p:txBody>
      </p:sp>
      <p:sp>
        <p:nvSpPr>
          <p:cNvPr id="4" name="Slide Number Placeholder 3"/>
          <p:cNvSpPr>
            <a:spLocks noGrp="1"/>
          </p:cNvSpPr>
          <p:nvPr>
            <p:ph type="sldNum" sz="quarter" idx="5"/>
          </p:nvPr>
        </p:nvSpPr>
        <p:spPr/>
        <p:txBody>
          <a:bodyPr/>
          <a:lstStyle/>
          <a:p>
            <a:fld id="{7A99B2F4-8F99-4FDD-A50D-433216698ED4}" type="slidenum">
              <a:rPr lang="en-US" smtClean="0"/>
              <a:pPr/>
              <a:t>13</a:t>
            </a:fld>
            <a:endParaRPr lang="en-US"/>
          </a:p>
        </p:txBody>
      </p:sp>
    </p:spTree>
    <p:extLst>
      <p:ext uri="{BB962C8B-B14F-4D97-AF65-F5344CB8AC3E}">
        <p14:creationId xmlns:p14="http://schemas.microsoft.com/office/powerpoint/2010/main" val="395956926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l-NL" dirty="0"/>
              <a:t>Hoe kijken consumenten tegen nieuwe </a:t>
            </a:r>
            <a:r>
              <a:rPr lang="nl-NL" dirty="0" err="1"/>
              <a:t>retailtechnologieën</a:t>
            </a:r>
            <a:r>
              <a:rPr lang="nl-NL" dirty="0"/>
              <a:t> aan?</a:t>
            </a:r>
          </a:p>
        </p:txBody>
      </p:sp>
      <p:sp>
        <p:nvSpPr>
          <p:cNvPr id="4" name="Slide Number Placeholder 3"/>
          <p:cNvSpPr>
            <a:spLocks noGrp="1"/>
          </p:cNvSpPr>
          <p:nvPr>
            <p:ph type="sldNum" sz="quarter" idx="5"/>
          </p:nvPr>
        </p:nvSpPr>
        <p:spPr/>
        <p:txBody>
          <a:bodyPr/>
          <a:lstStyle/>
          <a:p>
            <a:fld id="{7A99B2F4-8F99-4FDD-A50D-433216698ED4}" type="slidenum">
              <a:rPr lang="en-US" smtClean="0"/>
              <a:pPr/>
              <a:t>14</a:t>
            </a:fld>
            <a:endParaRPr lang="en-US"/>
          </a:p>
        </p:txBody>
      </p:sp>
    </p:spTree>
    <p:extLst>
      <p:ext uri="{BB962C8B-B14F-4D97-AF65-F5344CB8AC3E}">
        <p14:creationId xmlns:p14="http://schemas.microsoft.com/office/powerpoint/2010/main" val="22659686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l-NL" dirty="0"/>
              <a:t>Een van de nieuwe technologieën is natuurlijk personalisatie. </a:t>
            </a:r>
          </a:p>
          <a:p>
            <a:pPr marL="0" marR="0" lvl="0" indent="0" algn="l" defTabSz="914400" rtl="0" eaLnBrk="1" fontAlgn="auto" latinLnBrk="0" hangingPunct="1">
              <a:lnSpc>
                <a:spcPct val="125000"/>
              </a:lnSpc>
              <a:spcBef>
                <a:spcPts val="0"/>
              </a:spcBef>
              <a:spcAft>
                <a:spcPts val="0"/>
              </a:spcAft>
              <a:buClr>
                <a:schemeClr val="tx2"/>
              </a:buClr>
              <a:buSzTx/>
              <a:buFont typeface="Wingdings" panose="05000000000000000000" pitchFamily="2" charset="2"/>
              <a:buNone/>
              <a:tabLst/>
              <a:defRPr/>
            </a:pPr>
            <a:r>
              <a:rPr lang="nl-NL" dirty="0"/>
              <a:t>Alhoewel een groot deel van de consumenten nog steeds verwacht dat de online winkelervaring in 2025 bestaat uit gepersonaliseerde producten en diensten, is het percentage consumenten dat verwacht dat gepersonaliseerde aanbiedingen en aanbevelingen in het Nederlandse </a:t>
            </a:r>
            <a:r>
              <a:rPr lang="nl-NL" dirty="0" err="1"/>
              <a:t>retaillandschap</a:t>
            </a:r>
            <a:r>
              <a:rPr lang="nl-NL" dirty="0"/>
              <a:t> aanwezig zullen zijn gedaald. Slechts de helft verwacht dit </a:t>
            </a:r>
            <a:r>
              <a:rPr lang="nl-NL" dirty="0" err="1"/>
              <a:t>t.o.v</a:t>
            </a:r>
            <a:r>
              <a:rPr lang="nl-NL" dirty="0"/>
              <a:t> ongeveer 60% vorig jaar. Dat betekent dat de consument dit jaar minder vertrouwen heeft in de opkomst van gepersonaliseerde aanbiedingen en aanbevelingen dan vorig jaar. </a:t>
            </a:r>
          </a:p>
        </p:txBody>
      </p:sp>
      <p:sp>
        <p:nvSpPr>
          <p:cNvPr id="4" name="Slide Number Placeholder 3"/>
          <p:cNvSpPr>
            <a:spLocks noGrp="1"/>
          </p:cNvSpPr>
          <p:nvPr>
            <p:ph type="sldNum" sz="quarter" idx="5"/>
          </p:nvPr>
        </p:nvSpPr>
        <p:spPr/>
        <p:txBody>
          <a:bodyPr/>
          <a:lstStyle/>
          <a:p>
            <a:fld id="{7A99B2F4-8F99-4FDD-A50D-433216698ED4}" type="slidenum">
              <a:rPr lang="en-US" smtClean="0"/>
              <a:pPr/>
              <a:t>15</a:t>
            </a:fld>
            <a:endParaRPr lang="en-US"/>
          </a:p>
        </p:txBody>
      </p:sp>
    </p:spTree>
    <p:extLst>
      <p:ext uri="{BB962C8B-B14F-4D97-AF65-F5344CB8AC3E}">
        <p14:creationId xmlns:p14="http://schemas.microsoft.com/office/powerpoint/2010/main" val="53180938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l-NL" dirty="0"/>
              <a:t>Hoe komt dit? Het kan komen doordat veel consumenten zich niet prettig voelen bij het delen van persoonlijke informatie met winkels. Het belang van privacy staat bij veel consumenten hoog in het vaandel en kan dit in de hand werpen.  Er is ook maar een klein gedeelte die aangeeft dat ze wel persoonlijke data willen delen als dit hen iets oplevert of als het aanbod beter tot de persoonlijke voorkeur is aangepast. </a:t>
            </a:r>
          </a:p>
        </p:txBody>
      </p:sp>
      <p:sp>
        <p:nvSpPr>
          <p:cNvPr id="4" name="Slide Number Placeholder 3"/>
          <p:cNvSpPr>
            <a:spLocks noGrp="1"/>
          </p:cNvSpPr>
          <p:nvPr>
            <p:ph type="sldNum" sz="quarter" idx="5"/>
          </p:nvPr>
        </p:nvSpPr>
        <p:spPr/>
        <p:txBody>
          <a:bodyPr/>
          <a:lstStyle/>
          <a:p>
            <a:fld id="{7A99B2F4-8F99-4FDD-A50D-433216698ED4}" type="slidenum">
              <a:rPr lang="en-US" smtClean="0"/>
              <a:pPr/>
              <a:t>16</a:t>
            </a:fld>
            <a:endParaRPr lang="en-US"/>
          </a:p>
        </p:txBody>
      </p:sp>
    </p:spTree>
    <p:extLst>
      <p:ext uri="{BB962C8B-B14F-4D97-AF65-F5344CB8AC3E}">
        <p14:creationId xmlns:p14="http://schemas.microsoft.com/office/powerpoint/2010/main" val="184147974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l-NL" dirty="0"/>
              <a:t>Er is dus scepsis over personalisatie, maar over het algemeen staat men wel positief tegenover deze technologie. Het verbetert immers de winkelbeleving. Andere technologieën die een nog betere waardering krijgen zijn de bodyscanner en VR. Deze technologieën spelen vooral in op winkelgemak en winkelbeleving, twee behoeftes die bij consumenten nog steeds erg belangrijk zijn. </a:t>
            </a:r>
          </a:p>
        </p:txBody>
      </p:sp>
      <p:sp>
        <p:nvSpPr>
          <p:cNvPr id="4" name="Slide Number Placeholder 3"/>
          <p:cNvSpPr>
            <a:spLocks noGrp="1"/>
          </p:cNvSpPr>
          <p:nvPr>
            <p:ph type="sldNum" sz="quarter" idx="5"/>
          </p:nvPr>
        </p:nvSpPr>
        <p:spPr/>
        <p:txBody>
          <a:bodyPr/>
          <a:lstStyle/>
          <a:p>
            <a:fld id="{7A99B2F4-8F99-4FDD-A50D-433216698ED4}" type="slidenum">
              <a:rPr lang="en-US" smtClean="0"/>
              <a:pPr/>
              <a:t>17</a:t>
            </a:fld>
            <a:endParaRPr lang="en-US"/>
          </a:p>
        </p:txBody>
      </p:sp>
    </p:spTree>
    <p:extLst>
      <p:ext uri="{BB962C8B-B14F-4D97-AF65-F5344CB8AC3E}">
        <p14:creationId xmlns:p14="http://schemas.microsoft.com/office/powerpoint/2010/main" val="36633887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l-NL" dirty="0"/>
              <a:t>Een technologie die ook op winkelgemak zit zijn robots. Hoe kijkt de consument hier tegenaan?</a:t>
            </a:r>
          </a:p>
        </p:txBody>
      </p:sp>
      <p:sp>
        <p:nvSpPr>
          <p:cNvPr id="4" name="Slide Number Placeholder 3"/>
          <p:cNvSpPr>
            <a:spLocks noGrp="1"/>
          </p:cNvSpPr>
          <p:nvPr>
            <p:ph type="sldNum" sz="quarter" idx="5"/>
          </p:nvPr>
        </p:nvSpPr>
        <p:spPr/>
        <p:txBody>
          <a:bodyPr/>
          <a:lstStyle/>
          <a:p>
            <a:fld id="{7A99B2F4-8F99-4FDD-A50D-433216698ED4}" type="slidenum">
              <a:rPr lang="en-US" smtClean="0"/>
              <a:pPr/>
              <a:t>18</a:t>
            </a:fld>
            <a:endParaRPr lang="en-US"/>
          </a:p>
        </p:txBody>
      </p:sp>
    </p:spTree>
    <p:extLst>
      <p:ext uri="{BB962C8B-B14F-4D97-AF65-F5344CB8AC3E}">
        <p14:creationId xmlns:p14="http://schemas.microsoft.com/office/powerpoint/2010/main" val="37344163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l-NL" dirty="0"/>
              <a:t>Over het algemeen is de consument nog niet erg happig op het gebruik van robots. 62% van de consumenten geeft aan dat ze niet open staan om in de winkel bediend te worden door een robot. Daarnaast heeft ook maar een klein gedeelte van de consumenten een robot in een winkel gezien of gebruikt.  </a:t>
            </a:r>
          </a:p>
          <a:p>
            <a:pPr marL="0" indent="0">
              <a:buNone/>
            </a:pPr>
            <a:endParaRPr lang="nl-NL" dirty="0"/>
          </a:p>
          <a:p>
            <a:pPr marL="0" indent="0">
              <a:buNone/>
            </a:pPr>
            <a:r>
              <a:rPr lang="nl-NL" dirty="0"/>
              <a:t>Naast dat consumenten nog niet erg open staan voor het gebruik van robots in winkels, denken ze ook niet dat robots hen ertoe aan zet om sneller een winkel te bezoeken of dat het de servicebeleving vergroot.</a:t>
            </a:r>
          </a:p>
          <a:p>
            <a:pPr marL="0" indent="0">
              <a:buNone/>
            </a:pPr>
            <a:r>
              <a:rPr lang="nl-NL" dirty="0"/>
              <a:t>Dus we kunnen wel stellen dat consumenten momenteel nog geen toegevoegde waarde zien van de service die robots kunnen bieden in winkels. </a:t>
            </a:r>
          </a:p>
          <a:p>
            <a:pPr marL="0" indent="0">
              <a:buNone/>
            </a:pPr>
            <a:endParaRPr lang="nl-NL" dirty="0"/>
          </a:p>
        </p:txBody>
      </p:sp>
      <p:sp>
        <p:nvSpPr>
          <p:cNvPr id="4" name="Slide Number Placeholder 3"/>
          <p:cNvSpPr>
            <a:spLocks noGrp="1"/>
          </p:cNvSpPr>
          <p:nvPr>
            <p:ph type="sldNum" sz="quarter" idx="5"/>
          </p:nvPr>
        </p:nvSpPr>
        <p:spPr/>
        <p:txBody>
          <a:bodyPr/>
          <a:lstStyle/>
          <a:p>
            <a:fld id="{7A99B2F4-8F99-4FDD-A50D-433216698ED4}" type="slidenum">
              <a:rPr lang="en-US" smtClean="0"/>
              <a:pPr/>
              <a:t>19</a:t>
            </a:fld>
            <a:endParaRPr lang="en-US"/>
          </a:p>
        </p:txBody>
      </p:sp>
    </p:spTree>
    <p:extLst>
      <p:ext uri="{BB962C8B-B14F-4D97-AF65-F5344CB8AC3E}">
        <p14:creationId xmlns:p14="http://schemas.microsoft.com/office/powerpoint/2010/main" val="304524585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l-NL" dirty="0"/>
              <a:t>Als consumenten nadenken over de beste toepassingen van robots in winkels dan achten zij hen het meest geschikt voor routine matige handelingen zoals het schoonmaken van de winkel, het vullen van schappen of het geven van informatie. Toepassingen waarbij nu een medewerker aan te pas komt zoals het geven van advies of het begroeten en het communiceren van aanbiedingen zien consumenten als minder geschikt voor robots. </a:t>
            </a:r>
          </a:p>
        </p:txBody>
      </p:sp>
      <p:sp>
        <p:nvSpPr>
          <p:cNvPr id="4" name="Slide Number Placeholder 3"/>
          <p:cNvSpPr>
            <a:spLocks noGrp="1"/>
          </p:cNvSpPr>
          <p:nvPr>
            <p:ph type="sldNum" sz="quarter" idx="5"/>
          </p:nvPr>
        </p:nvSpPr>
        <p:spPr/>
        <p:txBody>
          <a:bodyPr/>
          <a:lstStyle/>
          <a:p>
            <a:fld id="{7A99B2F4-8F99-4FDD-A50D-433216698ED4}" type="slidenum">
              <a:rPr lang="en-US" smtClean="0"/>
              <a:pPr/>
              <a:t>20</a:t>
            </a:fld>
            <a:endParaRPr lang="en-US"/>
          </a:p>
        </p:txBody>
      </p:sp>
    </p:spTree>
    <p:extLst>
      <p:ext uri="{BB962C8B-B14F-4D97-AF65-F5344CB8AC3E}">
        <p14:creationId xmlns:p14="http://schemas.microsoft.com/office/powerpoint/2010/main" val="342040466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98438" y="863600"/>
            <a:ext cx="6483350" cy="3646488"/>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C02164B-5E14-1A45-AA22-A216DFAC0F9D}" type="slidenum">
              <a:rPr kumimoji="0" lang="de-DE"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de-D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345727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nl-NL" dirty="0"/>
          </a:p>
        </p:txBody>
      </p:sp>
      <p:sp>
        <p:nvSpPr>
          <p:cNvPr id="4" name="Slide Number Placeholder 3"/>
          <p:cNvSpPr>
            <a:spLocks noGrp="1"/>
          </p:cNvSpPr>
          <p:nvPr>
            <p:ph type="sldNum" sz="quarter" idx="5"/>
          </p:nvPr>
        </p:nvSpPr>
        <p:spPr/>
        <p:txBody>
          <a:bodyPr/>
          <a:lstStyle/>
          <a:p>
            <a:fld id="{7A99B2F4-8F99-4FDD-A50D-433216698ED4}" type="slidenum">
              <a:rPr lang="en-US" smtClean="0"/>
              <a:pPr/>
              <a:t>3</a:t>
            </a:fld>
            <a:endParaRPr lang="en-US"/>
          </a:p>
        </p:txBody>
      </p:sp>
    </p:spTree>
    <p:extLst>
      <p:ext uri="{BB962C8B-B14F-4D97-AF65-F5344CB8AC3E}">
        <p14:creationId xmlns:p14="http://schemas.microsoft.com/office/powerpoint/2010/main" val="39887311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l-NL" dirty="0"/>
              <a:t>Een van de terugkerende vragen in het onderzoek is hoeveel consumenten verwachten online uit te geven over 5 jaar. Wat we dit jaar opmerken is dat consumenten nagenoeg hetzelfde percentage verwachten online uit te geven dan in de jaren hiervoor. Dus ondanks de hoge piek in online uitgaven in Q1 en Q2 door corona heeft dit niet geleid tot een hogere verwachting van het online aandeel over 5 jaar. Het lijkt er dus op dat de verhouding winkel/online na 2023 gelijk blijft en dat de grote groei in de komende jaren zit. En, dat er in de toekomst nog genoeg ruimte is voor de fysieke winkel.</a:t>
            </a:r>
          </a:p>
        </p:txBody>
      </p:sp>
      <p:sp>
        <p:nvSpPr>
          <p:cNvPr id="4" name="Slide Number Placeholder 3"/>
          <p:cNvSpPr>
            <a:spLocks noGrp="1"/>
          </p:cNvSpPr>
          <p:nvPr>
            <p:ph type="sldNum" sz="quarter" idx="5"/>
          </p:nvPr>
        </p:nvSpPr>
        <p:spPr/>
        <p:txBody>
          <a:bodyPr/>
          <a:lstStyle/>
          <a:p>
            <a:fld id="{7A99B2F4-8F99-4FDD-A50D-433216698ED4}" type="slidenum">
              <a:rPr lang="en-US" smtClean="0"/>
              <a:pPr/>
              <a:t>5</a:t>
            </a:fld>
            <a:endParaRPr lang="en-US"/>
          </a:p>
        </p:txBody>
      </p:sp>
    </p:spTree>
    <p:extLst>
      <p:ext uri="{BB962C8B-B14F-4D97-AF65-F5344CB8AC3E}">
        <p14:creationId xmlns:p14="http://schemas.microsoft.com/office/powerpoint/2010/main" val="37893066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l-NL" dirty="0"/>
              <a:t>Zijn er verschillen in de verwachtingen per categorie? Ja, die zijn er. Voor Media &amp; Entertainment, Computers &amp; Accessoires verwacht men juist over 5 jaar minder online uit te geven dan dat men nu doet, terwijl men bij andere categorieën zoals food/</a:t>
            </a:r>
            <a:r>
              <a:rPr lang="nl-NL" dirty="0" err="1"/>
              <a:t>near</a:t>
            </a:r>
            <a:r>
              <a:rPr lang="nl-NL" dirty="0"/>
              <a:t> food en health en beauty een veel hoger aandeel online verwacht dan nu. </a:t>
            </a:r>
          </a:p>
          <a:p>
            <a:pPr marL="0" indent="0">
              <a:buNone/>
            </a:pPr>
            <a:endParaRPr lang="nl-NL" dirty="0"/>
          </a:p>
          <a:p>
            <a:pPr marL="0" indent="0">
              <a:buNone/>
            </a:pPr>
            <a:r>
              <a:rPr lang="nl-NL" dirty="0"/>
              <a:t>Media &amp; Entertainment en Computers &amp; Accessoires waarschijnlijk overschat door corona. Wellicht ook Food/</a:t>
            </a:r>
            <a:r>
              <a:rPr lang="nl-NL" dirty="0" err="1"/>
              <a:t>Near</a:t>
            </a:r>
            <a:r>
              <a:rPr lang="nl-NL" dirty="0"/>
              <a:t> food en Health en Beauty. </a:t>
            </a:r>
          </a:p>
        </p:txBody>
      </p:sp>
      <p:sp>
        <p:nvSpPr>
          <p:cNvPr id="4" name="Slide Number Placeholder 3"/>
          <p:cNvSpPr>
            <a:spLocks noGrp="1"/>
          </p:cNvSpPr>
          <p:nvPr>
            <p:ph type="sldNum" sz="quarter" idx="5"/>
          </p:nvPr>
        </p:nvSpPr>
        <p:spPr/>
        <p:txBody>
          <a:bodyPr/>
          <a:lstStyle/>
          <a:p>
            <a:fld id="{7A99B2F4-8F99-4FDD-A50D-433216698ED4}" type="slidenum">
              <a:rPr lang="en-US" smtClean="0"/>
              <a:pPr/>
              <a:t>6</a:t>
            </a:fld>
            <a:endParaRPr lang="en-US"/>
          </a:p>
        </p:txBody>
      </p:sp>
    </p:spTree>
    <p:extLst>
      <p:ext uri="{BB962C8B-B14F-4D97-AF65-F5344CB8AC3E}">
        <p14:creationId xmlns:p14="http://schemas.microsoft.com/office/powerpoint/2010/main" val="220819452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l-NL" dirty="0"/>
              <a:t>Impact van corona al zichtbaar op wisselwerking online en offline: </a:t>
            </a:r>
            <a:r>
              <a:rPr lang="nl-NL" dirty="0" err="1"/>
              <a:t>Showrooming</a:t>
            </a:r>
            <a:r>
              <a:rPr lang="nl-NL" dirty="0"/>
              <a:t> is minder populair, evenals click en collect. Maar is deze dip tijdelijk? Hoe verwacht de consument de wisselwerking tussen online en offline in 2025? </a:t>
            </a:r>
          </a:p>
        </p:txBody>
      </p:sp>
      <p:sp>
        <p:nvSpPr>
          <p:cNvPr id="4" name="Slide Number Placeholder 3"/>
          <p:cNvSpPr>
            <a:spLocks noGrp="1"/>
          </p:cNvSpPr>
          <p:nvPr>
            <p:ph type="sldNum" sz="quarter" idx="5"/>
          </p:nvPr>
        </p:nvSpPr>
        <p:spPr/>
        <p:txBody>
          <a:bodyPr/>
          <a:lstStyle/>
          <a:p>
            <a:fld id="{7A99B2F4-8F99-4FDD-A50D-433216698ED4}" type="slidenum">
              <a:rPr lang="en-US" smtClean="0"/>
              <a:pPr/>
              <a:t>7</a:t>
            </a:fld>
            <a:endParaRPr lang="en-US"/>
          </a:p>
        </p:txBody>
      </p:sp>
    </p:spTree>
    <p:extLst>
      <p:ext uri="{BB962C8B-B14F-4D97-AF65-F5344CB8AC3E}">
        <p14:creationId xmlns:p14="http://schemas.microsoft.com/office/powerpoint/2010/main" val="28990234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l-NL" dirty="0"/>
              <a:t>De consument verwacht nog steeds dat er meer marktconcentratie optreedt en dat online en offline steeds meer geïntegreerd worden. Dit beeld is onder consumenten niet veranderd ten opzichte van vorig jaar en wordt dus niet beïnvloed door de recente ontwikkelingen. </a:t>
            </a:r>
          </a:p>
        </p:txBody>
      </p:sp>
      <p:sp>
        <p:nvSpPr>
          <p:cNvPr id="4" name="Slide Number Placeholder 3"/>
          <p:cNvSpPr>
            <a:spLocks noGrp="1"/>
          </p:cNvSpPr>
          <p:nvPr>
            <p:ph type="sldNum" sz="quarter" idx="5"/>
          </p:nvPr>
        </p:nvSpPr>
        <p:spPr/>
        <p:txBody>
          <a:bodyPr/>
          <a:lstStyle/>
          <a:p>
            <a:fld id="{7A99B2F4-8F99-4FDD-A50D-433216698ED4}" type="slidenum">
              <a:rPr lang="en-US" smtClean="0"/>
              <a:pPr/>
              <a:t>8</a:t>
            </a:fld>
            <a:endParaRPr lang="en-US"/>
          </a:p>
        </p:txBody>
      </p:sp>
    </p:spTree>
    <p:extLst>
      <p:ext uri="{BB962C8B-B14F-4D97-AF65-F5344CB8AC3E}">
        <p14:creationId xmlns:p14="http://schemas.microsoft.com/office/powerpoint/2010/main" val="29528676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l-NL" dirty="0"/>
              <a:t>Mobile commerce is nog steeds hot. Vorig jaar was er sprake van een enorme groei in de penetratie. Dit jaar consolideert de groei. </a:t>
            </a:r>
          </a:p>
          <a:p>
            <a:pPr marL="0" indent="0">
              <a:buNone/>
            </a:pPr>
            <a:r>
              <a:rPr lang="nl-NL" dirty="0"/>
              <a:t>Twee derde van de consumenten die aangeeft vorig jaar online geshopt te hebben, zegt zijn mobiel te gebruiken om de aankoop te doen. </a:t>
            </a:r>
          </a:p>
          <a:p>
            <a:pPr marL="0" indent="0">
              <a:buNone/>
            </a:pPr>
            <a:r>
              <a:rPr lang="nl-NL" dirty="0"/>
              <a:t>Kijkend naar de toekomst dan verwacht 46% van alle online kopers dat zij over 5 jaar de meerderheid van de online aankopen met de smartphone zullen maken. Dit percentage is eveneens gelijk aan vorig jaar.   </a:t>
            </a:r>
          </a:p>
        </p:txBody>
      </p:sp>
      <p:sp>
        <p:nvSpPr>
          <p:cNvPr id="4" name="Slide Number Placeholder 3"/>
          <p:cNvSpPr>
            <a:spLocks noGrp="1"/>
          </p:cNvSpPr>
          <p:nvPr>
            <p:ph type="sldNum" sz="quarter" idx="5"/>
          </p:nvPr>
        </p:nvSpPr>
        <p:spPr/>
        <p:txBody>
          <a:bodyPr/>
          <a:lstStyle/>
          <a:p>
            <a:fld id="{7A99B2F4-8F99-4FDD-A50D-433216698ED4}" type="slidenum">
              <a:rPr lang="en-US" smtClean="0"/>
              <a:pPr/>
              <a:t>9</a:t>
            </a:fld>
            <a:endParaRPr lang="en-US"/>
          </a:p>
        </p:txBody>
      </p:sp>
    </p:spTree>
    <p:extLst>
      <p:ext uri="{BB962C8B-B14F-4D97-AF65-F5344CB8AC3E}">
        <p14:creationId xmlns:p14="http://schemas.microsoft.com/office/powerpoint/2010/main" val="28882537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l-NL" dirty="0"/>
              <a:t>Naast dat de smartphone veelvuldig gebruikt wordt voor het doen van de aankopen, wordt deze ook steeds meer gebruikt in de winkel. </a:t>
            </a:r>
          </a:p>
          <a:p>
            <a:pPr marL="0" indent="0">
              <a:buNone/>
            </a:pPr>
            <a:r>
              <a:rPr lang="nl-NL" dirty="0"/>
              <a:t>Een meerderheid gebruikt de smartphone voor het vergelijken van prijzen en om product informatie op te doen. Vooral het bekijken van sociale media en het scannen en betalen van producten is toegenomen.</a:t>
            </a:r>
          </a:p>
        </p:txBody>
      </p:sp>
      <p:sp>
        <p:nvSpPr>
          <p:cNvPr id="4" name="Slide Number Placeholder 3"/>
          <p:cNvSpPr>
            <a:spLocks noGrp="1"/>
          </p:cNvSpPr>
          <p:nvPr>
            <p:ph type="sldNum" sz="quarter" idx="5"/>
          </p:nvPr>
        </p:nvSpPr>
        <p:spPr/>
        <p:txBody>
          <a:bodyPr/>
          <a:lstStyle/>
          <a:p>
            <a:fld id="{7A99B2F4-8F99-4FDD-A50D-433216698ED4}" type="slidenum">
              <a:rPr lang="en-US" smtClean="0"/>
              <a:pPr/>
              <a:t>10</a:t>
            </a:fld>
            <a:endParaRPr lang="en-US"/>
          </a:p>
        </p:txBody>
      </p:sp>
    </p:spTree>
    <p:extLst>
      <p:ext uri="{BB962C8B-B14F-4D97-AF65-F5344CB8AC3E}">
        <p14:creationId xmlns:p14="http://schemas.microsoft.com/office/powerpoint/2010/main" val="11090231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r>
              <a:rPr lang="nl-NL" dirty="0" err="1"/>
              <a:t>Social</a:t>
            </a:r>
            <a:r>
              <a:rPr lang="nl-NL" dirty="0"/>
              <a:t> commerce blijkt nog niet echt door te zetten. We zien wel dat 1 op de 5 consumenten wel eens een aankoop via Facebook heeft gedaan, iets hoger dan vorig jaar. Maar 7 op de 10 online shoppers heeft nog geen aankoop via </a:t>
            </a:r>
            <a:r>
              <a:rPr lang="nl-NL" dirty="0" err="1"/>
              <a:t>social</a:t>
            </a:r>
            <a:r>
              <a:rPr lang="nl-NL" dirty="0"/>
              <a:t> media gedaan. </a:t>
            </a:r>
          </a:p>
          <a:p>
            <a:pPr marL="0" indent="0">
              <a:buNone/>
            </a:pPr>
            <a:r>
              <a:rPr lang="nl-NL" dirty="0"/>
              <a:t>Verwachtingen? Groei in </a:t>
            </a:r>
            <a:r>
              <a:rPr lang="nl-NL" dirty="0" err="1"/>
              <a:t>social</a:t>
            </a:r>
            <a:r>
              <a:rPr lang="nl-NL" dirty="0"/>
              <a:t> commerce zal doorzetten </a:t>
            </a:r>
          </a:p>
        </p:txBody>
      </p:sp>
      <p:sp>
        <p:nvSpPr>
          <p:cNvPr id="4" name="Slide Number Placeholder 3"/>
          <p:cNvSpPr>
            <a:spLocks noGrp="1"/>
          </p:cNvSpPr>
          <p:nvPr>
            <p:ph type="sldNum" sz="quarter" idx="5"/>
          </p:nvPr>
        </p:nvSpPr>
        <p:spPr/>
        <p:txBody>
          <a:bodyPr/>
          <a:lstStyle/>
          <a:p>
            <a:fld id="{7A99B2F4-8F99-4FDD-A50D-433216698ED4}" type="slidenum">
              <a:rPr lang="en-US" smtClean="0"/>
              <a:pPr/>
              <a:t>11</a:t>
            </a:fld>
            <a:endParaRPr lang="en-US"/>
          </a:p>
        </p:txBody>
      </p:sp>
    </p:spTree>
    <p:extLst>
      <p:ext uri="{BB962C8B-B14F-4D97-AF65-F5344CB8AC3E}">
        <p14:creationId xmlns:p14="http://schemas.microsoft.com/office/powerpoint/2010/main" val="28523178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tags" Target="../tags/tag4.xml"/><Relationship Id="rId4"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9.xml"/><Relationship Id="rId2" Type="http://schemas.openxmlformats.org/officeDocument/2006/relationships/tags" Target="../tags/tag8.xml"/><Relationship Id="rId1" Type="http://schemas.openxmlformats.org/officeDocument/2006/relationships/tags" Target="../tags/tag7.xml"/><Relationship Id="rId5" Type="http://schemas.openxmlformats.org/officeDocument/2006/relationships/slideMaster" Target="../slideMasters/slideMaster1.xml"/><Relationship Id="rId4" Type="http://schemas.openxmlformats.org/officeDocument/2006/relationships/tags" Target="../tags/tag10.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vml"/><Relationship Id="rId5" Type="http://schemas.openxmlformats.org/officeDocument/2006/relationships/image" Target="../media/image6.emf"/><Relationship Id="rId4" Type="http://schemas.openxmlformats.org/officeDocument/2006/relationships/oleObject" Target="../embeddings/oleObject1.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1">
    <p:spTree>
      <p:nvGrpSpPr>
        <p:cNvPr id="1" name=""/>
        <p:cNvGrpSpPr/>
        <p:nvPr/>
      </p:nvGrpSpPr>
      <p:grpSpPr>
        <a:xfrm>
          <a:off x="0" y="0"/>
          <a:ext cx="0" cy="0"/>
          <a:chOff x="0" y="0"/>
          <a:chExt cx="0" cy="0"/>
        </a:xfrm>
      </p:grpSpPr>
      <p:pic>
        <p:nvPicPr>
          <p:cNvPr id="32" name="picture">
            <a:extLst>
              <a:ext uri="{FF2B5EF4-FFF2-40B4-BE49-F238E27FC236}">
                <a16:creationId xmlns:a16="http://schemas.microsoft.com/office/drawing/2014/main" xmlns="" id="{4F153214-AFE7-D540-937D-96E89FDAD54B}"/>
              </a:ext>
            </a:extLst>
          </p:cNvPr>
          <p:cNvPicPr>
            <a:picLocks noChangeAspect="1"/>
          </p:cNvPicPr>
          <p:nvPr/>
        </p:nvPicPr>
        <p:blipFill rotWithShape="1">
          <a:blip r:embed="rId2"/>
          <a:srcRect l="2437" t="1" r="7487" b="9924"/>
          <a:stretch/>
        </p:blipFill>
        <p:spPr>
          <a:xfrm>
            <a:off x="2620212" y="-8808"/>
            <a:ext cx="9697299" cy="6866807"/>
          </a:xfrm>
          <a:prstGeom prst="rect">
            <a:avLst/>
          </a:prstGeom>
        </p:spPr>
      </p:pic>
      <p:sp>
        <p:nvSpPr>
          <p:cNvPr id="29" name="shpPicture"/>
          <p:cNvSpPr/>
          <p:nvPr/>
        </p:nvSpPr>
        <p:spPr>
          <a:xfrm>
            <a:off x="0" y="0"/>
            <a:ext cx="4956718" cy="6858000"/>
          </a:xfrm>
          <a:custGeom>
            <a:avLst/>
            <a:gdLst>
              <a:gd name="connsiteX0" fmla="*/ 0 w 4956718"/>
              <a:gd name="connsiteY0" fmla="*/ 0 h 6858000"/>
              <a:gd name="connsiteX1" fmla="*/ 3707268 w 4956718"/>
              <a:gd name="connsiteY1" fmla="*/ 0 h 6858000"/>
              <a:gd name="connsiteX2" fmla="*/ 4956718 w 4956718"/>
              <a:gd name="connsiteY2" fmla="*/ 4163677 h 6858000"/>
              <a:gd name="connsiteX3" fmla="*/ 3376226 w 4956718"/>
              <a:gd name="connsiteY3" fmla="*/ 6858000 h 6858000"/>
              <a:gd name="connsiteX4" fmla="*/ 0 w 495671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956718" h="6858000">
                <a:moveTo>
                  <a:pt x="0" y="0"/>
                </a:moveTo>
                <a:lnTo>
                  <a:pt x="3707268" y="0"/>
                </a:lnTo>
                <a:lnTo>
                  <a:pt x="4956718" y="4163677"/>
                </a:lnTo>
                <a:lnTo>
                  <a:pt x="3376226"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lnSpc>
                <a:spcPct val="125000"/>
              </a:lnSpc>
            </a:pPr>
            <a:endParaRPr lang="en-US" sz="1600" dirty="0"/>
          </a:p>
        </p:txBody>
      </p:sp>
      <p:grpSp>
        <p:nvGrpSpPr>
          <p:cNvPr id="14" name="logo">
            <a:extLst>
              <a:ext uri="{FF2B5EF4-FFF2-40B4-BE49-F238E27FC236}">
                <a16:creationId xmlns:a16="http://schemas.microsoft.com/office/drawing/2014/main" xmlns=""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xmlns=""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xmlns=""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xmlns=""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xmlns=""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xmlns=""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xmlns=""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xmlns=""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xmlns=""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xmlns=""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xmlns=""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xmlns=""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xmlns=""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4E06AFAC-159D-418B-AE08-DF1895C21722}" type="datetime1">
              <a:rPr lang="nl-NL" smtClean="0"/>
              <a:t>15-9-20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ShoppingTomorrow 2020</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nr.›</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baseline="0"/>
            </a:lvl1pPr>
          </a:lstStyle>
          <a:p>
            <a:r>
              <a:rPr lang="en-US" dirty="0"/>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223323396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Two pictur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6851E514-F5F4-4FE3-B047-ECE5735F3707}" type="datetime1">
              <a:rPr lang="nl-NL" smtClean="0"/>
              <a:t>15-9-2020</a:t>
            </a:fld>
            <a:endParaRPr lang="en-US"/>
          </a:p>
        </p:txBody>
      </p:sp>
      <p:sp>
        <p:nvSpPr>
          <p:cNvPr id="22" name="Footer Placeholder 21"/>
          <p:cNvSpPr>
            <a:spLocks noGrp="1"/>
          </p:cNvSpPr>
          <p:nvPr>
            <p:ph type="ftr" sz="quarter" idx="15"/>
          </p:nvPr>
        </p:nvSpPr>
        <p:spPr/>
        <p:txBody>
          <a:bodyPr/>
          <a:lstStyle/>
          <a:p>
            <a:r>
              <a:rPr lang="en-US"/>
              <a:t>ShoppingTomorrow 2020</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nr.›</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5" name="Picture Placeholder 4"/>
          <p:cNvSpPr>
            <a:spLocks noGrp="1"/>
          </p:cNvSpPr>
          <p:nvPr>
            <p:ph type="pic" sz="quarter" idx="17" hasCustomPrompt="1"/>
          </p:nvPr>
        </p:nvSpPr>
        <p:spPr>
          <a:xfrm>
            <a:off x="1075062" y="1637783"/>
            <a:ext cx="5220000" cy="4599506"/>
          </a:xfrm>
          <a:solidFill>
            <a:srgbClr val="D9DADB"/>
          </a:solidFill>
        </p:spPr>
        <p:txBody>
          <a:bodyPr/>
          <a:lstStyle>
            <a:lvl1pPr marL="0" indent="0">
              <a:buNone/>
              <a:defRPr/>
            </a:lvl1pPr>
          </a:lstStyle>
          <a:p>
            <a:r>
              <a:rPr lang="en-US" dirty="0"/>
              <a:t>Insert picture</a:t>
            </a:r>
          </a:p>
        </p:txBody>
      </p:sp>
      <p:sp>
        <p:nvSpPr>
          <p:cNvPr id="9" name="Picture Placeholder 4"/>
          <p:cNvSpPr>
            <a:spLocks noGrp="1"/>
          </p:cNvSpPr>
          <p:nvPr>
            <p:ph type="pic" sz="quarter" idx="18" hasCustomPrompt="1"/>
          </p:nvPr>
        </p:nvSpPr>
        <p:spPr>
          <a:xfrm>
            <a:off x="6600525" y="1637783"/>
            <a:ext cx="5220000" cy="4599506"/>
          </a:xfr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419293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Two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5A56C4F3-BE82-4D36-89BC-07DB42D06968}" type="datetime1">
              <a:rPr lang="nl-NL" smtClean="0"/>
              <a:t>15-9-2020</a:t>
            </a:fld>
            <a:endParaRPr lang="en-US"/>
          </a:p>
        </p:txBody>
      </p:sp>
      <p:sp>
        <p:nvSpPr>
          <p:cNvPr id="22" name="Footer Placeholder 21"/>
          <p:cNvSpPr>
            <a:spLocks noGrp="1"/>
          </p:cNvSpPr>
          <p:nvPr>
            <p:ph type="ftr" sz="quarter" idx="15"/>
          </p:nvPr>
        </p:nvSpPr>
        <p:spPr/>
        <p:txBody>
          <a:bodyPr/>
          <a:lstStyle/>
          <a:p>
            <a:r>
              <a:rPr lang="en-US"/>
              <a:t>ShoppingTomorrow 2020</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nr.›</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6600525"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4508632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hree conten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37760E3F-008B-4203-B52E-4A4069F69F36}" type="datetime1">
              <a:rPr lang="nl-NL" smtClean="0"/>
              <a:t>15-9-2020</a:t>
            </a:fld>
            <a:endParaRPr lang="en-US"/>
          </a:p>
        </p:txBody>
      </p:sp>
      <p:sp>
        <p:nvSpPr>
          <p:cNvPr id="22" name="Footer Placeholder 21"/>
          <p:cNvSpPr>
            <a:spLocks noGrp="1"/>
          </p:cNvSpPr>
          <p:nvPr>
            <p:ph type="ftr" sz="quarter" idx="15"/>
          </p:nvPr>
        </p:nvSpPr>
        <p:spPr/>
        <p:txBody>
          <a:bodyPr/>
          <a:lstStyle/>
          <a:p>
            <a:r>
              <a:rPr lang="en-US"/>
              <a:t>ShoppingTomorrow 2020</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nr.›</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1"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4755793"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8436525" y="1629618"/>
            <a:ext cx="3384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13773508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Four contents 1">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E1EC403F-4ADF-4F8B-BADA-BDCB253E842A}" type="datetime1">
              <a:rPr lang="nl-NL" smtClean="0"/>
              <a:t>15-9-2020</a:t>
            </a:fld>
            <a:endParaRPr lang="en-US"/>
          </a:p>
        </p:txBody>
      </p:sp>
      <p:sp>
        <p:nvSpPr>
          <p:cNvPr id="22" name="Footer Placeholder 21"/>
          <p:cNvSpPr>
            <a:spLocks noGrp="1"/>
          </p:cNvSpPr>
          <p:nvPr>
            <p:ph type="ftr" sz="quarter" idx="15"/>
          </p:nvPr>
        </p:nvSpPr>
        <p:spPr/>
        <p:txBody>
          <a:bodyPr/>
          <a:lstStyle/>
          <a:p>
            <a:r>
              <a:rPr lang="en-US"/>
              <a:t>ShoppingTomorrow 2020</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nr.›</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92088"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3174234"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6156380"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9" hasCustomPrompt="1"/>
          </p:nvPr>
        </p:nvSpPr>
        <p:spPr>
          <a:xfrm>
            <a:off x="9138525" y="1629618"/>
            <a:ext cx="2682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09269555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Four contents 2">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553CDC73-7959-448D-8A22-568B97D30B34}" type="datetime1">
              <a:rPr lang="nl-NL" smtClean="0"/>
              <a:t>15-9-2020</a:t>
            </a:fld>
            <a:endParaRPr lang="en-US"/>
          </a:p>
        </p:txBody>
      </p:sp>
      <p:sp>
        <p:nvSpPr>
          <p:cNvPr id="22" name="Footer Placeholder 21"/>
          <p:cNvSpPr>
            <a:spLocks noGrp="1"/>
          </p:cNvSpPr>
          <p:nvPr>
            <p:ph type="ftr" sz="quarter" idx="15"/>
          </p:nvPr>
        </p:nvSpPr>
        <p:spPr/>
        <p:txBody>
          <a:bodyPr/>
          <a:lstStyle/>
          <a:p>
            <a:r>
              <a:rPr lang="en-US"/>
              <a:t>ShoppingTomorrow 2020</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nr.›</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92088" y="1629617"/>
            <a:ext cx="610297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Content Placeholder 2"/>
          <p:cNvSpPr>
            <a:spLocks noGrp="1"/>
          </p:cNvSpPr>
          <p:nvPr>
            <p:ph idx="17" hasCustomPrompt="1"/>
          </p:nvPr>
        </p:nvSpPr>
        <p:spPr>
          <a:xfrm>
            <a:off x="6600525" y="1629617"/>
            <a:ext cx="523414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p:cNvSpPr>
            <a:spLocks noGrp="1"/>
          </p:cNvSpPr>
          <p:nvPr>
            <p:ph idx="18" hasCustomPrompt="1"/>
          </p:nvPr>
        </p:nvSpPr>
        <p:spPr>
          <a:xfrm>
            <a:off x="192088" y="4077289"/>
            <a:ext cx="610297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Content Placeholder 2"/>
          <p:cNvSpPr>
            <a:spLocks noGrp="1"/>
          </p:cNvSpPr>
          <p:nvPr>
            <p:ph idx="19" hasCustomPrompt="1"/>
          </p:nvPr>
        </p:nvSpPr>
        <p:spPr>
          <a:xfrm>
            <a:off x="6600525" y="4077289"/>
            <a:ext cx="5234144" cy="2160000"/>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4"/>
          <p:cNvSpPr>
            <a:spLocks noGrp="1"/>
          </p:cNvSpPr>
          <p:nvPr>
            <p:ph type="body" sz="quarter" idx="20"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3003344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Large charts and table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8446A457-AE7E-4374-A6EC-CB2010462771}" type="datetime1">
              <a:rPr lang="nl-NL" smtClean="0"/>
              <a:t>15-9-2020</a:t>
            </a:fld>
            <a:endParaRPr lang="en-US"/>
          </a:p>
        </p:txBody>
      </p:sp>
      <p:sp>
        <p:nvSpPr>
          <p:cNvPr id="22" name="Footer Placeholder 21"/>
          <p:cNvSpPr>
            <a:spLocks noGrp="1"/>
          </p:cNvSpPr>
          <p:nvPr>
            <p:ph type="ftr" sz="quarter" idx="15"/>
          </p:nvPr>
        </p:nvSpPr>
        <p:spPr/>
        <p:txBody>
          <a:bodyPr/>
          <a:lstStyle/>
          <a:p>
            <a:r>
              <a:rPr lang="en-US"/>
              <a:t>ShoppingTomorrow 2020</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nr.›</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92088" y="1629617"/>
            <a:ext cx="11642581" cy="4599506"/>
          </a:xfrm>
        </p:spPr>
        <p:txBody>
          <a:bodyPr anchor="t"/>
          <a:lstStyle>
            <a:lvl1pPr marL="0" indent="0" algn="ctr">
              <a:spcBef>
                <a:spcPts val="1000"/>
              </a:spcBef>
              <a:buNone/>
              <a:defRPr sz="2800" baseline="0"/>
            </a:lvl1pPr>
            <a:lvl2pPr marL="0" indent="0">
              <a:spcBef>
                <a:spcPts val="1000"/>
              </a:spcBef>
              <a:buNone/>
              <a:defRPr sz="2800"/>
            </a:lvl2pPr>
            <a:lvl3pPr marL="0" indent="0">
              <a:spcBef>
                <a:spcPts val="1000"/>
              </a:spcBef>
              <a:buNone/>
              <a:defRPr sz="2800"/>
            </a:lvl3pPr>
            <a:lvl4pPr>
              <a:spcBef>
                <a:spcPts val="1000"/>
              </a:spcBef>
              <a:buNone/>
              <a:defRPr sz="2800"/>
            </a:lvl4pPr>
            <a:lvl5pPr marL="0" indent="0">
              <a:spcBef>
                <a:spcPts val="1000"/>
              </a:spcBef>
              <a:buNone/>
              <a:defRPr sz="2800"/>
            </a:lvl5pPr>
          </a:lstStyle>
          <a:p>
            <a:pPr lvl="0"/>
            <a:r>
              <a:rPr lang="en-US" dirty="0"/>
              <a:t>Use this layout for large charts and tables only. Please, do not use with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6765032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hart with description">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990CE510-DD19-4F20-A61F-CD8C5B29DE97}" type="datetime1">
              <a:rPr lang="nl-NL" smtClean="0"/>
              <a:t>15-9-2020</a:t>
            </a:fld>
            <a:endParaRPr lang="en-US"/>
          </a:p>
        </p:txBody>
      </p:sp>
      <p:sp>
        <p:nvSpPr>
          <p:cNvPr id="22" name="Footer Placeholder 21"/>
          <p:cNvSpPr>
            <a:spLocks noGrp="1"/>
          </p:cNvSpPr>
          <p:nvPr>
            <p:ph type="ftr" sz="quarter" idx="15"/>
          </p:nvPr>
        </p:nvSpPr>
        <p:spPr/>
        <p:txBody>
          <a:bodyPr/>
          <a:lstStyle/>
          <a:p>
            <a:r>
              <a:rPr lang="en-US"/>
              <a:t>ShoppingTomorrow 2020</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nr.›</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4" name="Chart Placeholder 3"/>
          <p:cNvSpPr>
            <a:spLocks noGrp="1"/>
          </p:cNvSpPr>
          <p:nvPr>
            <p:ph type="chart" sz="quarter" idx="17" hasCustomPrompt="1"/>
          </p:nvPr>
        </p:nvSpPr>
        <p:spPr>
          <a:xfrm>
            <a:off x="192088" y="1629617"/>
            <a:ext cx="5903913" cy="4599506"/>
          </a:xfrm>
        </p:spPr>
        <p:txBody>
          <a:bodyPr/>
          <a:lstStyle>
            <a:lvl1pPr>
              <a:defRPr/>
            </a:lvl1pPr>
          </a:lstStyle>
          <a:p>
            <a:r>
              <a:rPr lang="en-US" dirty="0"/>
              <a:t>Click to add chart</a:t>
            </a:r>
          </a:p>
        </p:txBody>
      </p:sp>
      <p:sp>
        <p:nvSpPr>
          <p:cNvPr id="6" name="Text Placeholder 5"/>
          <p:cNvSpPr>
            <a:spLocks noGrp="1"/>
          </p:cNvSpPr>
          <p:nvPr>
            <p:ph type="body" sz="quarter" idx="18" hasCustomPrompt="1"/>
          </p:nvPr>
        </p:nvSpPr>
        <p:spPr>
          <a:xfrm>
            <a:off x="6206067" y="3393019"/>
            <a:ext cx="5628602" cy="2023841"/>
          </a:xfrm>
          <a:solidFill>
            <a:srgbClr val="D9DADB"/>
          </a:solidFill>
        </p:spPr>
        <p:txBody>
          <a:bodyPr lIns="108000" tIns="108000" rIns="108000" bIns="108000"/>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Text Placeholder 4"/>
          <p:cNvSpPr>
            <a:spLocks noGrp="1"/>
          </p:cNvSpPr>
          <p:nvPr>
            <p:ph type="body" sz="quarter" idx="19"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6875939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Notebook">
    <p:spTree>
      <p:nvGrpSpPr>
        <p:cNvPr id="1" name=""/>
        <p:cNvGrpSpPr/>
        <p:nvPr/>
      </p:nvGrpSpPr>
      <p:grpSpPr>
        <a:xfrm>
          <a:off x="0" y="0"/>
          <a:ext cx="0" cy="0"/>
          <a:chOff x="0" y="0"/>
          <a:chExt cx="0" cy="0"/>
        </a:xfrm>
      </p:grpSpPr>
      <p:pic>
        <p:nvPicPr>
          <p:cNvPr id="13" name="Notebook">
            <a:extLst>
              <a:ext uri="{FF2B5EF4-FFF2-40B4-BE49-F238E27FC236}">
                <a16:creationId xmlns:a16="http://schemas.microsoft.com/office/drawing/2014/main" xmlns="" id="{6DEE1461-64EC-7246-8FA6-71C6BF497627}"/>
              </a:ext>
            </a:extLst>
          </p:cNvPr>
          <p:cNvPicPr>
            <a:picLocks noChangeAspect="1"/>
          </p:cNvPicPr>
          <p:nvPr/>
        </p:nvPicPr>
        <p:blipFill>
          <a:blip r:embed="rId2"/>
          <a:stretch>
            <a:fillRect/>
          </a:stretch>
        </p:blipFill>
        <p:spPr>
          <a:xfrm>
            <a:off x="3651351" y="1267197"/>
            <a:ext cx="8528460" cy="5161713"/>
          </a:xfrm>
          <a:prstGeom prst="rect">
            <a:avLst/>
          </a:prstGeom>
        </p:spPr>
      </p:pic>
      <p:sp>
        <p:nvSpPr>
          <p:cNvPr id="21" name="Date Placeholder 20"/>
          <p:cNvSpPr>
            <a:spLocks noGrp="1"/>
          </p:cNvSpPr>
          <p:nvPr>
            <p:ph type="dt" sz="half" idx="14"/>
          </p:nvPr>
        </p:nvSpPr>
        <p:spPr/>
        <p:txBody>
          <a:bodyPr/>
          <a:lstStyle/>
          <a:p>
            <a:fld id="{3C523C82-7BA5-47D7-8C9E-60771E3A33EB}" type="datetime1">
              <a:rPr lang="nl-NL" smtClean="0"/>
              <a:t>15-9-2020</a:t>
            </a:fld>
            <a:endParaRPr lang="en-US"/>
          </a:p>
        </p:txBody>
      </p:sp>
      <p:sp>
        <p:nvSpPr>
          <p:cNvPr id="22" name="Footer Placeholder 21"/>
          <p:cNvSpPr>
            <a:spLocks noGrp="1"/>
          </p:cNvSpPr>
          <p:nvPr>
            <p:ph type="ftr" sz="quarter" idx="15"/>
          </p:nvPr>
        </p:nvSpPr>
        <p:spPr/>
        <p:txBody>
          <a:bodyPr/>
          <a:lstStyle/>
          <a:p>
            <a:r>
              <a:rPr lang="en-US"/>
              <a:t>ShoppingTomorrow 2020</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nr.›</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4904507" y="1821610"/>
            <a:ext cx="6001200" cy="3664800"/>
          </a:xfr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3750556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ablet">
    <p:spTree>
      <p:nvGrpSpPr>
        <p:cNvPr id="1" name=""/>
        <p:cNvGrpSpPr/>
        <p:nvPr/>
      </p:nvGrpSpPr>
      <p:grpSpPr>
        <a:xfrm>
          <a:off x="0" y="0"/>
          <a:ext cx="0" cy="0"/>
          <a:chOff x="0" y="0"/>
          <a:chExt cx="0" cy="0"/>
        </a:xfrm>
      </p:grpSpPr>
      <p:pic>
        <p:nvPicPr>
          <p:cNvPr id="12" name="Grafik 3">
            <a:extLst>
              <a:ext uri="{FF2B5EF4-FFF2-40B4-BE49-F238E27FC236}">
                <a16:creationId xmlns:a16="http://schemas.microsoft.com/office/drawing/2014/main" xmlns="" id="{1D97A272-8DE5-144D-9076-0F435EC79171}"/>
              </a:ext>
            </a:extLst>
          </p:cNvPr>
          <p:cNvPicPr>
            <a:picLocks noChangeAspect="1"/>
          </p:cNvPicPr>
          <p:nvPr/>
        </p:nvPicPr>
        <p:blipFill rotWithShape="1">
          <a:blip r:embed="rId2"/>
          <a:srcRect t="12473" b="9902"/>
          <a:stretch/>
        </p:blipFill>
        <p:spPr>
          <a:xfrm>
            <a:off x="4422451" y="1441279"/>
            <a:ext cx="6858000" cy="5323585"/>
          </a:xfrm>
          <a:prstGeom prst="rect">
            <a:avLst/>
          </a:prstGeom>
        </p:spPr>
      </p:pic>
      <p:sp>
        <p:nvSpPr>
          <p:cNvPr id="21" name="Date Placeholder 20"/>
          <p:cNvSpPr>
            <a:spLocks noGrp="1"/>
          </p:cNvSpPr>
          <p:nvPr>
            <p:ph type="dt" sz="half" idx="14"/>
          </p:nvPr>
        </p:nvSpPr>
        <p:spPr/>
        <p:txBody>
          <a:bodyPr/>
          <a:lstStyle/>
          <a:p>
            <a:fld id="{A89ED25E-840E-4FF7-94BE-A0B583A59B37}" type="datetime1">
              <a:rPr lang="nl-NL" smtClean="0"/>
              <a:t>15-9-2020</a:t>
            </a:fld>
            <a:endParaRPr lang="en-US"/>
          </a:p>
        </p:txBody>
      </p:sp>
      <p:sp>
        <p:nvSpPr>
          <p:cNvPr id="22" name="Footer Placeholder 21"/>
          <p:cNvSpPr>
            <a:spLocks noGrp="1"/>
          </p:cNvSpPr>
          <p:nvPr>
            <p:ph type="ftr" sz="quarter" idx="15"/>
          </p:nvPr>
        </p:nvSpPr>
        <p:spPr/>
        <p:txBody>
          <a:bodyPr/>
          <a:lstStyle/>
          <a:p>
            <a:r>
              <a:rPr lang="en-US"/>
              <a:t>ShoppingTomorrow 2020</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nr.›</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852623"/>
            <a:ext cx="3287388" cy="3658714"/>
          </a:xfrm>
        </p:spPr>
        <p:txBody>
          <a:bodyPr anchor="ctr"/>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5135561" y="2010934"/>
            <a:ext cx="5491064" cy="3428280"/>
          </a:xfrm>
          <a:solidFill>
            <a:srgbClr val="D9DADB"/>
          </a:solidFill>
        </p:spPr>
        <p:txBody>
          <a:bodyPr/>
          <a:lstStyle>
            <a:lvl1pPr marL="0" indent="0">
              <a:buNone/>
              <a:defRPr/>
            </a:lvl1pPr>
          </a:lstStyle>
          <a:p>
            <a:r>
              <a:rPr lang="en-US" dirty="0"/>
              <a:t>Insert picture</a:t>
            </a:r>
          </a:p>
        </p:txBody>
      </p:sp>
      <p:sp>
        <p:nvSpPr>
          <p:cNvPr id="11"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77182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martphone">
    <p:spTree>
      <p:nvGrpSpPr>
        <p:cNvPr id="1" name=""/>
        <p:cNvGrpSpPr/>
        <p:nvPr/>
      </p:nvGrpSpPr>
      <p:grpSpPr>
        <a:xfrm>
          <a:off x="0" y="0"/>
          <a:ext cx="0" cy="0"/>
          <a:chOff x="0" y="0"/>
          <a:chExt cx="0" cy="0"/>
        </a:xfrm>
      </p:grpSpPr>
      <p:pic>
        <p:nvPicPr>
          <p:cNvPr id="10" name="Grafik 2">
            <a:extLst>
              <a:ext uri="{FF2B5EF4-FFF2-40B4-BE49-F238E27FC236}">
                <a16:creationId xmlns:a16="http://schemas.microsoft.com/office/drawing/2014/main" xmlns="" id="{6421FD8A-F5D4-E041-A727-98ABA693B1A7}"/>
              </a:ext>
            </a:extLst>
          </p:cNvPr>
          <p:cNvPicPr>
            <a:picLocks noChangeAspect="1"/>
          </p:cNvPicPr>
          <p:nvPr/>
        </p:nvPicPr>
        <p:blipFill rotWithShape="1">
          <a:blip r:embed="rId2"/>
          <a:srcRect b="1774"/>
          <a:stretch/>
        </p:blipFill>
        <p:spPr>
          <a:xfrm>
            <a:off x="5472449" y="1362516"/>
            <a:ext cx="4953000" cy="4865134"/>
          </a:xfrm>
          <a:prstGeom prst="rect">
            <a:avLst/>
          </a:prstGeom>
          <a:effectLst>
            <a:reflection blurRad="6350" stA="48000" endPos="6000" dir="5400000" sy="-100000" algn="bl" rotWithShape="0"/>
          </a:effectLst>
        </p:spPr>
      </p:pic>
      <p:sp>
        <p:nvSpPr>
          <p:cNvPr id="21" name="Date Placeholder 20"/>
          <p:cNvSpPr>
            <a:spLocks noGrp="1"/>
          </p:cNvSpPr>
          <p:nvPr>
            <p:ph type="dt" sz="half" idx="14"/>
          </p:nvPr>
        </p:nvSpPr>
        <p:spPr/>
        <p:txBody>
          <a:bodyPr/>
          <a:lstStyle/>
          <a:p>
            <a:fld id="{A02C38A2-7434-409A-9E6B-910A0BF07B3F}" type="datetime1">
              <a:rPr lang="nl-NL" smtClean="0"/>
              <a:t>15-9-2020</a:t>
            </a:fld>
            <a:endParaRPr lang="en-US"/>
          </a:p>
        </p:txBody>
      </p:sp>
      <p:sp>
        <p:nvSpPr>
          <p:cNvPr id="22" name="Footer Placeholder 21"/>
          <p:cNvSpPr>
            <a:spLocks noGrp="1"/>
          </p:cNvSpPr>
          <p:nvPr>
            <p:ph type="ftr" sz="quarter" idx="15"/>
          </p:nvPr>
        </p:nvSpPr>
        <p:spPr/>
        <p:txBody>
          <a:bodyPr/>
          <a:lstStyle/>
          <a:p>
            <a:r>
              <a:rPr lang="en-US"/>
              <a:t>ShoppingTomorrow 2020</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nr.›</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1" y="1852623"/>
            <a:ext cx="5241071" cy="3658714"/>
          </a:xfrm>
        </p:spPr>
        <p:txBody>
          <a:bodyPr anchor="ctr"/>
          <a:lstStyle>
            <a:lvl1pPr>
              <a:defRPr sz="1600"/>
            </a:lvl1pPr>
            <a:lvl2pPr>
              <a:defRPr sz="1600"/>
            </a:lvl2pPr>
            <a:lvl3pPr>
              <a:defRPr sz="1600"/>
            </a:lvl3pPr>
            <a:lvl4pPr>
              <a:defRPr sz="1600"/>
            </a:lvl4pPr>
            <a:lvl5pPr>
              <a:defRPr sz="1600"/>
            </a:lvl5pPr>
          </a:lstStyle>
          <a:p>
            <a:pPr lvl="0"/>
            <a:r>
              <a:rPr lang="en-US" dirty="0"/>
              <a:t>Click to add tex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6923531" y="1784822"/>
            <a:ext cx="2006654" cy="4104000"/>
          </a:xfrm>
          <a:solidFill>
            <a:srgbClr val="D9DADB"/>
          </a:solidFill>
        </p:spPr>
        <p:txBody>
          <a:bodyPr/>
          <a:lstStyle>
            <a:lvl1pPr marL="0" indent="0">
              <a:buNone/>
              <a:defRPr/>
            </a:lvl1pPr>
          </a:lstStyle>
          <a:p>
            <a:r>
              <a:rPr lang="en-US" dirty="0"/>
              <a:t>Insert picture</a:t>
            </a:r>
          </a:p>
        </p:txBody>
      </p:sp>
      <p:sp>
        <p:nvSpPr>
          <p:cNvPr id="12"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57773705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2">
    <p:spTree>
      <p:nvGrpSpPr>
        <p:cNvPr id="1" name=""/>
        <p:cNvGrpSpPr/>
        <p:nvPr/>
      </p:nvGrpSpPr>
      <p:grpSpPr>
        <a:xfrm>
          <a:off x="0" y="0"/>
          <a:ext cx="0" cy="0"/>
          <a:chOff x="0" y="0"/>
          <a:chExt cx="0" cy="0"/>
        </a:xfrm>
      </p:grpSpPr>
      <p:pic>
        <p:nvPicPr>
          <p:cNvPr id="29" name="picture">
            <a:extLst>
              <a:ext uri="{FF2B5EF4-FFF2-40B4-BE49-F238E27FC236}">
                <a16:creationId xmlns:a16="http://schemas.microsoft.com/office/drawing/2014/main" xmlns="" id="{8BF907F5-A9CD-2740-AF54-6BACB62334AE}"/>
              </a:ext>
            </a:extLst>
          </p:cNvPr>
          <p:cNvPicPr>
            <a:picLocks noChangeAspect="1"/>
          </p:cNvPicPr>
          <p:nvPr/>
        </p:nvPicPr>
        <p:blipFill rotWithShape="1">
          <a:blip r:embed="rId2"/>
          <a:srcRect l="2437" t="1" r="7487" b="9924"/>
          <a:stretch/>
        </p:blipFill>
        <p:spPr>
          <a:xfrm>
            <a:off x="2620212" y="-8808"/>
            <a:ext cx="9697299" cy="6866807"/>
          </a:xfrm>
          <a:prstGeom prst="rect">
            <a:avLst/>
          </a:prstGeom>
        </p:spPr>
      </p:pic>
      <p:sp>
        <p:nvSpPr>
          <p:cNvPr id="32" name="shpPicture"/>
          <p:cNvSpPr/>
          <p:nvPr/>
        </p:nvSpPr>
        <p:spPr>
          <a:xfrm>
            <a:off x="1" y="0"/>
            <a:ext cx="4112145" cy="6858000"/>
          </a:xfrm>
          <a:custGeom>
            <a:avLst/>
            <a:gdLst>
              <a:gd name="connsiteX0" fmla="*/ 0 w 4112145"/>
              <a:gd name="connsiteY0" fmla="*/ 0 h 6858000"/>
              <a:gd name="connsiteX1" fmla="*/ 2588964 w 4112145"/>
              <a:gd name="connsiteY1" fmla="*/ 0 h 6858000"/>
              <a:gd name="connsiteX2" fmla="*/ 4112145 w 4112145"/>
              <a:gd name="connsiteY2" fmla="*/ 3083531 h 6858000"/>
              <a:gd name="connsiteX3" fmla="*/ 2697661 w 4112145"/>
              <a:gd name="connsiteY3" fmla="*/ 6858000 h 6858000"/>
              <a:gd name="connsiteX4" fmla="*/ 0 w 4112145"/>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12145" h="6858000">
                <a:moveTo>
                  <a:pt x="0" y="0"/>
                </a:moveTo>
                <a:lnTo>
                  <a:pt x="2588964" y="0"/>
                </a:lnTo>
                <a:lnTo>
                  <a:pt x="4112145" y="3083531"/>
                </a:lnTo>
                <a:lnTo>
                  <a:pt x="2697661"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grpSp>
        <p:nvGrpSpPr>
          <p:cNvPr id="14" name="logo">
            <a:extLst>
              <a:ext uri="{FF2B5EF4-FFF2-40B4-BE49-F238E27FC236}">
                <a16:creationId xmlns:a16="http://schemas.microsoft.com/office/drawing/2014/main" xmlns=""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xmlns=""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xmlns=""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xmlns=""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xmlns=""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xmlns=""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xmlns=""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xmlns=""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xmlns=""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xmlns=""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xmlns=""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xmlns=""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xmlns=""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7A87D74A-D0E8-4AAD-9087-393E208CB642}" type="datetime1">
              <a:rPr lang="nl-NL" smtClean="0"/>
              <a:t>15-9-20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ShoppingTomorrow 2020</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nr.›</a:t>
            </a:fld>
            <a:endParaRPr lang="en-US"/>
          </a:p>
        </p:txBody>
      </p:sp>
      <p:sp>
        <p:nvSpPr>
          <p:cNvPr id="2" name="Title 1"/>
          <p:cNvSpPr>
            <a:spLocks noGrp="1"/>
          </p:cNvSpPr>
          <p:nvPr>
            <p:ph type="ctrTitle" hasCustomPrompt="1"/>
          </p:nvPr>
        </p:nvSpPr>
        <p:spPr>
          <a:xfrm>
            <a:off x="4524589" y="1628775"/>
            <a:ext cx="5707662" cy="2236264"/>
          </a:xfrm>
        </p:spPr>
        <p:txBody>
          <a:bodyPr anchor="b"/>
          <a:lstStyle>
            <a:lvl1pPr algn="l">
              <a:defRPr sz="3600" baseline="0"/>
            </a:lvl1pPr>
          </a:lstStyle>
          <a:p>
            <a:r>
              <a:rPr lang="en-US" dirty="0"/>
              <a:t>Click to add a longer presentation title</a:t>
            </a:r>
          </a:p>
        </p:txBody>
      </p:sp>
      <p:sp>
        <p:nvSpPr>
          <p:cNvPr id="3" name="Subtitle 2"/>
          <p:cNvSpPr>
            <a:spLocks noGrp="1"/>
          </p:cNvSpPr>
          <p:nvPr>
            <p:ph type="subTitle" idx="1" hasCustomPrompt="1"/>
          </p:nvPr>
        </p:nvSpPr>
        <p:spPr>
          <a:xfrm>
            <a:off x="4524589" y="4094163"/>
            <a:ext cx="5707662"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6"/>
            <a:ext cx="2494933"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38004486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One contact">
    <p:spTree>
      <p:nvGrpSpPr>
        <p:cNvPr id="1" name=""/>
        <p:cNvGrpSpPr/>
        <p:nvPr/>
      </p:nvGrpSpPr>
      <p:grpSpPr>
        <a:xfrm>
          <a:off x="0" y="0"/>
          <a:ext cx="0" cy="0"/>
          <a:chOff x="0" y="0"/>
          <a:chExt cx="0" cy="0"/>
        </a:xfrm>
      </p:grpSpPr>
      <p:sp>
        <p:nvSpPr>
          <p:cNvPr id="4" name="Picture Placeholder 3"/>
          <p:cNvSpPr>
            <a:spLocks noGrp="1"/>
          </p:cNvSpPr>
          <p:nvPr>
            <p:ph type="pic" sz="quarter" idx="17" hasCustomPrompt="1"/>
          </p:nvPr>
        </p:nvSpPr>
        <p:spPr>
          <a:xfrm>
            <a:off x="1056217" y="1833656"/>
            <a:ext cx="3203503" cy="3935319"/>
          </a:xfrm>
          <a:solidFill>
            <a:srgbClr val="D9DADB"/>
          </a:solidFill>
        </p:spPr>
        <p:txBody>
          <a:bodyPr/>
          <a:lstStyle>
            <a:lvl1pPr marL="0" indent="0">
              <a:buNone/>
              <a:defRPr sz="1400"/>
            </a:lvl1pPr>
          </a:lstStyle>
          <a:p>
            <a:r>
              <a:rPr lang="en-US" dirty="0"/>
              <a:t>Insert picture</a:t>
            </a:r>
          </a:p>
        </p:txBody>
      </p:sp>
      <p:sp>
        <p:nvSpPr>
          <p:cNvPr id="21" name="Date Placeholder 20"/>
          <p:cNvSpPr>
            <a:spLocks noGrp="1"/>
          </p:cNvSpPr>
          <p:nvPr>
            <p:ph type="dt" sz="half" idx="14"/>
          </p:nvPr>
        </p:nvSpPr>
        <p:spPr/>
        <p:txBody>
          <a:bodyPr/>
          <a:lstStyle/>
          <a:p>
            <a:fld id="{27E044BE-E7EB-4E1F-A9E1-4FBD6C86C888}" type="datetime1">
              <a:rPr lang="nl-NL" smtClean="0"/>
              <a:t>15-9-2020</a:t>
            </a:fld>
            <a:endParaRPr lang="en-US"/>
          </a:p>
        </p:txBody>
      </p:sp>
      <p:sp>
        <p:nvSpPr>
          <p:cNvPr id="22" name="Footer Placeholder 21"/>
          <p:cNvSpPr>
            <a:spLocks noGrp="1"/>
          </p:cNvSpPr>
          <p:nvPr>
            <p:ph type="ftr" sz="quarter" idx="15"/>
          </p:nvPr>
        </p:nvSpPr>
        <p:spPr/>
        <p:txBody>
          <a:bodyPr/>
          <a:lstStyle/>
          <a:p>
            <a:r>
              <a:rPr lang="en-US"/>
              <a:t>ShoppingTomorrow 2020</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nr.›</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xmlns="" id="{6B969E7B-9C39-4443-9B02-74C1E7C5CCAC}"/>
              </a:ext>
            </a:extLst>
          </p:cNvPr>
          <p:cNvGrpSpPr/>
          <p:nvPr/>
        </p:nvGrpSpPr>
        <p:grpSpPr>
          <a:xfrm>
            <a:off x="4451001" y="2884199"/>
            <a:ext cx="171180" cy="171180"/>
            <a:chOff x="3392092" y="1841122"/>
            <a:chExt cx="646508" cy="646508"/>
          </a:xfrm>
        </p:grpSpPr>
        <p:sp>
          <p:nvSpPr>
            <p:cNvPr id="9" name="Rechteck 14">
              <a:extLst>
                <a:ext uri="{FF2B5EF4-FFF2-40B4-BE49-F238E27FC236}">
                  <a16:creationId xmlns:a16="http://schemas.microsoft.com/office/drawing/2014/main" xmlns=""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xmlns=""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xmlns="" id="{DED6A25A-5DE2-1441-8BA2-C68D3B4F9209}"/>
              </a:ext>
            </a:extLst>
          </p:cNvPr>
          <p:cNvGrpSpPr>
            <a:grpSpLocks noChangeAspect="1"/>
          </p:cNvGrpSpPr>
          <p:nvPr>
            <p:custDataLst>
              <p:tags r:id="rId1"/>
            </p:custDataLst>
          </p:nvPr>
        </p:nvGrpSpPr>
        <p:grpSpPr>
          <a:xfrm>
            <a:off x="4451002" y="3169087"/>
            <a:ext cx="171180" cy="171180"/>
            <a:chOff x="328396" y="5313940"/>
            <a:chExt cx="720000" cy="720000"/>
          </a:xfrm>
        </p:grpSpPr>
        <p:sp>
          <p:nvSpPr>
            <p:cNvPr id="12" name="Rectangle 4">
              <a:extLst>
                <a:ext uri="{FF2B5EF4-FFF2-40B4-BE49-F238E27FC236}">
                  <a16:creationId xmlns:a16="http://schemas.microsoft.com/office/drawing/2014/main" xmlns=""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xmlns=""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4451001" y="3494093"/>
            <a:ext cx="246319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6" name="Text Placeholder 5"/>
          <p:cNvSpPr>
            <a:spLocks noGrp="1"/>
          </p:cNvSpPr>
          <p:nvPr>
            <p:ph type="body" sz="quarter" idx="19" hasCustomPrompt="1"/>
          </p:nvPr>
        </p:nvSpPr>
        <p:spPr>
          <a:xfrm>
            <a:off x="4451001" y="182440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4451001" y="203621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4451001" y="233279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695884" y="286146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695884" y="314427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5" name="Text Placeholder 34"/>
          <p:cNvSpPr>
            <a:spLocks noGrp="1"/>
          </p:cNvSpPr>
          <p:nvPr>
            <p:ph type="body" sz="quarter" idx="24" hasCustomPrompt="1"/>
          </p:nvPr>
        </p:nvSpPr>
        <p:spPr>
          <a:xfrm>
            <a:off x="4492626" y="3681413"/>
            <a:ext cx="4492594" cy="2087562"/>
          </a:xfrm>
        </p:spPr>
        <p:txBody>
          <a:bodyPr/>
          <a:lstStyle>
            <a:lvl1pPr>
              <a:defRPr sz="1400" baseline="0"/>
            </a:lvl1pPr>
            <a:lvl2pPr>
              <a:defRPr sz="1400"/>
            </a:lvl2pPr>
            <a:lvl3pPr>
              <a:defRPr sz="1400"/>
            </a:lvl3pPr>
            <a:lvl4pPr>
              <a:defRPr sz="1400"/>
            </a:lvl4pPr>
            <a:lvl5pPr>
              <a:defRPr sz="1400"/>
            </a:lvl5pPr>
          </a:lstStyle>
          <a:p>
            <a:pPr lvl="0"/>
            <a:r>
              <a:rPr lang="en-US" dirty="0"/>
              <a:t>Additional information (if needed)</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5684430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wo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3807B729-91A9-40FA-ADA6-AF5CCAF9BB5D}" type="datetime1">
              <a:rPr lang="nl-NL" smtClean="0"/>
              <a:t>15-9-2020</a:t>
            </a:fld>
            <a:endParaRPr lang="en-US"/>
          </a:p>
        </p:txBody>
      </p:sp>
      <p:sp>
        <p:nvSpPr>
          <p:cNvPr id="22" name="Footer Placeholder 21"/>
          <p:cNvSpPr>
            <a:spLocks noGrp="1"/>
          </p:cNvSpPr>
          <p:nvPr>
            <p:ph type="ftr" sz="quarter" idx="15"/>
          </p:nvPr>
        </p:nvSpPr>
        <p:spPr/>
        <p:txBody>
          <a:bodyPr/>
          <a:lstStyle/>
          <a:p>
            <a:r>
              <a:rPr lang="en-US"/>
              <a:t>ShoppingTomorrow 2020</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nr.›</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xmlns=""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xmlns=""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xmlns=""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xmlns=""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xmlns=""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xmlns=""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xmlns=""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xmlns=""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xmlns=""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7" name="Group 3">
            <a:extLst>
              <a:ext uri="{FF2B5EF4-FFF2-40B4-BE49-F238E27FC236}">
                <a16:creationId xmlns:a16="http://schemas.microsoft.com/office/drawing/2014/main" xmlns=""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xmlns=""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xmlns=""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36070711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hree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C62A41F4-6EB2-4FB3-99AF-836F9CF2246F}" type="datetime1">
              <a:rPr lang="nl-NL" smtClean="0"/>
              <a:t>15-9-2020</a:t>
            </a:fld>
            <a:endParaRPr lang="en-US"/>
          </a:p>
        </p:txBody>
      </p:sp>
      <p:sp>
        <p:nvSpPr>
          <p:cNvPr id="22" name="Footer Placeholder 21"/>
          <p:cNvSpPr>
            <a:spLocks noGrp="1"/>
          </p:cNvSpPr>
          <p:nvPr>
            <p:ph type="ftr" sz="quarter" idx="15"/>
          </p:nvPr>
        </p:nvSpPr>
        <p:spPr/>
        <p:txBody>
          <a:bodyPr/>
          <a:lstStyle/>
          <a:p>
            <a:r>
              <a:rPr lang="en-US"/>
              <a:t>ShoppingTomorrow 2020</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nr.›</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xmlns=""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xmlns=""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xmlns=""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xmlns=""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xmlns=""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xmlns=""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xmlns=""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xmlns=""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xmlns=""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7" name="Group 3">
            <a:extLst>
              <a:ext uri="{FF2B5EF4-FFF2-40B4-BE49-F238E27FC236}">
                <a16:creationId xmlns:a16="http://schemas.microsoft.com/office/drawing/2014/main" xmlns=""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xmlns=""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xmlns=""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35" name="Gruppieren 2">
            <a:extLst>
              <a:ext uri="{FF2B5EF4-FFF2-40B4-BE49-F238E27FC236}">
                <a16:creationId xmlns:a16="http://schemas.microsoft.com/office/drawing/2014/main" xmlns=""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xmlns=""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xmlns=""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38" name="Group 3">
            <a:extLst>
              <a:ext uri="{FF2B5EF4-FFF2-40B4-BE49-F238E27FC236}">
                <a16:creationId xmlns:a16="http://schemas.microsoft.com/office/drawing/2014/main" xmlns=""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xmlns=""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xmlns=""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dirty="0"/>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11320016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Four contacts">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4635D8FC-0F8D-4C46-A2FF-8ED6A297E03C}" type="datetime1">
              <a:rPr lang="nl-NL" smtClean="0"/>
              <a:t>15-9-2020</a:t>
            </a:fld>
            <a:endParaRPr lang="en-US"/>
          </a:p>
        </p:txBody>
      </p:sp>
      <p:sp>
        <p:nvSpPr>
          <p:cNvPr id="22" name="Footer Placeholder 21"/>
          <p:cNvSpPr>
            <a:spLocks noGrp="1"/>
          </p:cNvSpPr>
          <p:nvPr>
            <p:ph type="ftr" sz="quarter" idx="15"/>
          </p:nvPr>
        </p:nvSpPr>
        <p:spPr/>
        <p:txBody>
          <a:bodyPr/>
          <a:lstStyle/>
          <a:p>
            <a:r>
              <a:rPr lang="en-US"/>
              <a:t>ShoppingTomorrow 2020</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nr.›</a:t>
            </a:fld>
            <a:endParaRPr lang="en-US"/>
          </a:p>
        </p:txBody>
      </p:sp>
      <p:sp>
        <p:nvSpPr>
          <p:cNvPr id="2" name="Title 1"/>
          <p:cNvSpPr>
            <a:spLocks noGrp="1"/>
          </p:cNvSpPr>
          <p:nvPr>
            <p:ph type="title" hasCustomPrompt="1"/>
          </p:nvPr>
        </p:nvSpPr>
        <p:spPr/>
        <p:txBody>
          <a:bodyPr/>
          <a:lstStyle>
            <a:lvl1pPr>
              <a:defRPr/>
            </a:lvl1pPr>
          </a:lstStyle>
          <a:p>
            <a:r>
              <a:rPr lang="en-US" dirty="0"/>
              <a:t>Click to add contact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grpSp>
        <p:nvGrpSpPr>
          <p:cNvPr id="8" name="Gruppieren 80">
            <a:extLst>
              <a:ext uri="{FF2B5EF4-FFF2-40B4-BE49-F238E27FC236}">
                <a16:creationId xmlns:a16="http://schemas.microsoft.com/office/drawing/2014/main" xmlns="" id="{6B969E7B-9C39-4443-9B02-74C1E7C5CCAC}"/>
              </a:ext>
            </a:extLst>
          </p:cNvPr>
          <p:cNvGrpSpPr/>
          <p:nvPr/>
        </p:nvGrpSpPr>
        <p:grpSpPr>
          <a:xfrm>
            <a:off x="3770065" y="2868319"/>
            <a:ext cx="171180" cy="171180"/>
            <a:chOff x="3392092" y="1841122"/>
            <a:chExt cx="646508" cy="646508"/>
          </a:xfrm>
        </p:grpSpPr>
        <p:sp>
          <p:nvSpPr>
            <p:cNvPr id="9" name="Rechteck 14">
              <a:extLst>
                <a:ext uri="{FF2B5EF4-FFF2-40B4-BE49-F238E27FC236}">
                  <a16:creationId xmlns:a16="http://schemas.microsoft.com/office/drawing/2014/main" xmlns="" id="{D78F58EA-5525-8D43-8295-FEA52ECF6BFA}"/>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0" name="Freeform 67">
              <a:extLst>
                <a:ext uri="{FF2B5EF4-FFF2-40B4-BE49-F238E27FC236}">
                  <a16:creationId xmlns:a16="http://schemas.microsoft.com/office/drawing/2014/main" xmlns="" id="{D01A6292-2776-4945-B828-483D79DC4908}"/>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1" name="Group 3">
            <a:extLst>
              <a:ext uri="{FF2B5EF4-FFF2-40B4-BE49-F238E27FC236}">
                <a16:creationId xmlns:a16="http://schemas.microsoft.com/office/drawing/2014/main" xmlns="" id="{DED6A25A-5DE2-1441-8BA2-C68D3B4F9209}"/>
              </a:ext>
            </a:extLst>
          </p:cNvPr>
          <p:cNvGrpSpPr>
            <a:grpSpLocks noChangeAspect="1"/>
          </p:cNvGrpSpPr>
          <p:nvPr>
            <p:custDataLst>
              <p:tags r:id="rId1"/>
            </p:custDataLst>
          </p:nvPr>
        </p:nvGrpSpPr>
        <p:grpSpPr>
          <a:xfrm>
            <a:off x="3770066" y="3153207"/>
            <a:ext cx="171180" cy="171180"/>
            <a:chOff x="328396" y="5313940"/>
            <a:chExt cx="720000" cy="720000"/>
          </a:xfrm>
        </p:grpSpPr>
        <p:sp>
          <p:nvSpPr>
            <p:cNvPr id="12" name="Rectangle 4">
              <a:extLst>
                <a:ext uri="{FF2B5EF4-FFF2-40B4-BE49-F238E27FC236}">
                  <a16:creationId xmlns:a16="http://schemas.microsoft.com/office/drawing/2014/main" xmlns="" id="{5F49E67F-D4FA-9D48-96BC-59AE946ECD15}"/>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3" name="Freeform 76">
              <a:extLst>
                <a:ext uri="{FF2B5EF4-FFF2-40B4-BE49-F238E27FC236}">
                  <a16:creationId xmlns:a16="http://schemas.microsoft.com/office/drawing/2014/main" xmlns="" id="{187E70E6-AF3F-2549-908E-DF4BA61040AA}"/>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14" name="Gruppieren 2">
            <a:extLst>
              <a:ext uri="{FF2B5EF4-FFF2-40B4-BE49-F238E27FC236}">
                <a16:creationId xmlns:a16="http://schemas.microsoft.com/office/drawing/2014/main" xmlns="" id="{BE697CE9-EBDE-6B4A-BE70-582D92A8A831}"/>
              </a:ext>
            </a:extLst>
          </p:cNvPr>
          <p:cNvGrpSpPr/>
          <p:nvPr/>
        </p:nvGrpSpPr>
        <p:grpSpPr>
          <a:xfrm>
            <a:off x="8701917" y="2868319"/>
            <a:ext cx="171180" cy="171180"/>
            <a:chOff x="3392092" y="1841122"/>
            <a:chExt cx="646508" cy="646508"/>
          </a:xfrm>
        </p:grpSpPr>
        <p:sp>
          <p:nvSpPr>
            <p:cNvPr id="15" name="Rechteck 14">
              <a:extLst>
                <a:ext uri="{FF2B5EF4-FFF2-40B4-BE49-F238E27FC236}">
                  <a16:creationId xmlns:a16="http://schemas.microsoft.com/office/drawing/2014/main" xmlns=""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6" name="Freeform 15">
              <a:extLst>
                <a:ext uri="{FF2B5EF4-FFF2-40B4-BE49-F238E27FC236}">
                  <a16:creationId xmlns:a16="http://schemas.microsoft.com/office/drawing/2014/main" xmlns=""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17" name="Group 3">
            <a:extLst>
              <a:ext uri="{FF2B5EF4-FFF2-40B4-BE49-F238E27FC236}">
                <a16:creationId xmlns:a16="http://schemas.microsoft.com/office/drawing/2014/main" xmlns="" id="{7104BADD-8CD1-6F4A-B894-869C3BDB3EEB}"/>
              </a:ext>
            </a:extLst>
          </p:cNvPr>
          <p:cNvGrpSpPr>
            <a:grpSpLocks noChangeAspect="1"/>
          </p:cNvGrpSpPr>
          <p:nvPr>
            <p:custDataLst>
              <p:tags r:id="rId2"/>
            </p:custDataLst>
          </p:nvPr>
        </p:nvGrpSpPr>
        <p:grpSpPr>
          <a:xfrm>
            <a:off x="8701918" y="3153207"/>
            <a:ext cx="171180" cy="171180"/>
            <a:chOff x="328396" y="5313940"/>
            <a:chExt cx="720000" cy="720000"/>
          </a:xfrm>
        </p:grpSpPr>
        <p:sp>
          <p:nvSpPr>
            <p:cNvPr id="18" name="Rectangle 4">
              <a:extLst>
                <a:ext uri="{FF2B5EF4-FFF2-40B4-BE49-F238E27FC236}">
                  <a16:creationId xmlns:a16="http://schemas.microsoft.com/office/drawing/2014/main" xmlns=""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19" name="Freeform 76">
              <a:extLst>
                <a:ext uri="{FF2B5EF4-FFF2-40B4-BE49-F238E27FC236}">
                  <a16:creationId xmlns:a16="http://schemas.microsoft.com/office/drawing/2014/main" xmlns=""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20" name="Straight Connector 19"/>
          <p:cNvCxnSpPr/>
          <p:nvPr/>
        </p:nvCxnSpPr>
        <p:spPr>
          <a:xfrm>
            <a:off x="2371725"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nvCxnSpPr>
        <p:spPr>
          <a:xfrm>
            <a:off x="7287766" y="347821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 name="Picture Placeholder 3"/>
          <p:cNvSpPr>
            <a:spLocks noGrp="1"/>
          </p:cNvSpPr>
          <p:nvPr>
            <p:ph type="pic" sz="quarter" idx="17" hasCustomPrompt="1"/>
          </p:nvPr>
        </p:nvSpPr>
        <p:spPr>
          <a:xfrm>
            <a:off x="2355914" y="1808984"/>
            <a:ext cx="1188677" cy="1547840"/>
          </a:xfrm>
          <a:solidFill>
            <a:srgbClr val="D9DADB"/>
          </a:solidFill>
        </p:spPr>
        <p:txBody>
          <a:bodyPr/>
          <a:lstStyle>
            <a:lvl1pPr marL="0" indent="0">
              <a:buNone/>
              <a:defRPr sz="1400"/>
            </a:lvl1pPr>
          </a:lstStyle>
          <a:p>
            <a:r>
              <a:rPr lang="en-US" dirty="0"/>
              <a:t>Insert picture</a:t>
            </a:r>
          </a:p>
        </p:txBody>
      </p:sp>
      <p:sp>
        <p:nvSpPr>
          <p:cNvPr id="25" name="Picture Placeholder 3"/>
          <p:cNvSpPr>
            <a:spLocks noGrp="1"/>
          </p:cNvSpPr>
          <p:nvPr>
            <p:ph type="pic" sz="quarter" idx="18" hasCustomPrompt="1"/>
          </p:nvPr>
        </p:nvSpPr>
        <p:spPr>
          <a:xfrm>
            <a:off x="7287766" y="1808984"/>
            <a:ext cx="1188677" cy="1547840"/>
          </a:xfrm>
          <a:solidFill>
            <a:srgbClr val="D9DADB"/>
          </a:solidFill>
        </p:spPr>
        <p:txBody>
          <a:bodyPr/>
          <a:lstStyle>
            <a:lvl1pPr marL="0" indent="0">
              <a:buNone/>
              <a:defRPr sz="1400"/>
            </a:lvl1pPr>
          </a:lstStyle>
          <a:p>
            <a:r>
              <a:rPr lang="en-US" dirty="0"/>
              <a:t>Insert picture</a:t>
            </a:r>
          </a:p>
        </p:txBody>
      </p:sp>
      <p:sp>
        <p:nvSpPr>
          <p:cNvPr id="6" name="Text Placeholder 5"/>
          <p:cNvSpPr>
            <a:spLocks noGrp="1"/>
          </p:cNvSpPr>
          <p:nvPr>
            <p:ph type="body" sz="quarter" idx="19" hasCustomPrompt="1"/>
          </p:nvPr>
        </p:nvSpPr>
        <p:spPr>
          <a:xfrm>
            <a:off x="3770065"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26" name="Text Placeholder 5"/>
          <p:cNvSpPr>
            <a:spLocks noGrp="1"/>
          </p:cNvSpPr>
          <p:nvPr>
            <p:ph type="body" sz="quarter" idx="20" hasCustomPrompt="1"/>
          </p:nvPr>
        </p:nvSpPr>
        <p:spPr>
          <a:xfrm>
            <a:off x="3770065"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27" name="Text Placeholder 5"/>
          <p:cNvSpPr>
            <a:spLocks noGrp="1"/>
          </p:cNvSpPr>
          <p:nvPr>
            <p:ph type="body" sz="quarter" idx="21" hasCustomPrompt="1"/>
          </p:nvPr>
        </p:nvSpPr>
        <p:spPr>
          <a:xfrm>
            <a:off x="3770065"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28" name="Text Placeholder 5"/>
          <p:cNvSpPr>
            <a:spLocks noGrp="1"/>
          </p:cNvSpPr>
          <p:nvPr>
            <p:ph type="body" sz="quarter" idx="22" hasCustomPrompt="1"/>
          </p:nvPr>
        </p:nvSpPr>
        <p:spPr>
          <a:xfrm>
            <a:off x="4014948"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29" name="Text Placeholder 5"/>
          <p:cNvSpPr>
            <a:spLocks noGrp="1"/>
          </p:cNvSpPr>
          <p:nvPr>
            <p:ph type="body" sz="quarter" idx="23" hasCustomPrompt="1"/>
          </p:nvPr>
        </p:nvSpPr>
        <p:spPr>
          <a:xfrm>
            <a:off x="4014948"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
        <p:nvSpPr>
          <p:cNvPr id="30" name="Text Placeholder 5"/>
          <p:cNvSpPr>
            <a:spLocks noGrp="1"/>
          </p:cNvSpPr>
          <p:nvPr>
            <p:ph type="body" sz="quarter" idx="24" hasCustomPrompt="1"/>
          </p:nvPr>
        </p:nvSpPr>
        <p:spPr>
          <a:xfrm>
            <a:off x="8701917" y="180852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31" name="Text Placeholder 5"/>
          <p:cNvSpPr>
            <a:spLocks noGrp="1"/>
          </p:cNvSpPr>
          <p:nvPr>
            <p:ph type="body" sz="quarter" idx="25" hasCustomPrompt="1"/>
          </p:nvPr>
        </p:nvSpPr>
        <p:spPr>
          <a:xfrm>
            <a:off x="8701917" y="202033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32" name="Text Placeholder 5"/>
          <p:cNvSpPr>
            <a:spLocks noGrp="1"/>
          </p:cNvSpPr>
          <p:nvPr>
            <p:ph type="body" sz="quarter" idx="26" hasCustomPrompt="1"/>
          </p:nvPr>
        </p:nvSpPr>
        <p:spPr>
          <a:xfrm>
            <a:off x="8701917" y="231691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33" name="Text Placeholder 5"/>
          <p:cNvSpPr>
            <a:spLocks noGrp="1"/>
          </p:cNvSpPr>
          <p:nvPr>
            <p:ph type="body" sz="quarter" idx="27" hasCustomPrompt="1"/>
          </p:nvPr>
        </p:nvSpPr>
        <p:spPr>
          <a:xfrm>
            <a:off x="8946800" y="284558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34" name="Text Placeholder 5"/>
          <p:cNvSpPr>
            <a:spLocks noGrp="1"/>
          </p:cNvSpPr>
          <p:nvPr>
            <p:ph type="body" sz="quarter" idx="28" hasCustomPrompt="1"/>
          </p:nvPr>
        </p:nvSpPr>
        <p:spPr>
          <a:xfrm>
            <a:off x="8946800" y="312839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35" name="Gruppieren 2">
            <a:extLst>
              <a:ext uri="{FF2B5EF4-FFF2-40B4-BE49-F238E27FC236}">
                <a16:creationId xmlns:a16="http://schemas.microsoft.com/office/drawing/2014/main" xmlns="" id="{BE697CE9-EBDE-6B4A-BE70-582D92A8A831}"/>
              </a:ext>
            </a:extLst>
          </p:cNvPr>
          <p:cNvGrpSpPr/>
          <p:nvPr/>
        </p:nvGrpSpPr>
        <p:grpSpPr>
          <a:xfrm>
            <a:off x="3770065" y="5045939"/>
            <a:ext cx="171180" cy="171180"/>
            <a:chOff x="3392092" y="1841122"/>
            <a:chExt cx="646508" cy="646508"/>
          </a:xfrm>
        </p:grpSpPr>
        <p:sp>
          <p:nvSpPr>
            <p:cNvPr id="36" name="Rechteck 14">
              <a:extLst>
                <a:ext uri="{FF2B5EF4-FFF2-40B4-BE49-F238E27FC236}">
                  <a16:creationId xmlns:a16="http://schemas.microsoft.com/office/drawing/2014/main" xmlns=""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37" name="Freeform 36">
              <a:extLst>
                <a:ext uri="{FF2B5EF4-FFF2-40B4-BE49-F238E27FC236}">
                  <a16:creationId xmlns:a16="http://schemas.microsoft.com/office/drawing/2014/main" xmlns=""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38" name="Group 3">
            <a:extLst>
              <a:ext uri="{FF2B5EF4-FFF2-40B4-BE49-F238E27FC236}">
                <a16:creationId xmlns:a16="http://schemas.microsoft.com/office/drawing/2014/main" xmlns="" id="{7104BADD-8CD1-6F4A-B894-869C3BDB3EEB}"/>
              </a:ext>
            </a:extLst>
          </p:cNvPr>
          <p:cNvGrpSpPr>
            <a:grpSpLocks noChangeAspect="1"/>
          </p:cNvGrpSpPr>
          <p:nvPr>
            <p:custDataLst>
              <p:tags r:id="rId3"/>
            </p:custDataLst>
          </p:nvPr>
        </p:nvGrpSpPr>
        <p:grpSpPr>
          <a:xfrm>
            <a:off x="3770066" y="5330827"/>
            <a:ext cx="171180" cy="171180"/>
            <a:chOff x="328396" y="5313940"/>
            <a:chExt cx="720000" cy="720000"/>
          </a:xfrm>
        </p:grpSpPr>
        <p:sp>
          <p:nvSpPr>
            <p:cNvPr id="39" name="Rectangle 4">
              <a:extLst>
                <a:ext uri="{FF2B5EF4-FFF2-40B4-BE49-F238E27FC236}">
                  <a16:creationId xmlns:a16="http://schemas.microsoft.com/office/drawing/2014/main" xmlns=""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40" name="Freeform 76">
              <a:extLst>
                <a:ext uri="{FF2B5EF4-FFF2-40B4-BE49-F238E27FC236}">
                  <a16:creationId xmlns:a16="http://schemas.microsoft.com/office/drawing/2014/main" xmlns=""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41" name="Straight Connector 40"/>
          <p:cNvCxnSpPr/>
          <p:nvPr/>
        </p:nvCxnSpPr>
        <p:spPr>
          <a:xfrm>
            <a:off x="2355914" y="5655833"/>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42" name="Picture Placeholder 3"/>
          <p:cNvSpPr>
            <a:spLocks noGrp="1"/>
          </p:cNvSpPr>
          <p:nvPr>
            <p:ph type="pic" sz="quarter" idx="29" hasCustomPrompt="1"/>
          </p:nvPr>
        </p:nvSpPr>
        <p:spPr>
          <a:xfrm>
            <a:off x="2355914" y="3986604"/>
            <a:ext cx="1188677" cy="1547840"/>
          </a:xfrm>
          <a:solidFill>
            <a:srgbClr val="D9DADB"/>
          </a:solidFill>
        </p:spPr>
        <p:txBody>
          <a:bodyPr/>
          <a:lstStyle>
            <a:lvl1pPr marL="0" indent="0">
              <a:buNone/>
              <a:defRPr sz="1400"/>
            </a:lvl1pPr>
          </a:lstStyle>
          <a:p>
            <a:r>
              <a:rPr lang="en-US" dirty="0"/>
              <a:t>Insert picture</a:t>
            </a:r>
          </a:p>
        </p:txBody>
      </p:sp>
      <p:sp>
        <p:nvSpPr>
          <p:cNvPr id="43" name="Text Placeholder 5"/>
          <p:cNvSpPr>
            <a:spLocks noGrp="1"/>
          </p:cNvSpPr>
          <p:nvPr>
            <p:ph type="body" sz="quarter" idx="30" hasCustomPrompt="1"/>
          </p:nvPr>
        </p:nvSpPr>
        <p:spPr>
          <a:xfrm>
            <a:off x="3770065" y="3986141"/>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44" name="Text Placeholder 5"/>
          <p:cNvSpPr>
            <a:spLocks noGrp="1"/>
          </p:cNvSpPr>
          <p:nvPr>
            <p:ph type="body" sz="quarter" idx="31" hasCustomPrompt="1"/>
          </p:nvPr>
        </p:nvSpPr>
        <p:spPr>
          <a:xfrm>
            <a:off x="3770065" y="4197957"/>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45" name="Text Placeholder 5"/>
          <p:cNvSpPr>
            <a:spLocks noGrp="1"/>
          </p:cNvSpPr>
          <p:nvPr>
            <p:ph type="body" sz="quarter" idx="32" hasCustomPrompt="1"/>
          </p:nvPr>
        </p:nvSpPr>
        <p:spPr>
          <a:xfrm>
            <a:off x="3770065" y="4494532"/>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46" name="Text Placeholder 5"/>
          <p:cNvSpPr>
            <a:spLocks noGrp="1"/>
          </p:cNvSpPr>
          <p:nvPr>
            <p:ph type="body" sz="quarter" idx="33" hasCustomPrompt="1"/>
          </p:nvPr>
        </p:nvSpPr>
        <p:spPr>
          <a:xfrm>
            <a:off x="4014948" y="5023208"/>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47" name="Text Placeholder 5"/>
          <p:cNvSpPr>
            <a:spLocks noGrp="1"/>
          </p:cNvSpPr>
          <p:nvPr>
            <p:ph type="body" sz="quarter" idx="34" hasCustomPrompt="1"/>
          </p:nvPr>
        </p:nvSpPr>
        <p:spPr>
          <a:xfrm>
            <a:off x="4014948" y="5306015"/>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grpSp>
        <p:nvGrpSpPr>
          <p:cNvPr id="48" name="Gruppieren 2">
            <a:extLst>
              <a:ext uri="{FF2B5EF4-FFF2-40B4-BE49-F238E27FC236}">
                <a16:creationId xmlns:a16="http://schemas.microsoft.com/office/drawing/2014/main" xmlns="" id="{BE697CE9-EBDE-6B4A-BE70-582D92A8A831}"/>
              </a:ext>
            </a:extLst>
          </p:cNvPr>
          <p:cNvGrpSpPr/>
          <p:nvPr/>
        </p:nvGrpSpPr>
        <p:grpSpPr>
          <a:xfrm>
            <a:off x="8701917" y="5043528"/>
            <a:ext cx="171180" cy="171180"/>
            <a:chOff x="3392092" y="1841122"/>
            <a:chExt cx="646508" cy="646508"/>
          </a:xfrm>
        </p:grpSpPr>
        <p:sp>
          <p:nvSpPr>
            <p:cNvPr id="49" name="Rechteck 14">
              <a:extLst>
                <a:ext uri="{FF2B5EF4-FFF2-40B4-BE49-F238E27FC236}">
                  <a16:creationId xmlns:a16="http://schemas.microsoft.com/office/drawing/2014/main" xmlns="" id="{E142A731-19B7-C34D-9534-9E05108F895F}"/>
                </a:ext>
              </a:extLst>
            </p:cNvPr>
            <p:cNvSpPr>
              <a:spLocks noChangeAspect="1"/>
            </p:cNvSpPr>
            <p:nvPr/>
          </p:nvSpPr>
          <p:spPr bwMode="gray">
            <a:xfrm>
              <a:off x="3392092" y="1841122"/>
              <a:ext cx="646508" cy="646508"/>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50" name="Freeform 49">
              <a:extLst>
                <a:ext uri="{FF2B5EF4-FFF2-40B4-BE49-F238E27FC236}">
                  <a16:creationId xmlns:a16="http://schemas.microsoft.com/office/drawing/2014/main" xmlns="" id="{F97E84AE-4AD9-4B44-9AA1-F797FC373809}"/>
                </a:ext>
              </a:extLst>
            </p:cNvPr>
            <p:cNvSpPr>
              <a:spLocks noChangeAspect="1"/>
            </p:cNvSpPr>
            <p:nvPr/>
          </p:nvSpPr>
          <p:spPr bwMode="auto">
            <a:xfrm>
              <a:off x="3546638" y="1970424"/>
              <a:ext cx="337415" cy="387905"/>
            </a:xfrm>
            <a:custGeom>
              <a:avLst/>
              <a:gdLst>
                <a:gd name="T0" fmla="*/ 573 w 1624"/>
                <a:gd name="T1" fmla="*/ 1257 h 1867"/>
                <a:gd name="T2" fmla="*/ 662 w 1624"/>
                <a:gd name="T3" fmla="*/ 1288 h 1867"/>
                <a:gd name="T4" fmla="*/ 938 w 1624"/>
                <a:gd name="T5" fmla="*/ 1051 h 1867"/>
                <a:gd name="T6" fmla="*/ 1106 w 1624"/>
                <a:gd name="T7" fmla="*/ 731 h 1867"/>
                <a:gd name="T8" fmla="*/ 1059 w 1624"/>
                <a:gd name="T9" fmla="*/ 645 h 1867"/>
                <a:gd name="T10" fmla="*/ 1001 w 1624"/>
                <a:gd name="T11" fmla="*/ 613 h 1867"/>
                <a:gd name="T12" fmla="*/ 924 w 1624"/>
                <a:gd name="T13" fmla="*/ 432 h 1867"/>
                <a:gd name="T14" fmla="*/ 1114 w 1624"/>
                <a:gd name="T15" fmla="*/ 81 h 1867"/>
                <a:gd name="T16" fmla="*/ 1287 w 1624"/>
                <a:gd name="T17" fmla="*/ 35 h 1867"/>
                <a:gd name="T18" fmla="*/ 1350 w 1624"/>
                <a:gd name="T19" fmla="*/ 69 h 1867"/>
                <a:gd name="T20" fmla="*/ 1527 w 1624"/>
                <a:gd name="T21" fmla="*/ 235 h 1867"/>
                <a:gd name="T22" fmla="*/ 1583 w 1624"/>
                <a:gd name="T23" fmla="*/ 555 h 1867"/>
                <a:gd name="T24" fmla="*/ 1172 w 1624"/>
                <a:gd name="T25" fmla="*/ 1253 h 1867"/>
                <a:gd name="T26" fmla="*/ 586 w 1624"/>
                <a:gd name="T27" fmla="*/ 1803 h 1867"/>
                <a:gd name="T28" fmla="*/ 269 w 1624"/>
                <a:gd name="T29" fmla="*/ 1807 h 1867"/>
                <a:gd name="T30" fmla="*/ 33 w 1624"/>
                <a:gd name="T31" fmla="*/ 1602 h 1867"/>
                <a:gd name="T32" fmla="*/ 2 w 1624"/>
                <a:gd name="T33" fmla="*/ 1508 h 1867"/>
                <a:gd name="T34" fmla="*/ 45 w 1624"/>
                <a:gd name="T35" fmla="*/ 1421 h 1867"/>
                <a:gd name="T36" fmla="*/ 346 w 1624"/>
                <a:gd name="T37" fmla="*/ 1158 h 1867"/>
                <a:gd name="T38" fmla="*/ 448 w 1624"/>
                <a:gd name="T39" fmla="*/ 1145 h 1867"/>
                <a:gd name="T40" fmla="*/ 573 w 1624"/>
                <a:gd name="T41" fmla="*/ 1257 h 18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24" h="1867">
                  <a:moveTo>
                    <a:pt x="573" y="1257"/>
                  </a:moveTo>
                  <a:cubicBezTo>
                    <a:pt x="592" y="1282"/>
                    <a:pt x="630" y="1303"/>
                    <a:pt x="662" y="1288"/>
                  </a:cubicBezTo>
                  <a:cubicBezTo>
                    <a:pt x="753" y="1245"/>
                    <a:pt x="854" y="1156"/>
                    <a:pt x="938" y="1051"/>
                  </a:cubicBezTo>
                  <a:cubicBezTo>
                    <a:pt x="1020" y="948"/>
                    <a:pt x="1084" y="831"/>
                    <a:pt x="1106" y="731"/>
                  </a:cubicBezTo>
                  <a:cubicBezTo>
                    <a:pt x="1113" y="696"/>
                    <a:pt x="1089" y="661"/>
                    <a:pt x="1059" y="645"/>
                  </a:cubicBezTo>
                  <a:cubicBezTo>
                    <a:pt x="1001" y="613"/>
                    <a:pt x="1001" y="613"/>
                    <a:pt x="1001" y="613"/>
                  </a:cubicBezTo>
                  <a:cubicBezTo>
                    <a:pt x="942" y="580"/>
                    <a:pt x="888" y="499"/>
                    <a:pt x="924" y="432"/>
                  </a:cubicBezTo>
                  <a:cubicBezTo>
                    <a:pt x="1114" y="81"/>
                    <a:pt x="1114" y="81"/>
                    <a:pt x="1114" y="81"/>
                  </a:cubicBezTo>
                  <a:cubicBezTo>
                    <a:pt x="1150" y="16"/>
                    <a:pt x="1224" y="0"/>
                    <a:pt x="1287" y="35"/>
                  </a:cubicBezTo>
                  <a:cubicBezTo>
                    <a:pt x="1350" y="69"/>
                    <a:pt x="1350" y="69"/>
                    <a:pt x="1350" y="69"/>
                  </a:cubicBezTo>
                  <a:cubicBezTo>
                    <a:pt x="1415" y="105"/>
                    <a:pt x="1479" y="165"/>
                    <a:pt x="1527" y="235"/>
                  </a:cubicBezTo>
                  <a:cubicBezTo>
                    <a:pt x="1593" y="332"/>
                    <a:pt x="1624" y="442"/>
                    <a:pt x="1583" y="555"/>
                  </a:cubicBezTo>
                  <a:cubicBezTo>
                    <a:pt x="1500" y="781"/>
                    <a:pt x="1351" y="1030"/>
                    <a:pt x="1172" y="1253"/>
                  </a:cubicBezTo>
                  <a:cubicBezTo>
                    <a:pt x="994" y="1477"/>
                    <a:pt x="786" y="1676"/>
                    <a:pt x="586" y="1803"/>
                  </a:cubicBezTo>
                  <a:cubicBezTo>
                    <a:pt x="486" y="1867"/>
                    <a:pt x="375" y="1856"/>
                    <a:pt x="269" y="1807"/>
                  </a:cubicBezTo>
                  <a:cubicBezTo>
                    <a:pt x="157" y="1755"/>
                    <a:pt x="106" y="1695"/>
                    <a:pt x="33" y="1602"/>
                  </a:cubicBezTo>
                  <a:cubicBezTo>
                    <a:pt x="11" y="1573"/>
                    <a:pt x="0" y="1540"/>
                    <a:pt x="2" y="1508"/>
                  </a:cubicBezTo>
                  <a:cubicBezTo>
                    <a:pt x="4" y="1475"/>
                    <a:pt x="18" y="1444"/>
                    <a:pt x="45" y="1421"/>
                  </a:cubicBezTo>
                  <a:cubicBezTo>
                    <a:pt x="70" y="1399"/>
                    <a:pt x="346" y="1158"/>
                    <a:pt x="346" y="1158"/>
                  </a:cubicBezTo>
                  <a:cubicBezTo>
                    <a:pt x="376" y="1134"/>
                    <a:pt x="413" y="1133"/>
                    <a:pt x="448" y="1145"/>
                  </a:cubicBezTo>
                  <a:cubicBezTo>
                    <a:pt x="510" y="1166"/>
                    <a:pt x="536" y="1210"/>
                    <a:pt x="573" y="125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351" dirty="0"/>
            </a:p>
          </p:txBody>
        </p:sp>
      </p:grpSp>
      <p:grpSp>
        <p:nvGrpSpPr>
          <p:cNvPr id="51" name="Group 3">
            <a:extLst>
              <a:ext uri="{FF2B5EF4-FFF2-40B4-BE49-F238E27FC236}">
                <a16:creationId xmlns:a16="http://schemas.microsoft.com/office/drawing/2014/main" xmlns="" id="{7104BADD-8CD1-6F4A-B894-869C3BDB3EEB}"/>
              </a:ext>
            </a:extLst>
          </p:cNvPr>
          <p:cNvGrpSpPr>
            <a:grpSpLocks noChangeAspect="1"/>
          </p:cNvGrpSpPr>
          <p:nvPr>
            <p:custDataLst>
              <p:tags r:id="rId4"/>
            </p:custDataLst>
          </p:nvPr>
        </p:nvGrpSpPr>
        <p:grpSpPr>
          <a:xfrm>
            <a:off x="8701918" y="5328416"/>
            <a:ext cx="171180" cy="171180"/>
            <a:chOff x="328396" y="5313940"/>
            <a:chExt cx="720000" cy="720000"/>
          </a:xfrm>
        </p:grpSpPr>
        <p:sp>
          <p:nvSpPr>
            <p:cNvPr id="52" name="Rectangle 4">
              <a:extLst>
                <a:ext uri="{FF2B5EF4-FFF2-40B4-BE49-F238E27FC236}">
                  <a16:creationId xmlns:a16="http://schemas.microsoft.com/office/drawing/2014/main" xmlns="" id="{74BE3D5F-1445-6E40-8B49-72E15568383B}"/>
                </a:ext>
              </a:extLst>
            </p:cNvPr>
            <p:cNvSpPr/>
            <p:nvPr/>
          </p:nvSpPr>
          <p:spPr bwMode="gray">
            <a:xfrm>
              <a:off x="328396" y="5313940"/>
              <a:ext cx="720000" cy="720000"/>
            </a:xfrm>
            <a:prstGeom prst="rect">
              <a:avLst/>
            </a:prstGeom>
            <a:solidFill>
              <a:srgbClr val="E55A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endParaRPr lang="en-US" sz="1000" dirty="0">
                <a:solidFill>
                  <a:schemeClr val="tx1"/>
                </a:solidFill>
                <a:latin typeface="Arial" pitchFamily="34" charset="0"/>
                <a:cs typeface="Arial" pitchFamily="34" charset="0"/>
              </a:endParaRPr>
            </a:p>
          </p:txBody>
        </p:sp>
        <p:sp>
          <p:nvSpPr>
            <p:cNvPr id="53" name="Freeform 76">
              <a:extLst>
                <a:ext uri="{FF2B5EF4-FFF2-40B4-BE49-F238E27FC236}">
                  <a16:creationId xmlns:a16="http://schemas.microsoft.com/office/drawing/2014/main" xmlns="" id="{55DB3C95-7D0C-D141-901E-96D692794D2B}"/>
                </a:ext>
              </a:extLst>
            </p:cNvPr>
            <p:cNvSpPr>
              <a:spLocks noChangeAspect="1" noEditPoints="1"/>
            </p:cNvSpPr>
            <p:nvPr/>
          </p:nvSpPr>
          <p:spPr bwMode="auto">
            <a:xfrm>
              <a:off x="456202" y="5509222"/>
              <a:ext cx="504000" cy="329436"/>
            </a:xfrm>
            <a:custGeom>
              <a:avLst/>
              <a:gdLst>
                <a:gd name="T0" fmla="*/ 0 w 2080"/>
                <a:gd name="T1" fmla="*/ 65 h 1360"/>
                <a:gd name="T2" fmla="*/ 0 w 2080"/>
                <a:gd name="T3" fmla="*/ 0 h 1360"/>
                <a:gd name="T4" fmla="*/ 2080 w 2080"/>
                <a:gd name="T5" fmla="*/ 0 h 1360"/>
                <a:gd name="T6" fmla="*/ 2080 w 2080"/>
                <a:gd name="T7" fmla="*/ 65 h 1360"/>
                <a:gd name="T8" fmla="*/ 1089 w 2080"/>
                <a:gd name="T9" fmla="*/ 862 h 1360"/>
                <a:gd name="T10" fmla="*/ 991 w 2080"/>
                <a:gd name="T11" fmla="*/ 862 h 1360"/>
                <a:gd name="T12" fmla="*/ 0 w 2080"/>
                <a:gd name="T13" fmla="*/ 65 h 1360"/>
                <a:gd name="T14" fmla="*/ 1139 w 2080"/>
                <a:gd name="T15" fmla="*/ 924 h 1360"/>
                <a:gd name="T16" fmla="*/ 1282 w 2080"/>
                <a:gd name="T17" fmla="*/ 810 h 1360"/>
                <a:gd name="T18" fmla="*/ 2076 w 2080"/>
                <a:gd name="T19" fmla="*/ 1360 h 1360"/>
                <a:gd name="T20" fmla="*/ 4 w 2080"/>
                <a:gd name="T21" fmla="*/ 1360 h 1360"/>
                <a:gd name="T22" fmla="*/ 798 w 2080"/>
                <a:gd name="T23" fmla="*/ 810 h 1360"/>
                <a:gd name="T24" fmla="*/ 941 w 2080"/>
                <a:gd name="T25" fmla="*/ 924 h 1360"/>
                <a:gd name="T26" fmla="*/ 1139 w 2080"/>
                <a:gd name="T27" fmla="*/ 924 h 1360"/>
                <a:gd name="T28" fmla="*/ 2 w 2080"/>
                <a:gd name="T29" fmla="*/ 137 h 1360"/>
                <a:gd name="T30" fmla="*/ 42 w 2080"/>
                <a:gd name="T31" fmla="*/ 201 h 1360"/>
                <a:gd name="T32" fmla="*/ 734 w 2080"/>
                <a:gd name="T33" fmla="*/ 758 h 1360"/>
                <a:gd name="T34" fmla="*/ 0 w 2080"/>
                <a:gd name="T35" fmla="*/ 1266 h 1360"/>
                <a:gd name="T36" fmla="*/ 0 w 2080"/>
                <a:gd name="T37" fmla="*/ 135 h 1360"/>
                <a:gd name="T38" fmla="*/ 2 w 2080"/>
                <a:gd name="T39" fmla="*/ 137 h 1360"/>
                <a:gd name="T40" fmla="*/ 2080 w 2080"/>
                <a:gd name="T41" fmla="*/ 136 h 1360"/>
                <a:gd name="T42" fmla="*/ 2080 w 2080"/>
                <a:gd name="T43" fmla="*/ 1265 h 1360"/>
                <a:gd name="T44" fmla="*/ 1346 w 2080"/>
                <a:gd name="T45" fmla="*/ 758 h 1360"/>
                <a:gd name="T46" fmla="*/ 2038 w 2080"/>
                <a:gd name="T47" fmla="*/ 201 h 1360"/>
                <a:gd name="T48" fmla="*/ 2080 w 2080"/>
                <a:gd name="T49" fmla="*/ 136 h 1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080" h="1360">
                  <a:moveTo>
                    <a:pt x="0" y="65"/>
                  </a:moveTo>
                  <a:cubicBezTo>
                    <a:pt x="0" y="0"/>
                    <a:pt x="0" y="0"/>
                    <a:pt x="0" y="0"/>
                  </a:cubicBezTo>
                  <a:cubicBezTo>
                    <a:pt x="2080" y="0"/>
                    <a:pt x="2080" y="0"/>
                    <a:pt x="2080" y="0"/>
                  </a:cubicBezTo>
                  <a:cubicBezTo>
                    <a:pt x="2080" y="65"/>
                    <a:pt x="2080" y="65"/>
                    <a:pt x="2080" y="65"/>
                  </a:cubicBezTo>
                  <a:cubicBezTo>
                    <a:pt x="1089" y="862"/>
                    <a:pt x="1089" y="862"/>
                    <a:pt x="1089" y="862"/>
                  </a:cubicBezTo>
                  <a:cubicBezTo>
                    <a:pt x="1060" y="886"/>
                    <a:pt x="1020" y="886"/>
                    <a:pt x="991" y="862"/>
                  </a:cubicBezTo>
                  <a:lnTo>
                    <a:pt x="0" y="65"/>
                  </a:lnTo>
                  <a:close/>
                  <a:moveTo>
                    <a:pt x="1139" y="924"/>
                  </a:moveTo>
                  <a:cubicBezTo>
                    <a:pt x="1282" y="810"/>
                    <a:pt x="1282" y="810"/>
                    <a:pt x="1282" y="810"/>
                  </a:cubicBezTo>
                  <a:cubicBezTo>
                    <a:pt x="2076" y="1360"/>
                    <a:pt x="2076" y="1360"/>
                    <a:pt x="2076" y="1360"/>
                  </a:cubicBezTo>
                  <a:cubicBezTo>
                    <a:pt x="4" y="1360"/>
                    <a:pt x="4" y="1360"/>
                    <a:pt x="4" y="1360"/>
                  </a:cubicBezTo>
                  <a:cubicBezTo>
                    <a:pt x="798" y="810"/>
                    <a:pt x="798" y="810"/>
                    <a:pt x="798" y="810"/>
                  </a:cubicBezTo>
                  <a:cubicBezTo>
                    <a:pt x="941" y="924"/>
                    <a:pt x="941" y="924"/>
                    <a:pt x="941" y="924"/>
                  </a:cubicBezTo>
                  <a:cubicBezTo>
                    <a:pt x="1000" y="972"/>
                    <a:pt x="1080" y="972"/>
                    <a:pt x="1139" y="924"/>
                  </a:cubicBezTo>
                  <a:close/>
                  <a:moveTo>
                    <a:pt x="2" y="137"/>
                  </a:moveTo>
                  <a:cubicBezTo>
                    <a:pt x="8" y="163"/>
                    <a:pt x="22" y="185"/>
                    <a:pt x="42" y="201"/>
                  </a:cubicBezTo>
                  <a:cubicBezTo>
                    <a:pt x="734" y="758"/>
                    <a:pt x="734" y="758"/>
                    <a:pt x="734" y="758"/>
                  </a:cubicBezTo>
                  <a:cubicBezTo>
                    <a:pt x="0" y="1266"/>
                    <a:pt x="0" y="1266"/>
                    <a:pt x="0" y="1266"/>
                  </a:cubicBezTo>
                  <a:cubicBezTo>
                    <a:pt x="0" y="135"/>
                    <a:pt x="0" y="135"/>
                    <a:pt x="0" y="135"/>
                  </a:cubicBezTo>
                  <a:lnTo>
                    <a:pt x="2" y="137"/>
                  </a:lnTo>
                  <a:close/>
                  <a:moveTo>
                    <a:pt x="2080" y="136"/>
                  </a:moveTo>
                  <a:cubicBezTo>
                    <a:pt x="2080" y="1265"/>
                    <a:pt x="2080" y="1265"/>
                    <a:pt x="2080" y="1265"/>
                  </a:cubicBezTo>
                  <a:cubicBezTo>
                    <a:pt x="1346" y="758"/>
                    <a:pt x="1346" y="758"/>
                    <a:pt x="1346" y="758"/>
                  </a:cubicBezTo>
                  <a:cubicBezTo>
                    <a:pt x="2038" y="201"/>
                    <a:pt x="2038" y="201"/>
                    <a:pt x="2038" y="201"/>
                  </a:cubicBezTo>
                  <a:cubicBezTo>
                    <a:pt x="2060" y="182"/>
                    <a:pt x="2072" y="162"/>
                    <a:pt x="2080" y="13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sz="1000"/>
            </a:p>
          </p:txBody>
        </p:sp>
      </p:grpSp>
      <p:cxnSp>
        <p:nvCxnSpPr>
          <p:cNvPr id="54" name="Straight Connector 53"/>
          <p:cNvCxnSpPr/>
          <p:nvPr/>
        </p:nvCxnSpPr>
        <p:spPr>
          <a:xfrm>
            <a:off x="7287766" y="5653422"/>
            <a:ext cx="3888000" cy="0"/>
          </a:xfrm>
          <a:prstGeom prst="line">
            <a:avLst/>
          </a:prstGeom>
          <a:ln w="6350">
            <a:solidFill>
              <a:schemeClr val="tx2"/>
            </a:solidFill>
            <a:prstDash val="dash"/>
          </a:ln>
        </p:spPr>
        <p:style>
          <a:lnRef idx="1">
            <a:schemeClr val="accent1"/>
          </a:lnRef>
          <a:fillRef idx="0">
            <a:schemeClr val="accent1"/>
          </a:fillRef>
          <a:effectRef idx="0">
            <a:schemeClr val="accent1"/>
          </a:effectRef>
          <a:fontRef idx="minor">
            <a:schemeClr val="tx1"/>
          </a:fontRef>
        </p:style>
      </p:cxnSp>
      <p:sp>
        <p:nvSpPr>
          <p:cNvPr id="55" name="Picture Placeholder 3"/>
          <p:cNvSpPr>
            <a:spLocks noGrp="1"/>
          </p:cNvSpPr>
          <p:nvPr>
            <p:ph type="pic" sz="quarter" idx="35" hasCustomPrompt="1"/>
          </p:nvPr>
        </p:nvSpPr>
        <p:spPr>
          <a:xfrm>
            <a:off x="7287766" y="3984193"/>
            <a:ext cx="1188677" cy="1547840"/>
          </a:xfrm>
          <a:solidFill>
            <a:srgbClr val="D9DADB"/>
          </a:solidFill>
        </p:spPr>
        <p:txBody>
          <a:bodyPr/>
          <a:lstStyle>
            <a:lvl1pPr marL="0" indent="0">
              <a:buNone/>
              <a:defRPr sz="1400"/>
            </a:lvl1pPr>
          </a:lstStyle>
          <a:p>
            <a:r>
              <a:rPr lang="en-US" dirty="0"/>
              <a:t>Insert picture</a:t>
            </a:r>
          </a:p>
        </p:txBody>
      </p:sp>
      <p:sp>
        <p:nvSpPr>
          <p:cNvPr id="56" name="Text Placeholder 5"/>
          <p:cNvSpPr>
            <a:spLocks noGrp="1"/>
          </p:cNvSpPr>
          <p:nvPr>
            <p:ph type="body" sz="quarter" idx="36" hasCustomPrompt="1"/>
          </p:nvPr>
        </p:nvSpPr>
        <p:spPr>
          <a:xfrm>
            <a:off x="8701917" y="3983730"/>
            <a:ext cx="2463190" cy="192360"/>
          </a:xfrm>
        </p:spPr>
        <p:txBody>
          <a:bodyPr lIns="0" tIns="0" rIns="0" bIns="0" anchor="ctr" anchorCtr="0"/>
          <a:lstStyle>
            <a:lvl1pPr marL="0" indent="0" algn="l">
              <a:lnSpc>
                <a:spcPct val="100000"/>
              </a:lnSpc>
              <a:buNone/>
              <a:defRPr sz="100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Country</a:t>
            </a:r>
          </a:p>
        </p:txBody>
      </p:sp>
      <p:sp>
        <p:nvSpPr>
          <p:cNvPr id="57" name="Text Placeholder 5"/>
          <p:cNvSpPr>
            <a:spLocks noGrp="1"/>
          </p:cNvSpPr>
          <p:nvPr>
            <p:ph type="body" sz="quarter" idx="37" hasCustomPrompt="1"/>
          </p:nvPr>
        </p:nvSpPr>
        <p:spPr>
          <a:xfrm>
            <a:off x="8701917" y="4195546"/>
            <a:ext cx="2463190" cy="266182"/>
          </a:xfrm>
        </p:spPr>
        <p:txBody>
          <a:bodyPr lIns="0" tIns="0" rIns="0" bIns="0" anchor="b" anchorCtr="0"/>
          <a:lstStyle>
            <a:lvl1pPr marL="0" indent="0" algn="l">
              <a:lnSpc>
                <a:spcPct val="100000"/>
              </a:lnSpc>
              <a:buNone/>
              <a:defRPr sz="1400" b="1" baseline="0">
                <a:solidFill>
                  <a:schemeClr val="tx2"/>
                </a:solidFill>
              </a:defRPr>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Name, Surname</a:t>
            </a:r>
          </a:p>
        </p:txBody>
      </p:sp>
      <p:sp>
        <p:nvSpPr>
          <p:cNvPr id="58" name="Text Placeholder 5"/>
          <p:cNvSpPr>
            <a:spLocks noGrp="1"/>
          </p:cNvSpPr>
          <p:nvPr>
            <p:ph type="body" sz="quarter" idx="38" hasCustomPrompt="1"/>
          </p:nvPr>
        </p:nvSpPr>
        <p:spPr>
          <a:xfrm>
            <a:off x="8701917" y="4492121"/>
            <a:ext cx="2463190"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Job Position</a:t>
            </a:r>
          </a:p>
        </p:txBody>
      </p:sp>
      <p:sp>
        <p:nvSpPr>
          <p:cNvPr id="59" name="Text Placeholder 5"/>
          <p:cNvSpPr>
            <a:spLocks noGrp="1"/>
          </p:cNvSpPr>
          <p:nvPr>
            <p:ph type="body" sz="quarter" idx="39" hasCustomPrompt="1"/>
          </p:nvPr>
        </p:nvSpPr>
        <p:spPr>
          <a:xfrm>
            <a:off x="8946800" y="5020797"/>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Phone number</a:t>
            </a:r>
          </a:p>
        </p:txBody>
      </p:sp>
      <p:sp>
        <p:nvSpPr>
          <p:cNvPr id="60" name="Text Placeholder 5"/>
          <p:cNvSpPr>
            <a:spLocks noGrp="1"/>
          </p:cNvSpPr>
          <p:nvPr>
            <p:ph type="body" sz="quarter" idx="40" hasCustomPrompt="1"/>
          </p:nvPr>
        </p:nvSpPr>
        <p:spPr>
          <a:xfrm>
            <a:off x="8946800" y="5303604"/>
            <a:ext cx="2218307" cy="192360"/>
          </a:xfrm>
        </p:spPr>
        <p:txBody>
          <a:bodyPr lIns="0" tIns="0" rIns="0" bIns="0" anchor="ctr" anchorCtr="0"/>
          <a:lstStyle>
            <a:lvl1pPr marL="0" indent="0" algn="l">
              <a:lnSpc>
                <a:spcPct val="100000"/>
              </a:lnSpc>
              <a:buNone/>
              <a:defRPr sz="1000" baseline="0"/>
            </a:lvl1pPr>
            <a:lvl2pPr marL="0" indent="0">
              <a:lnSpc>
                <a:spcPct val="100000"/>
              </a:lnSpc>
              <a:buNone/>
              <a:defRPr sz="1000"/>
            </a:lvl2pPr>
            <a:lvl3pPr marL="0" indent="0">
              <a:lnSpc>
                <a:spcPct val="100000"/>
              </a:lnSpc>
              <a:buNone/>
              <a:defRPr sz="1000"/>
            </a:lvl3pPr>
            <a:lvl4pPr marL="0" indent="0">
              <a:lnSpc>
                <a:spcPct val="100000"/>
              </a:lnSpc>
              <a:buNone/>
              <a:defRPr sz="1000"/>
            </a:lvl4pPr>
            <a:lvl5pPr marL="0" indent="0">
              <a:lnSpc>
                <a:spcPct val="100000"/>
              </a:lnSpc>
              <a:buNone/>
              <a:defRPr sz="1000"/>
            </a:lvl5pPr>
          </a:lstStyle>
          <a:p>
            <a:pPr lvl="0"/>
            <a:r>
              <a:rPr lang="en-US" dirty="0"/>
              <a:t>Email address</a:t>
            </a:r>
          </a:p>
        </p:txBody>
      </p:sp>
    </p:spTree>
    <p:extLst>
      <p:ext uri="{BB962C8B-B14F-4D97-AF65-F5344CB8AC3E}">
        <p14:creationId xmlns:p14="http://schemas.microsoft.com/office/powerpoint/2010/main" val="66780080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End slide">
    <p:spTree>
      <p:nvGrpSpPr>
        <p:cNvPr id="1" name=""/>
        <p:cNvGrpSpPr/>
        <p:nvPr/>
      </p:nvGrpSpPr>
      <p:grpSpPr>
        <a:xfrm>
          <a:off x="0" y="0"/>
          <a:ext cx="0" cy="0"/>
          <a:chOff x="0" y="0"/>
          <a:chExt cx="0" cy="0"/>
        </a:xfrm>
      </p:grpSpPr>
      <p:pic>
        <p:nvPicPr>
          <p:cNvPr id="30" name="picture">
            <a:extLst>
              <a:ext uri="{FF2B5EF4-FFF2-40B4-BE49-F238E27FC236}">
                <a16:creationId xmlns:a16="http://schemas.microsoft.com/office/drawing/2014/main" xmlns="" id="{8BF907F5-A9CD-2740-AF54-6BACB62334AE}"/>
              </a:ext>
            </a:extLst>
          </p:cNvPr>
          <p:cNvPicPr>
            <a:picLocks noChangeAspect="1"/>
          </p:cNvPicPr>
          <p:nvPr/>
        </p:nvPicPr>
        <p:blipFill rotWithShape="1">
          <a:blip r:embed="rId2"/>
          <a:srcRect l="2437" t="1" r="7487" b="9924"/>
          <a:stretch/>
        </p:blipFill>
        <p:spPr>
          <a:xfrm>
            <a:off x="2620212" y="-8808"/>
            <a:ext cx="9697299" cy="6866807"/>
          </a:xfrm>
          <a:prstGeom prst="rect">
            <a:avLst/>
          </a:prstGeom>
        </p:spPr>
      </p:pic>
      <p:sp>
        <p:nvSpPr>
          <p:cNvPr id="29" name="shpPicture"/>
          <p:cNvSpPr/>
          <p:nvPr/>
        </p:nvSpPr>
        <p:spPr>
          <a:xfrm>
            <a:off x="0" y="0"/>
            <a:ext cx="4347306" cy="6858000"/>
          </a:xfrm>
          <a:custGeom>
            <a:avLst/>
            <a:gdLst>
              <a:gd name="connsiteX0" fmla="*/ 0 w 4347306"/>
              <a:gd name="connsiteY0" fmla="*/ 0 h 6858000"/>
              <a:gd name="connsiteX1" fmla="*/ 3252806 w 4347306"/>
              <a:gd name="connsiteY1" fmla="*/ 0 h 6858000"/>
              <a:gd name="connsiteX2" fmla="*/ 4347306 w 4347306"/>
              <a:gd name="connsiteY2" fmla="*/ 4140909 h 6858000"/>
              <a:gd name="connsiteX3" fmla="*/ 2943442 w 4347306"/>
              <a:gd name="connsiteY3" fmla="*/ 6858000 h 6858000"/>
              <a:gd name="connsiteX4" fmla="*/ 0 w 4347306"/>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47306" h="6858000">
                <a:moveTo>
                  <a:pt x="0" y="0"/>
                </a:moveTo>
                <a:lnTo>
                  <a:pt x="3252806" y="0"/>
                </a:lnTo>
                <a:lnTo>
                  <a:pt x="4347306" y="4140909"/>
                </a:lnTo>
                <a:lnTo>
                  <a:pt x="2943442"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en-US" sz="1600" dirty="0"/>
          </a:p>
        </p:txBody>
      </p:sp>
      <p:grpSp>
        <p:nvGrpSpPr>
          <p:cNvPr id="14" name="logo">
            <a:extLst>
              <a:ext uri="{FF2B5EF4-FFF2-40B4-BE49-F238E27FC236}">
                <a16:creationId xmlns:a16="http://schemas.microsoft.com/office/drawing/2014/main" xmlns=""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xmlns=""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xmlns=""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xmlns=""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xmlns=""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xmlns=""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xmlns=""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xmlns=""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xmlns=""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xmlns=""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xmlns=""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xmlns=""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xmlns=""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1E88AE12-A365-4220-9AD0-8740E0FE43FD}" type="datetime1">
              <a:rPr lang="nl-NL" smtClean="0"/>
              <a:t>15-9-20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ShoppingTomorrow 2020</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nr.›</a:t>
            </a:fld>
            <a:endParaRPr lang="en-US"/>
          </a:p>
        </p:txBody>
      </p:sp>
      <p:sp>
        <p:nvSpPr>
          <p:cNvPr id="2" name="Title 1"/>
          <p:cNvSpPr>
            <a:spLocks noGrp="1"/>
          </p:cNvSpPr>
          <p:nvPr>
            <p:ph type="ctrTitle" hasCustomPrompt="1"/>
          </p:nvPr>
        </p:nvSpPr>
        <p:spPr>
          <a:xfrm>
            <a:off x="4777671" y="2019727"/>
            <a:ext cx="3816000" cy="2236264"/>
          </a:xfrm>
        </p:spPr>
        <p:txBody>
          <a:bodyPr anchor="b"/>
          <a:lstStyle>
            <a:lvl1pPr algn="l">
              <a:defRPr sz="3600"/>
            </a:lvl1pPr>
          </a:lstStyle>
          <a:p>
            <a:r>
              <a:rPr lang="en-US" dirty="0"/>
              <a:t>Click to add thank you</a:t>
            </a:r>
          </a:p>
        </p:txBody>
      </p:sp>
    </p:spTree>
    <p:extLst>
      <p:ext uri="{BB962C8B-B14F-4D97-AF65-F5344CB8AC3E}">
        <p14:creationId xmlns:p14="http://schemas.microsoft.com/office/powerpoint/2010/main" val="281101640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Empty">
    <p:spTree>
      <p:nvGrpSpPr>
        <p:cNvPr id="1" name=""/>
        <p:cNvGrpSpPr/>
        <p:nvPr/>
      </p:nvGrpSpPr>
      <p:grpSpPr>
        <a:xfrm>
          <a:off x="0" y="0"/>
          <a:ext cx="0" cy="0"/>
          <a:chOff x="0" y="0"/>
          <a:chExt cx="0" cy="0"/>
        </a:xfrm>
      </p:grpSpPr>
      <p:sp>
        <p:nvSpPr>
          <p:cNvPr id="5" name="Rectangle 4"/>
          <p:cNvSpPr/>
          <p:nvPr/>
        </p:nvSpPr>
        <p:spPr bwMode="white">
          <a:xfrm>
            <a:off x="0" y="0"/>
            <a:ext cx="514350" cy="16287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Date Placeholder 5"/>
          <p:cNvSpPr>
            <a:spLocks noGrp="1"/>
          </p:cNvSpPr>
          <p:nvPr>
            <p:ph type="dt" sz="half" idx="10"/>
          </p:nvPr>
        </p:nvSpPr>
        <p:spPr/>
        <p:txBody>
          <a:bodyPr/>
          <a:lstStyle/>
          <a:p>
            <a:fld id="{9BAFD1CE-6895-4F3F-925A-B8777F5B1515}" type="datetime1">
              <a:rPr lang="nl-NL" smtClean="0"/>
              <a:t>15-9-2020</a:t>
            </a:fld>
            <a:endParaRPr lang="en-US" dirty="0"/>
          </a:p>
        </p:txBody>
      </p:sp>
      <p:sp>
        <p:nvSpPr>
          <p:cNvPr id="7" name="Footer Placeholder 6"/>
          <p:cNvSpPr>
            <a:spLocks noGrp="1"/>
          </p:cNvSpPr>
          <p:nvPr>
            <p:ph type="ftr" sz="quarter" idx="11"/>
          </p:nvPr>
        </p:nvSpPr>
        <p:spPr/>
        <p:txBody>
          <a:bodyPr/>
          <a:lstStyle/>
          <a:p>
            <a:r>
              <a:rPr lang="en-US"/>
              <a:t>ShoppingTomorrow 2020</a:t>
            </a:r>
            <a:endParaRPr lang="en-US" dirty="0"/>
          </a:p>
        </p:txBody>
      </p:sp>
      <p:sp>
        <p:nvSpPr>
          <p:cNvPr id="8" name="Slide Number Placeholder 7"/>
          <p:cNvSpPr>
            <a:spLocks noGrp="1"/>
          </p:cNvSpPr>
          <p:nvPr>
            <p:ph type="sldNum" sz="quarter" idx="12"/>
          </p:nvPr>
        </p:nvSpPr>
        <p:spPr/>
        <p:txBody>
          <a:bodyPr/>
          <a:lstStyle/>
          <a:p>
            <a:fld id="{5F3E29E4-0979-4FCA-B4C5-5FC6044C982A}" type="slidenum">
              <a:rPr lang="en-US" smtClean="0"/>
              <a:pPr/>
              <a:t>‹nr.›</a:t>
            </a:fld>
            <a:endParaRPr lang="en-US"/>
          </a:p>
        </p:txBody>
      </p:sp>
      <p:sp>
        <p:nvSpPr>
          <p:cNvPr id="10"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39400112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Date Placeholder 6"/>
          <p:cNvSpPr>
            <a:spLocks noGrp="1"/>
          </p:cNvSpPr>
          <p:nvPr>
            <p:ph type="dt" sz="half" idx="10"/>
          </p:nvPr>
        </p:nvSpPr>
        <p:spPr/>
        <p:txBody>
          <a:bodyPr/>
          <a:lstStyle/>
          <a:p>
            <a:fld id="{6A04DDDC-486D-466F-977D-C18776C109B7}" type="datetime1">
              <a:rPr lang="nl-NL" smtClean="0"/>
              <a:t>15-9-2020</a:t>
            </a:fld>
            <a:endParaRPr lang="en-US" dirty="0"/>
          </a:p>
        </p:txBody>
      </p:sp>
      <p:sp>
        <p:nvSpPr>
          <p:cNvPr id="8" name="Footer Placeholder 7"/>
          <p:cNvSpPr>
            <a:spLocks noGrp="1"/>
          </p:cNvSpPr>
          <p:nvPr>
            <p:ph type="ftr" sz="quarter" idx="11"/>
          </p:nvPr>
        </p:nvSpPr>
        <p:spPr/>
        <p:txBody>
          <a:bodyPr/>
          <a:lstStyle/>
          <a:p>
            <a:r>
              <a:rPr lang="en-US"/>
              <a:t>ShoppingTomorrow 2020</a:t>
            </a:r>
            <a:endParaRPr lang="en-US" dirty="0"/>
          </a:p>
        </p:txBody>
      </p:sp>
      <p:sp>
        <p:nvSpPr>
          <p:cNvPr id="9" name="Slide Number Placeholder 8"/>
          <p:cNvSpPr>
            <a:spLocks noGrp="1"/>
          </p:cNvSpPr>
          <p:nvPr>
            <p:ph type="sldNum" sz="quarter" idx="12"/>
          </p:nvPr>
        </p:nvSpPr>
        <p:spPr/>
        <p:txBody>
          <a:bodyPr/>
          <a:lstStyle/>
          <a:p>
            <a:fld id="{5F3E29E4-0979-4FCA-B4C5-5FC6044C982A}" type="slidenum">
              <a:rPr lang="en-US" smtClean="0"/>
              <a:pPr/>
              <a:t>‹nr.›</a:t>
            </a:fld>
            <a:endParaRPr lang="en-US"/>
          </a:p>
        </p:txBody>
      </p:sp>
    </p:spTree>
    <p:extLst>
      <p:ext uri="{BB962C8B-B14F-4D97-AF65-F5344CB8AC3E}">
        <p14:creationId xmlns:p14="http://schemas.microsoft.com/office/powerpoint/2010/main" val="3340197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196278" y="404813"/>
            <a:ext cx="1400175" cy="5832474"/>
          </a:xfrm>
        </p:spPr>
        <p:txBody>
          <a:bodyPr vert="eaVert"/>
          <a:lstStyle/>
          <a:p>
            <a:r>
              <a:rPr lang="en-US"/>
              <a:t>Click to edit Master title style</a:t>
            </a:r>
            <a:endParaRPr lang="en-US" dirty="0"/>
          </a:p>
        </p:txBody>
      </p:sp>
      <p:sp>
        <p:nvSpPr>
          <p:cNvPr id="3" name="Vertical Text Placeholder 2"/>
          <p:cNvSpPr>
            <a:spLocks noGrp="1"/>
          </p:cNvSpPr>
          <p:nvPr>
            <p:ph type="body" orient="vert" idx="1"/>
          </p:nvPr>
        </p:nvSpPr>
        <p:spPr>
          <a:xfrm>
            <a:off x="1076400" y="404813"/>
            <a:ext cx="5943525" cy="583247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12FA8FC-4A2C-4E59-987C-92EAB6F96520}" type="datetime1">
              <a:rPr lang="nl-NL" smtClean="0"/>
              <a:t>15-9-2020</a:t>
            </a:fld>
            <a:endParaRPr lang="en-US" dirty="0"/>
          </a:p>
        </p:txBody>
      </p:sp>
      <p:sp>
        <p:nvSpPr>
          <p:cNvPr id="8" name="Footer Placeholder 7"/>
          <p:cNvSpPr>
            <a:spLocks noGrp="1"/>
          </p:cNvSpPr>
          <p:nvPr>
            <p:ph type="ftr" sz="quarter" idx="11"/>
          </p:nvPr>
        </p:nvSpPr>
        <p:spPr/>
        <p:txBody>
          <a:bodyPr/>
          <a:lstStyle/>
          <a:p>
            <a:r>
              <a:rPr lang="en-US"/>
              <a:t>ShoppingTomorrow 2020</a:t>
            </a:r>
            <a:endParaRPr lang="en-US" dirty="0"/>
          </a:p>
        </p:txBody>
      </p:sp>
      <p:sp>
        <p:nvSpPr>
          <p:cNvPr id="9" name="Slide Number Placeholder 8"/>
          <p:cNvSpPr>
            <a:spLocks noGrp="1"/>
          </p:cNvSpPr>
          <p:nvPr>
            <p:ph type="sldNum" sz="quarter" idx="12"/>
          </p:nvPr>
        </p:nvSpPr>
        <p:spPr/>
        <p:txBody>
          <a:bodyPr/>
          <a:lstStyle/>
          <a:p>
            <a:fld id="{5F3E29E4-0979-4FCA-B4C5-5FC6044C982A}" type="slidenum">
              <a:rPr lang="en-US" smtClean="0"/>
              <a:pPr/>
              <a:t>‹nr.›</a:t>
            </a:fld>
            <a:endParaRPr lang="en-US"/>
          </a:p>
        </p:txBody>
      </p:sp>
    </p:spTree>
    <p:extLst>
      <p:ext uri="{BB962C8B-B14F-4D97-AF65-F5344CB8AC3E}">
        <p14:creationId xmlns:p14="http://schemas.microsoft.com/office/powerpoint/2010/main" val="40166829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Alleen titel">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dirty="0" err="1"/>
              <a:t>Hoofdstuk</a:t>
            </a:r>
            <a:r>
              <a:rPr lang="en-US" dirty="0"/>
              <a:t> </a:t>
            </a:r>
            <a:r>
              <a:rPr lang="en-US" dirty="0" err="1"/>
              <a:t>titel</a:t>
            </a:r>
            <a:endParaRPr lang="en-US" dirty="0"/>
          </a:p>
        </p:txBody>
      </p:sp>
      <p:sp>
        <p:nvSpPr>
          <p:cNvPr id="5" name="Textplatzhalter 6"/>
          <p:cNvSpPr>
            <a:spLocks noGrp="1"/>
          </p:cNvSpPr>
          <p:nvPr>
            <p:ph type="body" sz="quarter" idx="12" hasCustomPrompt="1"/>
          </p:nvPr>
        </p:nvSpPr>
        <p:spPr bwMode="gray">
          <a:xfrm>
            <a:off x="431800" y="6405033"/>
            <a:ext cx="11328400" cy="192616"/>
          </a:xfrm>
        </p:spPr>
        <p:txBody>
          <a:bodyPr tIns="0" bIns="36000" anchor="b" anchorCtr="0"/>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sz="1067">
                <a:solidFill>
                  <a:schemeClr val="bg2"/>
                </a:solidFill>
              </a:defRPr>
            </a:lvl1pPr>
            <a:lvl2pPr marL="0" indent="0">
              <a:spcBef>
                <a:spcPts val="400"/>
              </a:spcBef>
              <a:spcAft>
                <a:spcPts val="0"/>
              </a:spcAft>
              <a:buFont typeface="Arial" pitchFamily="34" charset="0"/>
              <a:buNone/>
              <a:defRPr sz="1200">
                <a:solidFill>
                  <a:schemeClr val="bg2"/>
                </a:solidFill>
              </a:defRPr>
            </a:lvl2pPr>
            <a:lvl3pPr marL="0" indent="0">
              <a:spcBef>
                <a:spcPts val="400"/>
              </a:spcBef>
              <a:spcAft>
                <a:spcPts val="0"/>
              </a:spcAft>
              <a:buFont typeface="Arial" pitchFamily="34" charset="0"/>
              <a:buNone/>
              <a:defRPr sz="1200">
                <a:solidFill>
                  <a:schemeClr val="bg2"/>
                </a:solidFill>
              </a:defRPr>
            </a:lvl3pPr>
            <a:lvl4pPr marL="0" indent="0">
              <a:spcBef>
                <a:spcPts val="400"/>
              </a:spcBef>
              <a:spcAft>
                <a:spcPts val="0"/>
              </a:spcAft>
              <a:buNone/>
              <a:defRPr sz="1200">
                <a:solidFill>
                  <a:schemeClr val="bg2"/>
                </a:solidFill>
              </a:defRPr>
            </a:lvl4pPr>
            <a:lvl5pPr marL="0" indent="0">
              <a:spcBef>
                <a:spcPts val="400"/>
              </a:spcBef>
              <a:spcAft>
                <a:spcPts val="0"/>
              </a:spcAft>
              <a:buNone/>
              <a:defRPr sz="1200" b="0">
                <a:solidFill>
                  <a:schemeClr val="bg2"/>
                </a:solidFill>
              </a:defRPr>
            </a:lvl5pPr>
            <a:lvl6pPr marL="0" indent="0">
              <a:spcBef>
                <a:spcPts val="400"/>
              </a:spcBef>
              <a:buFont typeface="Arial" pitchFamily="34" charset="0"/>
              <a:buNone/>
              <a:defRPr sz="1200">
                <a:solidFill>
                  <a:schemeClr val="bg2"/>
                </a:solidFill>
              </a:defRPr>
            </a:lvl6pPr>
            <a:lvl7pPr marL="0" indent="0">
              <a:spcBef>
                <a:spcPts val="400"/>
              </a:spcBef>
              <a:buFont typeface="Arial" pitchFamily="34" charset="0"/>
              <a:buNone/>
              <a:defRPr sz="1200">
                <a:solidFill>
                  <a:schemeClr val="bg2"/>
                </a:solidFill>
              </a:defRPr>
            </a:lvl7pPr>
            <a:lvl8pPr marL="0" indent="0">
              <a:spcBef>
                <a:spcPts val="400"/>
              </a:spcBef>
              <a:buFont typeface="Arial" pitchFamily="34" charset="0"/>
              <a:buNone/>
              <a:defRPr sz="1200">
                <a:solidFill>
                  <a:schemeClr val="bg2"/>
                </a:solidFill>
              </a:defRPr>
            </a:lvl8pPr>
            <a:lvl9pPr marL="0" indent="0">
              <a:spcBef>
                <a:spcPts val="400"/>
              </a:spcBef>
              <a:buFont typeface="Arial" pitchFamily="34" charset="0"/>
              <a:buNone/>
              <a:defRPr sz="1200">
                <a:solidFill>
                  <a:schemeClr val="bg2"/>
                </a:solidFill>
              </a:defRPr>
            </a:lvl9pPr>
          </a:lstStyle>
          <a:p>
            <a:pPr lvl="0"/>
            <a:r>
              <a:rPr lang="en-US" noProof="0" dirty="0"/>
              <a:t>[Source information]</a:t>
            </a:r>
          </a:p>
        </p:txBody>
      </p:sp>
    </p:spTree>
    <p:extLst>
      <p:ext uri="{BB962C8B-B14F-4D97-AF65-F5344CB8AC3E}">
        <p14:creationId xmlns:p14="http://schemas.microsoft.com/office/powerpoint/2010/main" val="41053442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2_One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2036577697"/>
              </p:ext>
            </p:ext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3406" name="think-cell Slide" r:id="rId4" imgW="353" imgH="353" progId="TCLayout.ActiveDocument.1">
                  <p:embed/>
                </p:oleObj>
              </mc:Choice>
              <mc:Fallback>
                <p:oleObj name="think-cell Slide" r:id="rId4" imgW="353" imgH="353" progId="TCLayout.ActiveDocument.1">
                  <p:embed/>
                  <p:pic>
                    <p:nvPicPr>
                      <p:cNvPr id="10" name="Object 9" hidden="1"/>
                      <p:cNvPicPr/>
                      <p:nvPr/>
                    </p:nvPicPr>
                    <p:blipFill>
                      <a:blip r:embed="rId5"/>
                      <a:stretch>
                        <a:fillRect/>
                      </a:stretch>
                    </p:blipFill>
                    <p:spPr>
                      <a:xfrm>
                        <a:off x="2118" y="2118"/>
                        <a:ext cx="2116" cy="2116"/>
                      </a:xfrm>
                      <a:prstGeom prst="rect">
                        <a:avLst/>
                      </a:prstGeom>
                    </p:spPr>
                  </p:pic>
                </p:oleObj>
              </mc:Fallback>
            </mc:AlternateContent>
          </a:graphicData>
        </a:graphic>
      </p:graphicFrame>
      <p:sp>
        <p:nvSpPr>
          <p:cNvPr id="9" name="Content Placeholder 8"/>
          <p:cNvSpPr>
            <a:spLocks noGrp="1"/>
          </p:cNvSpPr>
          <p:nvPr>
            <p:ph sz="quarter" idx="12" hasCustomPrompt="1"/>
          </p:nvPr>
        </p:nvSpPr>
        <p:spPr>
          <a:xfrm>
            <a:off x="431213" y="1700760"/>
            <a:ext cx="11328987" cy="4609024"/>
          </a:xfrm>
        </p:spPr>
        <p:txBody>
          <a:bodyPr/>
          <a:lstStyle/>
          <a:p>
            <a:pPr lvl="0"/>
            <a:r>
              <a:rPr lang="en-US" noProof="0" dirty="0"/>
              <a:t>Click to add text</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2" name="Title 1"/>
          <p:cNvSpPr>
            <a:spLocks noGrp="1"/>
          </p:cNvSpPr>
          <p:nvPr>
            <p:ph type="title" hasCustomPrompt="1"/>
          </p:nvPr>
        </p:nvSpPr>
        <p:spPr bwMode="gray"/>
        <p:txBody>
          <a:bodyPr/>
          <a:lstStyle/>
          <a:p>
            <a:r>
              <a:rPr lang="en-US" dirty="0"/>
              <a:t>Click to add headline</a:t>
            </a:r>
          </a:p>
        </p:txBody>
      </p:sp>
      <p:sp>
        <p:nvSpPr>
          <p:cNvPr id="4" name="Textplatzhalter 2"/>
          <p:cNvSpPr>
            <a:spLocks noGrp="1"/>
          </p:cNvSpPr>
          <p:nvPr>
            <p:ph type="body" sz="quarter" idx="10" hasCustomPrompt="1"/>
          </p:nvPr>
        </p:nvSpPr>
        <p:spPr bwMode="gray">
          <a:xfrm>
            <a:off x="431214" y="1220695"/>
            <a:ext cx="11329573" cy="384053"/>
          </a:xfrm>
        </p:spPr>
        <p:txBody>
          <a:bodyPr>
            <a:noAutofit/>
          </a:bodyPr>
          <a:lstStyle>
            <a:lvl1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1pPr>
            <a:lvl2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2pPr>
            <a:lvl3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3pPr>
            <a:lvl4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4pPr>
            <a:lvl5pPr marL="0" indent="0">
              <a:lnSpc>
                <a:spcPct val="100000"/>
              </a:lnSpc>
              <a:spcBef>
                <a:spcPts val="800"/>
              </a:spcBef>
              <a:buFont typeface="Arial" panose="020B0604020202020204" pitchFamily="34" charset="0"/>
              <a:buNone/>
              <a:defRPr lang="en-GB" sz="2400" kern="1200" noProof="0" smtClean="0">
                <a:solidFill>
                  <a:schemeClr val="tx2"/>
                </a:solidFill>
                <a:latin typeface="Arial" pitchFamily="34" charset="0"/>
                <a:ea typeface="+mn-ea"/>
                <a:cs typeface="Arial" pitchFamily="34" charset="0"/>
              </a:defRPr>
            </a:lvl5pPr>
            <a:lvl6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6pPr>
            <a:lvl7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7pPr>
            <a:lvl8pPr marL="0" indent="0">
              <a:lnSpc>
                <a:spcPct val="100000"/>
              </a:lnSpc>
              <a:spcBef>
                <a:spcPts val="800"/>
              </a:spcBef>
              <a:buNone/>
              <a:defRPr lang="en-GB" sz="2400" kern="1200" noProof="0" smtClean="0">
                <a:solidFill>
                  <a:schemeClr val="tx2"/>
                </a:solidFill>
                <a:latin typeface="Arial" pitchFamily="34" charset="0"/>
                <a:ea typeface="+mn-ea"/>
                <a:cs typeface="Arial" pitchFamily="34" charset="0"/>
              </a:defRPr>
            </a:lvl8pPr>
            <a:lvl9pPr marL="0" indent="0">
              <a:lnSpc>
                <a:spcPct val="100000"/>
              </a:lnSpc>
              <a:spcBef>
                <a:spcPts val="800"/>
              </a:spcBef>
              <a:buNone/>
              <a:defRPr lang="de-DE" sz="2400" kern="1200" noProof="0" smtClean="0">
                <a:solidFill>
                  <a:schemeClr val="tx2"/>
                </a:solidFill>
                <a:latin typeface="Arial" pitchFamily="34" charset="0"/>
                <a:ea typeface="+mn-ea"/>
                <a:cs typeface="Arial" pitchFamily="34" charset="0"/>
              </a:defRPr>
            </a:lvl9pPr>
          </a:lstStyle>
          <a:p>
            <a:pPr lvl="0"/>
            <a:r>
              <a:rPr lang="en-US" dirty="0"/>
              <a:t>Click to add </a:t>
            </a:r>
            <a:r>
              <a:rPr lang="en-US" dirty="0" err="1"/>
              <a:t>subheadline</a:t>
            </a:r>
            <a:endParaRPr lang="en-US" dirty="0"/>
          </a:p>
        </p:txBody>
      </p:sp>
      <p:sp>
        <p:nvSpPr>
          <p:cNvPr id="5" name="Textplatzhalter 3"/>
          <p:cNvSpPr>
            <a:spLocks noGrp="1"/>
          </p:cNvSpPr>
          <p:nvPr>
            <p:ph type="body" sz="quarter" idx="11" hasCustomPrompt="1"/>
          </p:nvPr>
        </p:nvSpPr>
        <p:spPr bwMode="gray">
          <a:xfrm>
            <a:off x="431214" y="6404736"/>
            <a:ext cx="11328557" cy="192616"/>
          </a:xfrm>
        </p:spPr>
        <p:txBody>
          <a:bodyPr tIns="0" bIns="36000" anchor="b" anchorCtr="0">
            <a:noAutofit/>
          </a:bodyPr>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lang="de-DE" sz="1067" kern="1200" baseline="0" noProof="0" smtClean="0">
                <a:solidFill>
                  <a:schemeClr val="bg2"/>
                </a:solidFill>
                <a:latin typeface="Arial" pitchFamily="34" charset="0"/>
                <a:ea typeface="+mn-ea"/>
                <a:cs typeface="Arial" pitchFamily="34" charset="0"/>
              </a:defRPr>
            </a:lvl1pPr>
            <a:lvl2pPr marL="0" indent="0">
              <a:lnSpc>
                <a:spcPct val="100000"/>
              </a:lnSpc>
              <a:spcBef>
                <a:spcPts val="0"/>
              </a:spcBef>
              <a:buFont typeface="Arial" panose="020B0604020202020204" pitchFamily="34" charset="0"/>
              <a:buNone/>
              <a:defRPr lang="de-DE" sz="1067" kern="1200" baseline="0" noProof="0" smtClean="0">
                <a:solidFill>
                  <a:schemeClr val="bg2"/>
                </a:solidFill>
                <a:latin typeface="Arial" pitchFamily="34" charset="0"/>
                <a:ea typeface="+mn-ea"/>
                <a:cs typeface="Arial" pitchFamily="34" charset="0"/>
              </a:defRPr>
            </a:lvl2pPr>
            <a:lvl3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3pPr>
            <a:lvl4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4pPr>
            <a:lvl5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5pPr>
            <a:lvl6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6pPr>
            <a:lvl7pPr marL="0" indent="0">
              <a:lnSpc>
                <a:spcPct val="100000"/>
              </a:lnSpc>
              <a:spcBef>
                <a:spcPts val="0"/>
              </a:spcBef>
              <a:buNone/>
              <a:defRPr lang="de-DE" sz="1067" kern="1200" baseline="0" noProof="0" dirty="0" smtClean="0">
                <a:solidFill>
                  <a:schemeClr val="bg2"/>
                </a:solidFill>
                <a:latin typeface="Arial" pitchFamily="34" charset="0"/>
                <a:ea typeface="+mn-ea"/>
                <a:cs typeface="Arial" pitchFamily="34" charset="0"/>
              </a:defRPr>
            </a:lvl7pPr>
            <a:lvl8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8pPr>
            <a:lvl9pPr marL="0" indent="0">
              <a:lnSpc>
                <a:spcPct val="100000"/>
              </a:lnSpc>
              <a:spcBef>
                <a:spcPts val="0"/>
              </a:spcBef>
              <a:buNone/>
              <a:defRPr lang="de-DE" sz="1067" kern="1200" baseline="0" noProof="0" smtClean="0">
                <a:solidFill>
                  <a:schemeClr val="bg2"/>
                </a:solidFill>
                <a:latin typeface="Arial" pitchFamily="34" charset="0"/>
                <a:ea typeface="+mn-ea"/>
                <a:cs typeface="Arial" pitchFamily="34" charset="0"/>
              </a:defRPr>
            </a:lvl9pPr>
          </a:lstStyle>
          <a:p>
            <a:pPr lvl="0"/>
            <a:r>
              <a:rPr lang="en-US"/>
              <a:t>Click to add source information</a:t>
            </a:r>
            <a:endParaRPr lang="en-US" dirty="0"/>
          </a:p>
        </p:txBody>
      </p:sp>
    </p:spTree>
    <p:extLst>
      <p:ext uri="{BB962C8B-B14F-4D97-AF65-F5344CB8AC3E}">
        <p14:creationId xmlns:p14="http://schemas.microsoft.com/office/powerpoint/2010/main" val="381797731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with picture">
    <p:spTree>
      <p:nvGrpSpPr>
        <p:cNvPr id="1" name=""/>
        <p:cNvGrpSpPr/>
        <p:nvPr/>
      </p:nvGrpSpPr>
      <p:grpSpPr>
        <a:xfrm>
          <a:off x="0" y="0"/>
          <a:ext cx="0" cy="0"/>
          <a:chOff x="0" y="0"/>
          <a:chExt cx="0" cy="0"/>
        </a:xfrm>
      </p:grpSpPr>
      <p:sp>
        <p:nvSpPr>
          <p:cNvPr id="12" name="Picture Placeholder 11"/>
          <p:cNvSpPr>
            <a:spLocks noGrp="1"/>
          </p:cNvSpPr>
          <p:nvPr>
            <p:ph type="pic" sz="quarter" idx="13" hasCustomPrompt="1"/>
          </p:nvPr>
        </p:nvSpPr>
        <p:spPr>
          <a:xfrm>
            <a:off x="3376226" y="0"/>
            <a:ext cx="8815774" cy="6858000"/>
          </a:xfrm>
          <a:custGeom>
            <a:avLst/>
            <a:gdLst>
              <a:gd name="connsiteX0" fmla="*/ 331042 w 8815774"/>
              <a:gd name="connsiteY0" fmla="*/ 0 h 6858000"/>
              <a:gd name="connsiteX1" fmla="*/ 8815774 w 8815774"/>
              <a:gd name="connsiteY1" fmla="*/ 0 h 6858000"/>
              <a:gd name="connsiteX2" fmla="*/ 8815774 w 8815774"/>
              <a:gd name="connsiteY2" fmla="*/ 6858000 h 6858000"/>
              <a:gd name="connsiteX3" fmla="*/ 0 w 8815774"/>
              <a:gd name="connsiteY3" fmla="*/ 6858000 h 6858000"/>
              <a:gd name="connsiteX4" fmla="*/ 1580491 w 8815774"/>
              <a:gd name="connsiteY4" fmla="*/ 4163677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5774" h="6858000">
                <a:moveTo>
                  <a:pt x="331042" y="0"/>
                </a:moveTo>
                <a:lnTo>
                  <a:pt x="8815774" y="0"/>
                </a:lnTo>
                <a:lnTo>
                  <a:pt x="8815774" y="6858000"/>
                </a:lnTo>
                <a:lnTo>
                  <a:pt x="0" y="6858000"/>
                </a:lnTo>
                <a:lnTo>
                  <a:pt x="1580491" y="4163677"/>
                </a:lnTo>
                <a:close/>
              </a:path>
            </a:pathLst>
          </a:custGeom>
          <a:solidFill>
            <a:srgbClr val="D9DADB"/>
          </a:solidFill>
        </p:spPr>
        <p:txBody>
          <a:bodyPr wrap="square">
            <a:noAutofit/>
          </a:bodyPr>
          <a:lstStyle>
            <a:lvl1pPr marL="0" indent="0" algn="ctr">
              <a:buNone/>
              <a:defRPr/>
            </a:lvl1pPr>
          </a:lstStyle>
          <a:p>
            <a:r>
              <a:rPr lang="en-US" dirty="0"/>
              <a:t>Insert picture</a:t>
            </a:r>
          </a:p>
        </p:txBody>
      </p:sp>
      <p:grpSp>
        <p:nvGrpSpPr>
          <p:cNvPr id="14" name="logo">
            <a:extLst>
              <a:ext uri="{FF2B5EF4-FFF2-40B4-BE49-F238E27FC236}">
                <a16:creationId xmlns:a16="http://schemas.microsoft.com/office/drawing/2014/main" xmlns="" id="{18C26D95-70F8-8A4D-9F18-DCCB92522AF8}"/>
              </a:ext>
            </a:extLst>
          </p:cNvPr>
          <p:cNvGrpSpPr/>
          <p:nvPr/>
        </p:nvGrpSpPr>
        <p:grpSpPr bwMode="gray">
          <a:xfrm>
            <a:off x="417363" y="407485"/>
            <a:ext cx="1518585" cy="646507"/>
            <a:chOff x="334963" y="296652"/>
            <a:chExt cx="1268411" cy="540000"/>
          </a:xfrm>
        </p:grpSpPr>
        <p:sp>
          <p:nvSpPr>
            <p:cNvPr id="17" name="Freeform 6">
              <a:extLst>
                <a:ext uri="{FF2B5EF4-FFF2-40B4-BE49-F238E27FC236}">
                  <a16:creationId xmlns:a16="http://schemas.microsoft.com/office/drawing/2014/main" xmlns="" id="{08737AD0-E375-E445-97E6-CD2E2DF60620}"/>
                </a:ext>
              </a:extLst>
            </p:cNvPr>
            <p:cNvSpPr>
              <a:spLocks noEditPoints="1"/>
            </p:cNvSpPr>
            <p:nvPr/>
          </p:nvSpPr>
          <p:spPr bwMode="gray">
            <a:xfrm>
              <a:off x="982662" y="360462"/>
              <a:ext cx="620712" cy="431800"/>
            </a:xfrm>
            <a:custGeom>
              <a:avLst/>
              <a:gdLst>
                <a:gd name="T0" fmla="*/ 19 w 1809"/>
                <a:gd name="T1" fmla="*/ 97 h 1253"/>
                <a:gd name="T2" fmla="*/ 165 w 1809"/>
                <a:gd name="T3" fmla="*/ 41 h 1253"/>
                <a:gd name="T4" fmla="*/ 211 w 1809"/>
                <a:gd name="T5" fmla="*/ 224 h 1253"/>
                <a:gd name="T6" fmla="*/ 248 w 1809"/>
                <a:gd name="T7" fmla="*/ 155 h 1253"/>
                <a:gd name="T8" fmla="*/ 931 w 1809"/>
                <a:gd name="T9" fmla="*/ 995 h 1253"/>
                <a:gd name="T10" fmla="*/ 858 w 1809"/>
                <a:gd name="T11" fmla="*/ 1115 h 1253"/>
                <a:gd name="T12" fmla="*/ 749 w 1809"/>
                <a:gd name="T13" fmla="*/ 1117 h 1253"/>
                <a:gd name="T14" fmla="*/ 681 w 1809"/>
                <a:gd name="T15" fmla="*/ 1055 h 1253"/>
                <a:gd name="T16" fmla="*/ 800 w 1809"/>
                <a:gd name="T17" fmla="*/ 1054 h 1253"/>
                <a:gd name="T18" fmla="*/ 884 w 1809"/>
                <a:gd name="T19" fmla="*/ 1181 h 1253"/>
                <a:gd name="T20" fmla="*/ 118 w 1809"/>
                <a:gd name="T21" fmla="*/ 1086 h 1253"/>
                <a:gd name="T22" fmla="*/ 147 w 1809"/>
                <a:gd name="T23" fmla="*/ 1026 h 1253"/>
                <a:gd name="T24" fmla="*/ 102 w 1809"/>
                <a:gd name="T25" fmla="*/ 1026 h 1253"/>
                <a:gd name="T26" fmla="*/ 639 w 1809"/>
                <a:gd name="T27" fmla="*/ 84 h 1253"/>
                <a:gd name="T28" fmla="*/ 763 w 1809"/>
                <a:gd name="T29" fmla="*/ 145 h 1253"/>
                <a:gd name="T30" fmla="*/ 863 w 1809"/>
                <a:gd name="T31" fmla="*/ 221 h 1253"/>
                <a:gd name="T32" fmla="*/ 834 w 1809"/>
                <a:gd name="T33" fmla="*/ 208 h 1253"/>
                <a:gd name="T34" fmla="*/ 719 w 1809"/>
                <a:gd name="T35" fmla="*/ 182 h 1253"/>
                <a:gd name="T36" fmla="*/ 507 w 1809"/>
                <a:gd name="T37" fmla="*/ 711 h 1253"/>
                <a:gd name="T38" fmla="*/ 614 w 1809"/>
                <a:gd name="T39" fmla="*/ 706 h 1253"/>
                <a:gd name="T40" fmla="*/ 736 w 1809"/>
                <a:gd name="T41" fmla="*/ 730 h 1253"/>
                <a:gd name="T42" fmla="*/ 607 w 1809"/>
                <a:gd name="T43" fmla="*/ 539 h 1253"/>
                <a:gd name="T44" fmla="*/ 1505 w 1809"/>
                <a:gd name="T45" fmla="*/ 1136 h 1253"/>
                <a:gd name="T46" fmla="*/ 1613 w 1809"/>
                <a:gd name="T47" fmla="*/ 1002 h 1253"/>
                <a:gd name="T48" fmla="*/ 1472 w 1809"/>
                <a:gd name="T49" fmla="*/ 1164 h 1253"/>
                <a:gd name="T50" fmla="*/ 1525 w 1809"/>
                <a:gd name="T51" fmla="*/ 1142 h 1253"/>
                <a:gd name="T52" fmla="*/ 1556 w 1809"/>
                <a:gd name="T53" fmla="*/ 1172 h 1253"/>
                <a:gd name="T54" fmla="*/ 1387 w 1809"/>
                <a:gd name="T55" fmla="*/ 910 h 1253"/>
                <a:gd name="T56" fmla="*/ 1261 w 1809"/>
                <a:gd name="T57" fmla="*/ 1157 h 1253"/>
                <a:gd name="T58" fmla="*/ 1413 w 1809"/>
                <a:gd name="T59" fmla="*/ 934 h 1253"/>
                <a:gd name="T60" fmla="*/ 1378 w 1809"/>
                <a:gd name="T61" fmla="*/ 1052 h 1253"/>
                <a:gd name="T62" fmla="*/ 488 w 1809"/>
                <a:gd name="T63" fmla="*/ 85 h 1253"/>
                <a:gd name="T64" fmla="*/ 509 w 1809"/>
                <a:gd name="T65" fmla="*/ 112 h 1253"/>
                <a:gd name="T66" fmla="*/ 548 w 1809"/>
                <a:gd name="T67" fmla="*/ 1187 h 1253"/>
                <a:gd name="T68" fmla="*/ 472 w 1809"/>
                <a:gd name="T69" fmla="*/ 1122 h 1253"/>
                <a:gd name="T70" fmla="*/ 558 w 1809"/>
                <a:gd name="T71" fmla="*/ 1157 h 1253"/>
                <a:gd name="T72" fmla="*/ 287 w 1809"/>
                <a:gd name="T73" fmla="*/ 654 h 1253"/>
                <a:gd name="T74" fmla="*/ 416 w 1809"/>
                <a:gd name="T75" fmla="*/ 684 h 1253"/>
                <a:gd name="T76" fmla="*/ 1106 w 1809"/>
                <a:gd name="T77" fmla="*/ 147 h 1253"/>
                <a:gd name="T78" fmla="*/ 1229 w 1809"/>
                <a:gd name="T79" fmla="*/ 258 h 1253"/>
                <a:gd name="T80" fmla="*/ 1106 w 1809"/>
                <a:gd name="T81" fmla="*/ 96 h 1253"/>
                <a:gd name="T82" fmla="*/ 1219 w 1809"/>
                <a:gd name="T83" fmla="*/ 1077 h 1253"/>
                <a:gd name="T84" fmla="*/ 1214 w 1809"/>
                <a:gd name="T85" fmla="*/ 1157 h 1253"/>
                <a:gd name="T86" fmla="*/ 1150 w 1809"/>
                <a:gd name="T87" fmla="*/ 1092 h 1253"/>
                <a:gd name="T88" fmla="*/ 1139 w 1809"/>
                <a:gd name="T89" fmla="*/ 1070 h 1253"/>
                <a:gd name="T90" fmla="*/ 1659 w 1809"/>
                <a:gd name="T91" fmla="*/ 1031 h 1253"/>
                <a:gd name="T92" fmla="*/ 1714 w 1809"/>
                <a:gd name="T93" fmla="*/ 1155 h 1253"/>
                <a:gd name="T94" fmla="*/ 1760 w 1809"/>
                <a:gd name="T95" fmla="*/ 1030 h 1253"/>
                <a:gd name="T96" fmla="*/ 111 w 1809"/>
                <a:gd name="T97" fmla="*/ 569 h 1253"/>
                <a:gd name="T98" fmla="*/ 109 w 1809"/>
                <a:gd name="T99" fmla="*/ 460 h 1253"/>
                <a:gd name="T100" fmla="*/ 32 w 1809"/>
                <a:gd name="T101" fmla="*/ 704 h 1253"/>
                <a:gd name="T102" fmla="*/ 310 w 1809"/>
                <a:gd name="T103" fmla="*/ 1058 h 1253"/>
                <a:gd name="T104" fmla="*/ 431 w 1809"/>
                <a:gd name="T105" fmla="*/ 1044 h 1253"/>
                <a:gd name="T106" fmla="*/ 278 w 1809"/>
                <a:gd name="T107" fmla="*/ 1165 h 1253"/>
                <a:gd name="T108" fmla="*/ 261 w 1809"/>
                <a:gd name="T109" fmla="*/ 540 h 1253"/>
                <a:gd name="T110" fmla="*/ 150 w 1809"/>
                <a:gd name="T111" fmla="*/ 635 h 1253"/>
                <a:gd name="T112" fmla="*/ 994 w 1809"/>
                <a:gd name="T113" fmla="*/ 1185 h 1253"/>
                <a:gd name="T114" fmla="*/ 331 w 1809"/>
                <a:gd name="T115" fmla="*/ 176 h 1253"/>
                <a:gd name="T116" fmla="*/ 333 w 1809"/>
                <a:gd name="T117" fmla="*/ 109 h 1253"/>
                <a:gd name="T118" fmla="*/ 946 w 1809"/>
                <a:gd name="T119" fmla="*/ 234 h 1253"/>
                <a:gd name="T120" fmla="*/ 1022 w 1809"/>
                <a:gd name="T121" fmla="*/ 113 h 1253"/>
                <a:gd name="T122" fmla="*/ 949 w 1809"/>
                <a:gd name="T123" fmla="*/ 65 h 1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809" h="1253">
                  <a:moveTo>
                    <a:pt x="248" y="198"/>
                  </a:moveTo>
                  <a:cubicBezTo>
                    <a:pt x="248" y="211"/>
                    <a:pt x="248" y="224"/>
                    <a:pt x="249" y="237"/>
                  </a:cubicBezTo>
                  <a:cubicBezTo>
                    <a:pt x="249" y="245"/>
                    <a:pt x="246" y="249"/>
                    <a:pt x="240" y="253"/>
                  </a:cubicBezTo>
                  <a:cubicBezTo>
                    <a:pt x="231" y="260"/>
                    <a:pt x="220" y="264"/>
                    <a:pt x="209" y="268"/>
                  </a:cubicBezTo>
                  <a:cubicBezTo>
                    <a:pt x="179" y="279"/>
                    <a:pt x="148" y="280"/>
                    <a:pt x="118" y="275"/>
                  </a:cubicBezTo>
                  <a:cubicBezTo>
                    <a:pt x="86" y="269"/>
                    <a:pt x="58" y="252"/>
                    <a:pt x="39" y="224"/>
                  </a:cubicBezTo>
                  <a:cubicBezTo>
                    <a:pt x="24" y="203"/>
                    <a:pt x="18" y="180"/>
                    <a:pt x="15" y="155"/>
                  </a:cubicBezTo>
                  <a:cubicBezTo>
                    <a:pt x="11" y="135"/>
                    <a:pt x="15" y="115"/>
                    <a:pt x="19" y="97"/>
                  </a:cubicBezTo>
                  <a:cubicBezTo>
                    <a:pt x="26" y="68"/>
                    <a:pt x="42" y="44"/>
                    <a:pt x="68" y="27"/>
                  </a:cubicBezTo>
                  <a:cubicBezTo>
                    <a:pt x="87" y="14"/>
                    <a:pt x="109" y="6"/>
                    <a:pt x="133" y="5"/>
                  </a:cubicBezTo>
                  <a:cubicBezTo>
                    <a:pt x="149" y="4"/>
                    <a:pt x="165" y="5"/>
                    <a:pt x="181" y="6"/>
                  </a:cubicBezTo>
                  <a:cubicBezTo>
                    <a:pt x="204" y="8"/>
                    <a:pt x="225" y="20"/>
                    <a:pt x="243" y="35"/>
                  </a:cubicBezTo>
                  <a:cubicBezTo>
                    <a:pt x="246" y="37"/>
                    <a:pt x="246" y="40"/>
                    <a:pt x="244" y="43"/>
                  </a:cubicBezTo>
                  <a:cubicBezTo>
                    <a:pt x="242" y="47"/>
                    <a:pt x="239" y="52"/>
                    <a:pt x="236" y="55"/>
                  </a:cubicBezTo>
                  <a:cubicBezTo>
                    <a:pt x="226" y="65"/>
                    <a:pt x="224" y="65"/>
                    <a:pt x="206" y="54"/>
                  </a:cubicBezTo>
                  <a:cubicBezTo>
                    <a:pt x="193" y="46"/>
                    <a:pt x="180" y="40"/>
                    <a:pt x="165" y="41"/>
                  </a:cubicBezTo>
                  <a:cubicBezTo>
                    <a:pt x="151" y="41"/>
                    <a:pt x="137" y="39"/>
                    <a:pt x="124" y="42"/>
                  </a:cubicBezTo>
                  <a:cubicBezTo>
                    <a:pt x="104" y="46"/>
                    <a:pt x="87" y="57"/>
                    <a:pt x="75" y="74"/>
                  </a:cubicBezTo>
                  <a:cubicBezTo>
                    <a:pt x="56" y="99"/>
                    <a:pt x="51" y="129"/>
                    <a:pt x="55" y="159"/>
                  </a:cubicBezTo>
                  <a:cubicBezTo>
                    <a:pt x="60" y="189"/>
                    <a:pt x="73" y="214"/>
                    <a:pt x="98" y="230"/>
                  </a:cubicBezTo>
                  <a:cubicBezTo>
                    <a:pt x="109" y="237"/>
                    <a:pt x="121" y="242"/>
                    <a:pt x="135" y="241"/>
                  </a:cubicBezTo>
                  <a:cubicBezTo>
                    <a:pt x="146" y="241"/>
                    <a:pt x="158" y="241"/>
                    <a:pt x="169" y="241"/>
                  </a:cubicBezTo>
                  <a:cubicBezTo>
                    <a:pt x="182" y="242"/>
                    <a:pt x="193" y="235"/>
                    <a:pt x="205" y="232"/>
                  </a:cubicBezTo>
                  <a:cubicBezTo>
                    <a:pt x="210" y="231"/>
                    <a:pt x="211" y="227"/>
                    <a:pt x="211" y="224"/>
                  </a:cubicBezTo>
                  <a:cubicBezTo>
                    <a:pt x="211" y="210"/>
                    <a:pt x="211" y="196"/>
                    <a:pt x="211" y="183"/>
                  </a:cubicBezTo>
                  <a:cubicBezTo>
                    <a:pt x="211" y="177"/>
                    <a:pt x="207" y="175"/>
                    <a:pt x="202" y="175"/>
                  </a:cubicBezTo>
                  <a:cubicBezTo>
                    <a:pt x="193" y="175"/>
                    <a:pt x="184" y="175"/>
                    <a:pt x="175" y="175"/>
                  </a:cubicBezTo>
                  <a:cubicBezTo>
                    <a:pt x="171" y="175"/>
                    <a:pt x="168" y="174"/>
                    <a:pt x="166" y="171"/>
                  </a:cubicBezTo>
                  <a:cubicBezTo>
                    <a:pt x="163" y="163"/>
                    <a:pt x="164" y="154"/>
                    <a:pt x="166" y="146"/>
                  </a:cubicBezTo>
                  <a:cubicBezTo>
                    <a:pt x="167" y="142"/>
                    <a:pt x="171" y="142"/>
                    <a:pt x="175" y="142"/>
                  </a:cubicBezTo>
                  <a:cubicBezTo>
                    <a:pt x="196" y="142"/>
                    <a:pt x="217" y="142"/>
                    <a:pt x="238" y="142"/>
                  </a:cubicBezTo>
                  <a:cubicBezTo>
                    <a:pt x="247" y="142"/>
                    <a:pt x="248" y="148"/>
                    <a:pt x="248" y="155"/>
                  </a:cubicBezTo>
                  <a:cubicBezTo>
                    <a:pt x="249" y="169"/>
                    <a:pt x="248" y="183"/>
                    <a:pt x="248" y="198"/>
                  </a:cubicBezTo>
                  <a:close/>
                  <a:moveTo>
                    <a:pt x="884" y="1181"/>
                  </a:moveTo>
                  <a:cubicBezTo>
                    <a:pt x="889" y="1167"/>
                    <a:pt x="894" y="1152"/>
                    <a:pt x="898" y="1137"/>
                  </a:cubicBezTo>
                  <a:cubicBezTo>
                    <a:pt x="901" y="1127"/>
                    <a:pt x="905" y="1116"/>
                    <a:pt x="908" y="1106"/>
                  </a:cubicBezTo>
                  <a:cubicBezTo>
                    <a:pt x="911" y="1098"/>
                    <a:pt x="912" y="1089"/>
                    <a:pt x="916" y="1081"/>
                  </a:cubicBezTo>
                  <a:cubicBezTo>
                    <a:pt x="921" y="1072"/>
                    <a:pt x="923" y="1060"/>
                    <a:pt x="927" y="1050"/>
                  </a:cubicBezTo>
                  <a:cubicBezTo>
                    <a:pt x="932" y="1037"/>
                    <a:pt x="934" y="1023"/>
                    <a:pt x="940" y="1010"/>
                  </a:cubicBezTo>
                  <a:cubicBezTo>
                    <a:pt x="945" y="1001"/>
                    <a:pt x="941" y="995"/>
                    <a:pt x="931" y="995"/>
                  </a:cubicBezTo>
                  <a:cubicBezTo>
                    <a:pt x="927" y="995"/>
                    <a:pt x="922" y="995"/>
                    <a:pt x="918" y="995"/>
                  </a:cubicBezTo>
                  <a:cubicBezTo>
                    <a:pt x="913" y="995"/>
                    <a:pt x="908" y="997"/>
                    <a:pt x="907" y="1001"/>
                  </a:cubicBezTo>
                  <a:cubicBezTo>
                    <a:pt x="904" y="1008"/>
                    <a:pt x="900" y="1015"/>
                    <a:pt x="899" y="1023"/>
                  </a:cubicBezTo>
                  <a:cubicBezTo>
                    <a:pt x="897" y="1034"/>
                    <a:pt x="893" y="1045"/>
                    <a:pt x="889" y="1055"/>
                  </a:cubicBezTo>
                  <a:cubicBezTo>
                    <a:pt x="887" y="1064"/>
                    <a:pt x="885" y="1072"/>
                    <a:pt x="882" y="1080"/>
                  </a:cubicBezTo>
                  <a:cubicBezTo>
                    <a:pt x="878" y="1091"/>
                    <a:pt x="874" y="1103"/>
                    <a:pt x="871" y="1115"/>
                  </a:cubicBezTo>
                  <a:cubicBezTo>
                    <a:pt x="870" y="1118"/>
                    <a:pt x="871" y="1124"/>
                    <a:pt x="866" y="1124"/>
                  </a:cubicBezTo>
                  <a:cubicBezTo>
                    <a:pt x="861" y="1125"/>
                    <a:pt x="859" y="1120"/>
                    <a:pt x="858" y="1115"/>
                  </a:cubicBezTo>
                  <a:cubicBezTo>
                    <a:pt x="856" y="1110"/>
                    <a:pt x="856" y="1104"/>
                    <a:pt x="854" y="1099"/>
                  </a:cubicBezTo>
                  <a:cubicBezTo>
                    <a:pt x="848" y="1080"/>
                    <a:pt x="841" y="1062"/>
                    <a:pt x="835" y="1044"/>
                  </a:cubicBezTo>
                  <a:cubicBezTo>
                    <a:pt x="831" y="1030"/>
                    <a:pt x="828" y="1016"/>
                    <a:pt x="822" y="1003"/>
                  </a:cubicBezTo>
                  <a:cubicBezTo>
                    <a:pt x="819" y="997"/>
                    <a:pt x="814" y="994"/>
                    <a:pt x="808" y="994"/>
                  </a:cubicBezTo>
                  <a:cubicBezTo>
                    <a:pt x="799" y="993"/>
                    <a:pt x="791" y="993"/>
                    <a:pt x="787" y="1001"/>
                  </a:cubicBezTo>
                  <a:cubicBezTo>
                    <a:pt x="783" y="1008"/>
                    <a:pt x="780" y="1015"/>
                    <a:pt x="779" y="1022"/>
                  </a:cubicBezTo>
                  <a:cubicBezTo>
                    <a:pt x="778" y="1034"/>
                    <a:pt x="772" y="1044"/>
                    <a:pt x="769" y="1055"/>
                  </a:cubicBezTo>
                  <a:cubicBezTo>
                    <a:pt x="762" y="1076"/>
                    <a:pt x="754" y="1096"/>
                    <a:pt x="749" y="1117"/>
                  </a:cubicBezTo>
                  <a:cubicBezTo>
                    <a:pt x="748" y="1120"/>
                    <a:pt x="747" y="1124"/>
                    <a:pt x="742" y="1124"/>
                  </a:cubicBezTo>
                  <a:cubicBezTo>
                    <a:pt x="737" y="1124"/>
                    <a:pt x="737" y="1120"/>
                    <a:pt x="736" y="1116"/>
                  </a:cubicBezTo>
                  <a:cubicBezTo>
                    <a:pt x="734" y="1104"/>
                    <a:pt x="730" y="1092"/>
                    <a:pt x="726" y="1080"/>
                  </a:cubicBezTo>
                  <a:cubicBezTo>
                    <a:pt x="720" y="1061"/>
                    <a:pt x="714" y="1040"/>
                    <a:pt x="708" y="1020"/>
                  </a:cubicBezTo>
                  <a:cubicBezTo>
                    <a:pt x="703" y="1000"/>
                    <a:pt x="698" y="994"/>
                    <a:pt x="676" y="995"/>
                  </a:cubicBezTo>
                  <a:cubicBezTo>
                    <a:pt x="665" y="996"/>
                    <a:pt x="661" y="1001"/>
                    <a:pt x="667" y="1011"/>
                  </a:cubicBezTo>
                  <a:cubicBezTo>
                    <a:pt x="669" y="1016"/>
                    <a:pt x="670" y="1021"/>
                    <a:pt x="672" y="1025"/>
                  </a:cubicBezTo>
                  <a:cubicBezTo>
                    <a:pt x="675" y="1035"/>
                    <a:pt x="678" y="1046"/>
                    <a:pt x="681" y="1055"/>
                  </a:cubicBezTo>
                  <a:cubicBezTo>
                    <a:pt x="685" y="1068"/>
                    <a:pt x="689" y="1080"/>
                    <a:pt x="693" y="1092"/>
                  </a:cubicBezTo>
                  <a:cubicBezTo>
                    <a:pt x="697" y="1103"/>
                    <a:pt x="699" y="1113"/>
                    <a:pt x="703" y="1124"/>
                  </a:cubicBezTo>
                  <a:cubicBezTo>
                    <a:pt x="707" y="1136"/>
                    <a:pt x="711" y="1147"/>
                    <a:pt x="715" y="1160"/>
                  </a:cubicBezTo>
                  <a:cubicBezTo>
                    <a:pt x="717" y="1168"/>
                    <a:pt x="720" y="1176"/>
                    <a:pt x="724" y="1183"/>
                  </a:cubicBezTo>
                  <a:cubicBezTo>
                    <a:pt x="728" y="1189"/>
                    <a:pt x="752" y="1185"/>
                    <a:pt x="757" y="1180"/>
                  </a:cubicBezTo>
                  <a:cubicBezTo>
                    <a:pt x="764" y="1173"/>
                    <a:pt x="762" y="1163"/>
                    <a:pt x="766" y="1156"/>
                  </a:cubicBezTo>
                  <a:cubicBezTo>
                    <a:pt x="774" y="1140"/>
                    <a:pt x="778" y="1122"/>
                    <a:pt x="784" y="1105"/>
                  </a:cubicBezTo>
                  <a:cubicBezTo>
                    <a:pt x="789" y="1088"/>
                    <a:pt x="796" y="1072"/>
                    <a:pt x="800" y="1054"/>
                  </a:cubicBezTo>
                  <a:cubicBezTo>
                    <a:pt x="800" y="1053"/>
                    <a:pt x="801" y="1050"/>
                    <a:pt x="803" y="1050"/>
                  </a:cubicBezTo>
                  <a:cubicBezTo>
                    <a:pt x="806" y="1050"/>
                    <a:pt x="806" y="1052"/>
                    <a:pt x="807" y="1055"/>
                  </a:cubicBezTo>
                  <a:cubicBezTo>
                    <a:pt x="807" y="1060"/>
                    <a:pt x="810" y="1066"/>
                    <a:pt x="811" y="1071"/>
                  </a:cubicBezTo>
                  <a:cubicBezTo>
                    <a:pt x="814" y="1081"/>
                    <a:pt x="818" y="1090"/>
                    <a:pt x="821" y="1099"/>
                  </a:cubicBezTo>
                  <a:cubicBezTo>
                    <a:pt x="824" y="1110"/>
                    <a:pt x="827" y="1120"/>
                    <a:pt x="831" y="1131"/>
                  </a:cubicBezTo>
                  <a:cubicBezTo>
                    <a:pt x="834" y="1142"/>
                    <a:pt x="839" y="1153"/>
                    <a:pt x="842" y="1164"/>
                  </a:cubicBezTo>
                  <a:cubicBezTo>
                    <a:pt x="846" y="1179"/>
                    <a:pt x="850" y="1188"/>
                    <a:pt x="869" y="1185"/>
                  </a:cubicBezTo>
                  <a:cubicBezTo>
                    <a:pt x="873" y="1184"/>
                    <a:pt x="881" y="1189"/>
                    <a:pt x="884" y="1181"/>
                  </a:cubicBezTo>
                  <a:close/>
                  <a:moveTo>
                    <a:pt x="33" y="1051"/>
                  </a:moveTo>
                  <a:cubicBezTo>
                    <a:pt x="33" y="1087"/>
                    <a:pt x="33" y="1124"/>
                    <a:pt x="33" y="1160"/>
                  </a:cubicBezTo>
                  <a:cubicBezTo>
                    <a:pt x="33" y="1188"/>
                    <a:pt x="29" y="1184"/>
                    <a:pt x="58" y="1185"/>
                  </a:cubicBezTo>
                  <a:cubicBezTo>
                    <a:pt x="72" y="1185"/>
                    <a:pt x="73" y="1184"/>
                    <a:pt x="73" y="1170"/>
                  </a:cubicBezTo>
                  <a:cubicBezTo>
                    <a:pt x="73" y="1138"/>
                    <a:pt x="73" y="1107"/>
                    <a:pt x="73" y="1076"/>
                  </a:cubicBezTo>
                  <a:cubicBezTo>
                    <a:pt x="73" y="1071"/>
                    <a:pt x="72" y="1067"/>
                    <a:pt x="78" y="1065"/>
                  </a:cubicBezTo>
                  <a:cubicBezTo>
                    <a:pt x="91" y="1062"/>
                    <a:pt x="102" y="1067"/>
                    <a:pt x="110" y="1076"/>
                  </a:cubicBezTo>
                  <a:cubicBezTo>
                    <a:pt x="112" y="1080"/>
                    <a:pt x="115" y="1083"/>
                    <a:pt x="118" y="1086"/>
                  </a:cubicBezTo>
                  <a:cubicBezTo>
                    <a:pt x="132" y="1103"/>
                    <a:pt x="146" y="1119"/>
                    <a:pt x="161" y="1136"/>
                  </a:cubicBezTo>
                  <a:cubicBezTo>
                    <a:pt x="173" y="1150"/>
                    <a:pt x="186" y="1165"/>
                    <a:pt x="198" y="1179"/>
                  </a:cubicBezTo>
                  <a:cubicBezTo>
                    <a:pt x="207" y="1188"/>
                    <a:pt x="218" y="1184"/>
                    <a:pt x="228" y="1185"/>
                  </a:cubicBezTo>
                  <a:cubicBezTo>
                    <a:pt x="233" y="1185"/>
                    <a:pt x="241" y="1188"/>
                    <a:pt x="244" y="1182"/>
                  </a:cubicBezTo>
                  <a:cubicBezTo>
                    <a:pt x="246" y="1178"/>
                    <a:pt x="239" y="1173"/>
                    <a:pt x="235" y="1169"/>
                  </a:cubicBezTo>
                  <a:cubicBezTo>
                    <a:pt x="206" y="1133"/>
                    <a:pt x="176" y="1098"/>
                    <a:pt x="146" y="1062"/>
                  </a:cubicBezTo>
                  <a:cubicBezTo>
                    <a:pt x="141" y="1056"/>
                    <a:pt x="131" y="1052"/>
                    <a:pt x="132" y="1044"/>
                  </a:cubicBezTo>
                  <a:cubicBezTo>
                    <a:pt x="132" y="1036"/>
                    <a:pt x="142" y="1032"/>
                    <a:pt x="147" y="1026"/>
                  </a:cubicBezTo>
                  <a:cubicBezTo>
                    <a:pt x="164" y="1006"/>
                    <a:pt x="182" y="988"/>
                    <a:pt x="198" y="968"/>
                  </a:cubicBezTo>
                  <a:cubicBezTo>
                    <a:pt x="209" y="954"/>
                    <a:pt x="221" y="942"/>
                    <a:pt x="234" y="929"/>
                  </a:cubicBezTo>
                  <a:cubicBezTo>
                    <a:pt x="236" y="926"/>
                    <a:pt x="238" y="923"/>
                    <a:pt x="237" y="920"/>
                  </a:cubicBezTo>
                  <a:cubicBezTo>
                    <a:pt x="235" y="915"/>
                    <a:pt x="231" y="917"/>
                    <a:pt x="228" y="917"/>
                  </a:cubicBezTo>
                  <a:cubicBezTo>
                    <a:pt x="224" y="918"/>
                    <a:pt x="221" y="918"/>
                    <a:pt x="217" y="918"/>
                  </a:cubicBezTo>
                  <a:cubicBezTo>
                    <a:pt x="204" y="917"/>
                    <a:pt x="193" y="922"/>
                    <a:pt x="185" y="931"/>
                  </a:cubicBezTo>
                  <a:cubicBezTo>
                    <a:pt x="172" y="946"/>
                    <a:pt x="158" y="961"/>
                    <a:pt x="145" y="977"/>
                  </a:cubicBezTo>
                  <a:cubicBezTo>
                    <a:pt x="131" y="993"/>
                    <a:pt x="117" y="1010"/>
                    <a:pt x="102" y="1026"/>
                  </a:cubicBezTo>
                  <a:cubicBezTo>
                    <a:pt x="96" y="1032"/>
                    <a:pt x="87" y="1037"/>
                    <a:pt x="78" y="1034"/>
                  </a:cubicBezTo>
                  <a:cubicBezTo>
                    <a:pt x="70" y="1030"/>
                    <a:pt x="73" y="1021"/>
                    <a:pt x="73" y="1015"/>
                  </a:cubicBezTo>
                  <a:cubicBezTo>
                    <a:pt x="73" y="991"/>
                    <a:pt x="73" y="967"/>
                    <a:pt x="73" y="944"/>
                  </a:cubicBezTo>
                  <a:cubicBezTo>
                    <a:pt x="73" y="916"/>
                    <a:pt x="75" y="917"/>
                    <a:pt x="46" y="918"/>
                  </a:cubicBezTo>
                  <a:cubicBezTo>
                    <a:pt x="33" y="918"/>
                    <a:pt x="33" y="918"/>
                    <a:pt x="33" y="931"/>
                  </a:cubicBezTo>
                  <a:cubicBezTo>
                    <a:pt x="33" y="971"/>
                    <a:pt x="33" y="1011"/>
                    <a:pt x="33" y="1051"/>
                  </a:cubicBezTo>
                  <a:cubicBezTo>
                    <a:pt x="33" y="1051"/>
                    <a:pt x="33" y="1051"/>
                    <a:pt x="33" y="1051"/>
                  </a:cubicBezTo>
                  <a:close/>
                  <a:moveTo>
                    <a:pt x="639" y="84"/>
                  </a:moveTo>
                  <a:cubicBezTo>
                    <a:pt x="627" y="84"/>
                    <a:pt x="626" y="84"/>
                    <a:pt x="629" y="95"/>
                  </a:cubicBezTo>
                  <a:cubicBezTo>
                    <a:pt x="634" y="113"/>
                    <a:pt x="640" y="131"/>
                    <a:pt x="646" y="148"/>
                  </a:cubicBezTo>
                  <a:cubicBezTo>
                    <a:pt x="652" y="166"/>
                    <a:pt x="658" y="185"/>
                    <a:pt x="664" y="203"/>
                  </a:cubicBezTo>
                  <a:cubicBezTo>
                    <a:pt x="671" y="223"/>
                    <a:pt x="676" y="244"/>
                    <a:pt x="684" y="264"/>
                  </a:cubicBezTo>
                  <a:cubicBezTo>
                    <a:pt x="688" y="274"/>
                    <a:pt x="694" y="274"/>
                    <a:pt x="702" y="274"/>
                  </a:cubicBezTo>
                  <a:cubicBezTo>
                    <a:pt x="711" y="274"/>
                    <a:pt x="719" y="272"/>
                    <a:pt x="723" y="263"/>
                  </a:cubicBezTo>
                  <a:cubicBezTo>
                    <a:pt x="733" y="236"/>
                    <a:pt x="741" y="208"/>
                    <a:pt x="750" y="181"/>
                  </a:cubicBezTo>
                  <a:cubicBezTo>
                    <a:pt x="754" y="169"/>
                    <a:pt x="757" y="156"/>
                    <a:pt x="763" y="145"/>
                  </a:cubicBezTo>
                  <a:cubicBezTo>
                    <a:pt x="764" y="143"/>
                    <a:pt x="764" y="140"/>
                    <a:pt x="767" y="140"/>
                  </a:cubicBezTo>
                  <a:cubicBezTo>
                    <a:pt x="770" y="140"/>
                    <a:pt x="770" y="143"/>
                    <a:pt x="771" y="145"/>
                  </a:cubicBezTo>
                  <a:cubicBezTo>
                    <a:pt x="771" y="156"/>
                    <a:pt x="777" y="165"/>
                    <a:pt x="780" y="175"/>
                  </a:cubicBezTo>
                  <a:cubicBezTo>
                    <a:pt x="782" y="184"/>
                    <a:pt x="785" y="193"/>
                    <a:pt x="788" y="201"/>
                  </a:cubicBezTo>
                  <a:cubicBezTo>
                    <a:pt x="794" y="219"/>
                    <a:pt x="801" y="237"/>
                    <a:pt x="806" y="255"/>
                  </a:cubicBezTo>
                  <a:cubicBezTo>
                    <a:pt x="811" y="272"/>
                    <a:pt x="825" y="280"/>
                    <a:pt x="842" y="273"/>
                  </a:cubicBezTo>
                  <a:cubicBezTo>
                    <a:pt x="845" y="271"/>
                    <a:pt x="847" y="269"/>
                    <a:pt x="848" y="266"/>
                  </a:cubicBezTo>
                  <a:cubicBezTo>
                    <a:pt x="853" y="251"/>
                    <a:pt x="859" y="236"/>
                    <a:pt x="863" y="221"/>
                  </a:cubicBezTo>
                  <a:cubicBezTo>
                    <a:pt x="867" y="202"/>
                    <a:pt x="875" y="185"/>
                    <a:pt x="880" y="166"/>
                  </a:cubicBezTo>
                  <a:cubicBezTo>
                    <a:pt x="886" y="144"/>
                    <a:pt x="895" y="123"/>
                    <a:pt x="900" y="101"/>
                  </a:cubicBezTo>
                  <a:cubicBezTo>
                    <a:pt x="901" y="96"/>
                    <a:pt x="909" y="91"/>
                    <a:pt x="904" y="86"/>
                  </a:cubicBezTo>
                  <a:cubicBezTo>
                    <a:pt x="900" y="81"/>
                    <a:pt x="892" y="84"/>
                    <a:pt x="886" y="84"/>
                  </a:cubicBezTo>
                  <a:cubicBezTo>
                    <a:pt x="885" y="84"/>
                    <a:pt x="883" y="84"/>
                    <a:pt x="881" y="84"/>
                  </a:cubicBezTo>
                  <a:cubicBezTo>
                    <a:pt x="875" y="84"/>
                    <a:pt x="872" y="86"/>
                    <a:pt x="869" y="91"/>
                  </a:cubicBezTo>
                  <a:cubicBezTo>
                    <a:pt x="860" y="110"/>
                    <a:pt x="856" y="131"/>
                    <a:pt x="850" y="151"/>
                  </a:cubicBezTo>
                  <a:cubicBezTo>
                    <a:pt x="844" y="170"/>
                    <a:pt x="836" y="188"/>
                    <a:pt x="834" y="208"/>
                  </a:cubicBezTo>
                  <a:cubicBezTo>
                    <a:pt x="833" y="211"/>
                    <a:pt x="831" y="214"/>
                    <a:pt x="827" y="214"/>
                  </a:cubicBezTo>
                  <a:cubicBezTo>
                    <a:pt x="823" y="214"/>
                    <a:pt x="822" y="210"/>
                    <a:pt x="822" y="207"/>
                  </a:cubicBezTo>
                  <a:cubicBezTo>
                    <a:pt x="817" y="188"/>
                    <a:pt x="811" y="170"/>
                    <a:pt x="805" y="152"/>
                  </a:cubicBezTo>
                  <a:cubicBezTo>
                    <a:pt x="799" y="133"/>
                    <a:pt x="794" y="114"/>
                    <a:pt x="786" y="96"/>
                  </a:cubicBezTo>
                  <a:cubicBezTo>
                    <a:pt x="783" y="87"/>
                    <a:pt x="779" y="84"/>
                    <a:pt x="770" y="84"/>
                  </a:cubicBezTo>
                  <a:cubicBezTo>
                    <a:pt x="761" y="84"/>
                    <a:pt x="752" y="82"/>
                    <a:pt x="748" y="94"/>
                  </a:cubicBezTo>
                  <a:cubicBezTo>
                    <a:pt x="744" y="109"/>
                    <a:pt x="738" y="123"/>
                    <a:pt x="734" y="138"/>
                  </a:cubicBezTo>
                  <a:cubicBezTo>
                    <a:pt x="729" y="153"/>
                    <a:pt x="724" y="167"/>
                    <a:pt x="719" y="182"/>
                  </a:cubicBezTo>
                  <a:cubicBezTo>
                    <a:pt x="716" y="192"/>
                    <a:pt x="715" y="203"/>
                    <a:pt x="708" y="212"/>
                  </a:cubicBezTo>
                  <a:cubicBezTo>
                    <a:pt x="707" y="214"/>
                    <a:pt x="707" y="217"/>
                    <a:pt x="704" y="217"/>
                  </a:cubicBezTo>
                  <a:cubicBezTo>
                    <a:pt x="701" y="217"/>
                    <a:pt x="701" y="213"/>
                    <a:pt x="700" y="211"/>
                  </a:cubicBezTo>
                  <a:cubicBezTo>
                    <a:pt x="699" y="198"/>
                    <a:pt x="694" y="186"/>
                    <a:pt x="690" y="174"/>
                  </a:cubicBezTo>
                  <a:cubicBezTo>
                    <a:pt x="684" y="153"/>
                    <a:pt x="677" y="131"/>
                    <a:pt x="672" y="110"/>
                  </a:cubicBezTo>
                  <a:cubicBezTo>
                    <a:pt x="667" y="88"/>
                    <a:pt x="663" y="84"/>
                    <a:pt x="645" y="84"/>
                  </a:cubicBezTo>
                  <a:cubicBezTo>
                    <a:pt x="643" y="84"/>
                    <a:pt x="641" y="84"/>
                    <a:pt x="639" y="84"/>
                  </a:cubicBezTo>
                  <a:close/>
                  <a:moveTo>
                    <a:pt x="507" y="711"/>
                  </a:moveTo>
                  <a:cubicBezTo>
                    <a:pt x="507" y="730"/>
                    <a:pt x="507" y="730"/>
                    <a:pt x="526" y="730"/>
                  </a:cubicBezTo>
                  <a:cubicBezTo>
                    <a:pt x="539" y="730"/>
                    <a:pt x="541" y="729"/>
                    <a:pt x="541" y="715"/>
                  </a:cubicBezTo>
                  <a:cubicBezTo>
                    <a:pt x="541" y="677"/>
                    <a:pt x="541" y="638"/>
                    <a:pt x="540" y="600"/>
                  </a:cubicBezTo>
                  <a:cubicBezTo>
                    <a:pt x="540" y="593"/>
                    <a:pt x="543" y="587"/>
                    <a:pt x="548" y="582"/>
                  </a:cubicBezTo>
                  <a:cubicBezTo>
                    <a:pt x="553" y="576"/>
                    <a:pt x="559" y="573"/>
                    <a:pt x="564" y="569"/>
                  </a:cubicBezTo>
                  <a:cubicBezTo>
                    <a:pt x="574" y="564"/>
                    <a:pt x="594" y="566"/>
                    <a:pt x="602" y="574"/>
                  </a:cubicBezTo>
                  <a:cubicBezTo>
                    <a:pt x="611" y="582"/>
                    <a:pt x="614" y="592"/>
                    <a:pt x="614" y="604"/>
                  </a:cubicBezTo>
                  <a:cubicBezTo>
                    <a:pt x="614" y="638"/>
                    <a:pt x="614" y="672"/>
                    <a:pt x="614" y="706"/>
                  </a:cubicBezTo>
                  <a:cubicBezTo>
                    <a:pt x="614" y="730"/>
                    <a:pt x="614" y="730"/>
                    <a:pt x="638" y="730"/>
                  </a:cubicBezTo>
                  <a:cubicBezTo>
                    <a:pt x="650" y="730"/>
                    <a:pt x="650" y="730"/>
                    <a:pt x="650" y="717"/>
                  </a:cubicBezTo>
                  <a:cubicBezTo>
                    <a:pt x="650" y="684"/>
                    <a:pt x="650" y="650"/>
                    <a:pt x="650" y="617"/>
                  </a:cubicBezTo>
                  <a:cubicBezTo>
                    <a:pt x="650" y="606"/>
                    <a:pt x="651" y="597"/>
                    <a:pt x="657" y="586"/>
                  </a:cubicBezTo>
                  <a:cubicBezTo>
                    <a:pt x="667" y="565"/>
                    <a:pt x="703" y="560"/>
                    <a:pt x="716" y="579"/>
                  </a:cubicBezTo>
                  <a:cubicBezTo>
                    <a:pt x="723" y="588"/>
                    <a:pt x="724" y="598"/>
                    <a:pt x="724" y="609"/>
                  </a:cubicBezTo>
                  <a:cubicBezTo>
                    <a:pt x="724" y="645"/>
                    <a:pt x="724" y="682"/>
                    <a:pt x="724" y="718"/>
                  </a:cubicBezTo>
                  <a:cubicBezTo>
                    <a:pt x="724" y="727"/>
                    <a:pt x="727" y="731"/>
                    <a:pt x="736" y="730"/>
                  </a:cubicBezTo>
                  <a:cubicBezTo>
                    <a:pt x="738" y="730"/>
                    <a:pt x="741" y="730"/>
                    <a:pt x="743" y="730"/>
                  </a:cubicBezTo>
                  <a:cubicBezTo>
                    <a:pt x="758" y="730"/>
                    <a:pt x="759" y="729"/>
                    <a:pt x="759" y="715"/>
                  </a:cubicBezTo>
                  <a:cubicBezTo>
                    <a:pt x="759" y="677"/>
                    <a:pt x="758" y="639"/>
                    <a:pt x="759" y="601"/>
                  </a:cubicBezTo>
                  <a:cubicBezTo>
                    <a:pt x="759" y="571"/>
                    <a:pt x="742" y="540"/>
                    <a:pt x="704" y="538"/>
                  </a:cubicBezTo>
                  <a:cubicBezTo>
                    <a:pt x="681" y="536"/>
                    <a:pt x="661" y="542"/>
                    <a:pt x="646" y="560"/>
                  </a:cubicBezTo>
                  <a:cubicBezTo>
                    <a:pt x="638" y="569"/>
                    <a:pt x="638" y="569"/>
                    <a:pt x="631" y="559"/>
                  </a:cubicBezTo>
                  <a:cubicBezTo>
                    <a:pt x="630" y="558"/>
                    <a:pt x="630" y="557"/>
                    <a:pt x="629" y="556"/>
                  </a:cubicBezTo>
                  <a:cubicBezTo>
                    <a:pt x="623" y="548"/>
                    <a:pt x="616" y="541"/>
                    <a:pt x="607" y="539"/>
                  </a:cubicBezTo>
                  <a:cubicBezTo>
                    <a:pt x="584" y="534"/>
                    <a:pt x="563" y="539"/>
                    <a:pt x="545" y="555"/>
                  </a:cubicBezTo>
                  <a:cubicBezTo>
                    <a:pt x="540" y="559"/>
                    <a:pt x="537" y="561"/>
                    <a:pt x="537" y="552"/>
                  </a:cubicBezTo>
                  <a:cubicBezTo>
                    <a:pt x="536" y="543"/>
                    <a:pt x="526" y="538"/>
                    <a:pt x="515" y="539"/>
                  </a:cubicBezTo>
                  <a:cubicBezTo>
                    <a:pt x="506" y="540"/>
                    <a:pt x="507" y="546"/>
                    <a:pt x="507" y="552"/>
                  </a:cubicBezTo>
                  <a:cubicBezTo>
                    <a:pt x="507" y="580"/>
                    <a:pt x="507" y="607"/>
                    <a:pt x="507" y="634"/>
                  </a:cubicBezTo>
                  <a:cubicBezTo>
                    <a:pt x="507" y="660"/>
                    <a:pt x="507" y="685"/>
                    <a:pt x="507" y="711"/>
                  </a:cubicBezTo>
                  <a:close/>
                  <a:moveTo>
                    <a:pt x="1525" y="1142"/>
                  </a:moveTo>
                  <a:cubicBezTo>
                    <a:pt x="1517" y="1143"/>
                    <a:pt x="1511" y="1141"/>
                    <a:pt x="1505" y="1136"/>
                  </a:cubicBezTo>
                  <a:cubicBezTo>
                    <a:pt x="1501" y="1133"/>
                    <a:pt x="1495" y="1130"/>
                    <a:pt x="1498" y="1124"/>
                  </a:cubicBezTo>
                  <a:cubicBezTo>
                    <a:pt x="1500" y="1118"/>
                    <a:pt x="1504" y="1114"/>
                    <a:pt x="1512" y="1114"/>
                  </a:cubicBezTo>
                  <a:cubicBezTo>
                    <a:pt x="1521" y="1115"/>
                    <a:pt x="1530" y="1114"/>
                    <a:pt x="1538" y="1115"/>
                  </a:cubicBezTo>
                  <a:cubicBezTo>
                    <a:pt x="1573" y="1117"/>
                    <a:pt x="1610" y="1084"/>
                    <a:pt x="1602" y="1044"/>
                  </a:cubicBezTo>
                  <a:cubicBezTo>
                    <a:pt x="1600" y="1035"/>
                    <a:pt x="1599" y="1028"/>
                    <a:pt x="1611" y="1027"/>
                  </a:cubicBezTo>
                  <a:cubicBezTo>
                    <a:pt x="1614" y="1027"/>
                    <a:pt x="1617" y="1024"/>
                    <a:pt x="1619" y="1023"/>
                  </a:cubicBezTo>
                  <a:cubicBezTo>
                    <a:pt x="1626" y="1019"/>
                    <a:pt x="1624" y="1013"/>
                    <a:pt x="1623" y="1008"/>
                  </a:cubicBezTo>
                  <a:cubicBezTo>
                    <a:pt x="1623" y="1002"/>
                    <a:pt x="1618" y="1003"/>
                    <a:pt x="1613" y="1002"/>
                  </a:cubicBezTo>
                  <a:cubicBezTo>
                    <a:pt x="1598" y="1002"/>
                    <a:pt x="1582" y="1004"/>
                    <a:pt x="1567" y="1000"/>
                  </a:cubicBezTo>
                  <a:cubicBezTo>
                    <a:pt x="1560" y="999"/>
                    <a:pt x="1554" y="993"/>
                    <a:pt x="1546" y="993"/>
                  </a:cubicBezTo>
                  <a:cubicBezTo>
                    <a:pt x="1536" y="994"/>
                    <a:pt x="1525" y="992"/>
                    <a:pt x="1515" y="993"/>
                  </a:cubicBezTo>
                  <a:cubicBezTo>
                    <a:pt x="1490" y="997"/>
                    <a:pt x="1469" y="1010"/>
                    <a:pt x="1462" y="1034"/>
                  </a:cubicBezTo>
                  <a:cubicBezTo>
                    <a:pt x="1455" y="1056"/>
                    <a:pt x="1457" y="1079"/>
                    <a:pt x="1476" y="1096"/>
                  </a:cubicBezTo>
                  <a:cubicBezTo>
                    <a:pt x="1483" y="1103"/>
                    <a:pt x="1483" y="1107"/>
                    <a:pt x="1476" y="1113"/>
                  </a:cubicBezTo>
                  <a:cubicBezTo>
                    <a:pt x="1462" y="1126"/>
                    <a:pt x="1462" y="1142"/>
                    <a:pt x="1473" y="1157"/>
                  </a:cubicBezTo>
                  <a:cubicBezTo>
                    <a:pt x="1476" y="1160"/>
                    <a:pt x="1476" y="1162"/>
                    <a:pt x="1472" y="1164"/>
                  </a:cubicBezTo>
                  <a:cubicBezTo>
                    <a:pt x="1470" y="1166"/>
                    <a:pt x="1468" y="1168"/>
                    <a:pt x="1466" y="1170"/>
                  </a:cubicBezTo>
                  <a:cubicBezTo>
                    <a:pt x="1449" y="1183"/>
                    <a:pt x="1444" y="1201"/>
                    <a:pt x="1454" y="1218"/>
                  </a:cubicBezTo>
                  <a:cubicBezTo>
                    <a:pt x="1464" y="1235"/>
                    <a:pt x="1479" y="1246"/>
                    <a:pt x="1499" y="1249"/>
                  </a:cubicBezTo>
                  <a:cubicBezTo>
                    <a:pt x="1517" y="1252"/>
                    <a:pt x="1535" y="1253"/>
                    <a:pt x="1553" y="1250"/>
                  </a:cubicBezTo>
                  <a:cubicBezTo>
                    <a:pt x="1584" y="1245"/>
                    <a:pt x="1607" y="1232"/>
                    <a:pt x="1619" y="1200"/>
                  </a:cubicBezTo>
                  <a:cubicBezTo>
                    <a:pt x="1627" y="1180"/>
                    <a:pt x="1611" y="1155"/>
                    <a:pt x="1593" y="1148"/>
                  </a:cubicBezTo>
                  <a:cubicBezTo>
                    <a:pt x="1578" y="1142"/>
                    <a:pt x="1563" y="1143"/>
                    <a:pt x="1549" y="1142"/>
                  </a:cubicBezTo>
                  <a:cubicBezTo>
                    <a:pt x="1540" y="1142"/>
                    <a:pt x="1532" y="1142"/>
                    <a:pt x="1525" y="1142"/>
                  </a:cubicBezTo>
                  <a:close/>
                  <a:moveTo>
                    <a:pt x="1556" y="1172"/>
                  </a:moveTo>
                  <a:cubicBezTo>
                    <a:pt x="1566" y="1172"/>
                    <a:pt x="1576" y="1176"/>
                    <a:pt x="1583" y="1183"/>
                  </a:cubicBezTo>
                  <a:cubicBezTo>
                    <a:pt x="1589" y="1190"/>
                    <a:pt x="1589" y="1198"/>
                    <a:pt x="1583" y="1205"/>
                  </a:cubicBezTo>
                  <a:cubicBezTo>
                    <a:pt x="1575" y="1215"/>
                    <a:pt x="1565" y="1220"/>
                    <a:pt x="1553" y="1223"/>
                  </a:cubicBezTo>
                  <a:cubicBezTo>
                    <a:pt x="1534" y="1228"/>
                    <a:pt x="1516" y="1225"/>
                    <a:pt x="1499" y="1219"/>
                  </a:cubicBezTo>
                  <a:cubicBezTo>
                    <a:pt x="1486" y="1214"/>
                    <a:pt x="1479" y="1203"/>
                    <a:pt x="1482" y="1193"/>
                  </a:cubicBezTo>
                  <a:cubicBezTo>
                    <a:pt x="1485" y="1182"/>
                    <a:pt x="1496" y="1168"/>
                    <a:pt x="1514" y="1171"/>
                  </a:cubicBezTo>
                  <a:cubicBezTo>
                    <a:pt x="1526" y="1173"/>
                    <a:pt x="1541" y="1171"/>
                    <a:pt x="1556" y="1172"/>
                  </a:cubicBezTo>
                  <a:close/>
                  <a:moveTo>
                    <a:pt x="1531" y="1019"/>
                  </a:moveTo>
                  <a:cubicBezTo>
                    <a:pt x="1553" y="1017"/>
                    <a:pt x="1570" y="1033"/>
                    <a:pt x="1570" y="1052"/>
                  </a:cubicBezTo>
                  <a:cubicBezTo>
                    <a:pt x="1570" y="1075"/>
                    <a:pt x="1554" y="1093"/>
                    <a:pt x="1532" y="1091"/>
                  </a:cubicBezTo>
                  <a:cubicBezTo>
                    <a:pt x="1508" y="1089"/>
                    <a:pt x="1494" y="1082"/>
                    <a:pt x="1493" y="1053"/>
                  </a:cubicBezTo>
                  <a:cubicBezTo>
                    <a:pt x="1494" y="1029"/>
                    <a:pt x="1508" y="1020"/>
                    <a:pt x="1531" y="1019"/>
                  </a:cubicBezTo>
                  <a:close/>
                  <a:moveTo>
                    <a:pt x="1413" y="934"/>
                  </a:moveTo>
                  <a:cubicBezTo>
                    <a:pt x="1413" y="909"/>
                    <a:pt x="1413" y="909"/>
                    <a:pt x="1389" y="910"/>
                  </a:cubicBezTo>
                  <a:cubicBezTo>
                    <a:pt x="1388" y="910"/>
                    <a:pt x="1387" y="910"/>
                    <a:pt x="1387" y="910"/>
                  </a:cubicBezTo>
                  <a:cubicBezTo>
                    <a:pt x="1379" y="910"/>
                    <a:pt x="1376" y="915"/>
                    <a:pt x="1376" y="921"/>
                  </a:cubicBezTo>
                  <a:cubicBezTo>
                    <a:pt x="1376" y="939"/>
                    <a:pt x="1377" y="956"/>
                    <a:pt x="1377" y="974"/>
                  </a:cubicBezTo>
                  <a:cubicBezTo>
                    <a:pt x="1377" y="983"/>
                    <a:pt x="1377" y="991"/>
                    <a:pt x="1377" y="1000"/>
                  </a:cubicBezTo>
                  <a:cubicBezTo>
                    <a:pt x="1377" y="1005"/>
                    <a:pt x="1374" y="1009"/>
                    <a:pt x="1369" y="1005"/>
                  </a:cubicBezTo>
                  <a:cubicBezTo>
                    <a:pt x="1352" y="990"/>
                    <a:pt x="1332" y="993"/>
                    <a:pt x="1312" y="993"/>
                  </a:cubicBezTo>
                  <a:cubicBezTo>
                    <a:pt x="1303" y="994"/>
                    <a:pt x="1294" y="998"/>
                    <a:pt x="1287" y="1003"/>
                  </a:cubicBezTo>
                  <a:cubicBezTo>
                    <a:pt x="1265" y="1017"/>
                    <a:pt x="1252" y="1039"/>
                    <a:pt x="1248" y="1065"/>
                  </a:cubicBezTo>
                  <a:cubicBezTo>
                    <a:pt x="1244" y="1096"/>
                    <a:pt x="1244" y="1128"/>
                    <a:pt x="1261" y="1157"/>
                  </a:cubicBezTo>
                  <a:cubicBezTo>
                    <a:pt x="1270" y="1170"/>
                    <a:pt x="1281" y="1181"/>
                    <a:pt x="1296" y="1185"/>
                  </a:cubicBezTo>
                  <a:cubicBezTo>
                    <a:pt x="1323" y="1191"/>
                    <a:pt x="1349" y="1188"/>
                    <a:pt x="1370" y="1167"/>
                  </a:cubicBezTo>
                  <a:cubicBezTo>
                    <a:pt x="1372" y="1165"/>
                    <a:pt x="1375" y="1162"/>
                    <a:pt x="1379" y="1163"/>
                  </a:cubicBezTo>
                  <a:cubicBezTo>
                    <a:pt x="1382" y="1165"/>
                    <a:pt x="1381" y="1169"/>
                    <a:pt x="1381" y="1172"/>
                  </a:cubicBezTo>
                  <a:cubicBezTo>
                    <a:pt x="1383" y="1181"/>
                    <a:pt x="1390" y="1186"/>
                    <a:pt x="1403" y="1186"/>
                  </a:cubicBezTo>
                  <a:cubicBezTo>
                    <a:pt x="1413" y="1185"/>
                    <a:pt x="1413" y="1178"/>
                    <a:pt x="1413" y="1172"/>
                  </a:cubicBezTo>
                  <a:cubicBezTo>
                    <a:pt x="1413" y="1131"/>
                    <a:pt x="1413" y="1090"/>
                    <a:pt x="1413" y="1049"/>
                  </a:cubicBezTo>
                  <a:cubicBezTo>
                    <a:pt x="1413" y="1010"/>
                    <a:pt x="1413" y="972"/>
                    <a:pt x="1413" y="934"/>
                  </a:cubicBezTo>
                  <a:close/>
                  <a:moveTo>
                    <a:pt x="1378" y="1113"/>
                  </a:moveTo>
                  <a:cubicBezTo>
                    <a:pt x="1378" y="1136"/>
                    <a:pt x="1360" y="1155"/>
                    <a:pt x="1337" y="1157"/>
                  </a:cubicBezTo>
                  <a:cubicBezTo>
                    <a:pt x="1319" y="1159"/>
                    <a:pt x="1304" y="1154"/>
                    <a:pt x="1294" y="1139"/>
                  </a:cubicBezTo>
                  <a:cubicBezTo>
                    <a:pt x="1286" y="1128"/>
                    <a:pt x="1283" y="1116"/>
                    <a:pt x="1283" y="1102"/>
                  </a:cubicBezTo>
                  <a:cubicBezTo>
                    <a:pt x="1282" y="1085"/>
                    <a:pt x="1282" y="1067"/>
                    <a:pt x="1290" y="1051"/>
                  </a:cubicBezTo>
                  <a:cubicBezTo>
                    <a:pt x="1297" y="1036"/>
                    <a:pt x="1308" y="1024"/>
                    <a:pt x="1325" y="1022"/>
                  </a:cubicBezTo>
                  <a:cubicBezTo>
                    <a:pt x="1342" y="1020"/>
                    <a:pt x="1358" y="1021"/>
                    <a:pt x="1371" y="1035"/>
                  </a:cubicBezTo>
                  <a:cubicBezTo>
                    <a:pt x="1376" y="1041"/>
                    <a:pt x="1378" y="1046"/>
                    <a:pt x="1378" y="1052"/>
                  </a:cubicBezTo>
                  <a:cubicBezTo>
                    <a:pt x="1378" y="1064"/>
                    <a:pt x="1378" y="1075"/>
                    <a:pt x="1378" y="1086"/>
                  </a:cubicBezTo>
                  <a:cubicBezTo>
                    <a:pt x="1378" y="1086"/>
                    <a:pt x="1378" y="1086"/>
                    <a:pt x="1378" y="1086"/>
                  </a:cubicBezTo>
                  <a:cubicBezTo>
                    <a:pt x="1378" y="1095"/>
                    <a:pt x="1378" y="1104"/>
                    <a:pt x="1378" y="1113"/>
                  </a:cubicBezTo>
                  <a:close/>
                  <a:moveTo>
                    <a:pt x="578" y="259"/>
                  </a:moveTo>
                  <a:cubicBezTo>
                    <a:pt x="603" y="241"/>
                    <a:pt x="611" y="213"/>
                    <a:pt x="614" y="183"/>
                  </a:cubicBezTo>
                  <a:cubicBezTo>
                    <a:pt x="615" y="171"/>
                    <a:pt x="610" y="159"/>
                    <a:pt x="609" y="147"/>
                  </a:cubicBezTo>
                  <a:cubicBezTo>
                    <a:pt x="608" y="137"/>
                    <a:pt x="603" y="129"/>
                    <a:pt x="599" y="121"/>
                  </a:cubicBezTo>
                  <a:cubicBezTo>
                    <a:pt x="579" y="87"/>
                    <a:pt x="527" y="70"/>
                    <a:pt x="488" y="85"/>
                  </a:cubicBezTo>
                  <a:cubicBezTo>
                    <a:pt x="453" y="99"/>
                    <a:pt x="436" y="127"/>
                    <a:pt x="431" y="163"/>
                  </a:cubicBezTo>
                  <a:cubicBezTo>
                    <a:pt x="429" y="180"/>
                    <a:pt x="430" y="196"/>
                    <a:pt x="436" y="213"/>
                  </a:cubicBezTo>
                  <a:cubicBezTo>
                    <a:pt x="439" y="222"/>
                    <a:pt x="442" y="232"/>
                    <a:pt x="447" y="239"/>
                  </a:cubicBezTo>
                  <a:cubicBezTo>
                    <a:pt x="465" y="265"/>
                    <a:pt x="491" y="277"/>
                    <a:pt x="525" y="276"/>
                  </a:cubicBezTo>
                  <a:cubicBezTo>
                    <a:pt x="543" y="278"/>
                    <a:pt x="562" y="271"/>
                    <a:pt x="578" y="259"/>
                  </a:cubicBezTo>
                  <a:close/>
                  <a:moveTo>
                    <a:pt x="471" y="205"/>
                  </a:moveTo>
                  <a:cubicBezTo>
                    <a:pt x="466" y="185"/>
                    <a:pt x="468" y="167"/>
                    <a:pt x="472" y="147"/>
                  </a:cubicBezTo>
                  <a:cubicBezTo>
                    <a:pt x="477" y="130"/>
                    <a:pt x="493" y="116"/>
                    <a:pt x="509" y="112"/>
                  </a:cubicBezTo>
                  <a:cubicBezTo>
                    <a:pt x="525" y="108"/>
                    <a:pt x="539" y="110"/>
                    <a:pt x="553" y="119"/>
                  </a:cubicBezTo>
                  <a:cubicBezTo>
                    <a:pt x="563" y="125"/>
                    <a:pt x="568" y="135"/>
                    <a:pt x="571" y="146"/>
                  </a:cubicBezTo>
                  <a:cubicBezTo>
                    <a:pt x="577" y="167"/>
                    <a:pt x="578" y="189"/>
                    <a:pt x="571" y="211"/>
                  </a:cubicBezTo>
                  <a:cubicBezTo>
                    <a:pt x="565" y="231"/>
                    <a:pt x="549" y="249"/>
                    <a:pt x="521" y="247"/>
                  </a:cubicBezTo>
                  <a:cubicBezTo>
                    <a:pt x="496" y="247"/>
                    <a:pt x="478" y="230"/>
                    <a:pt x="471" y="205"/>
                  </a:cubicBezTo>
                  <a:close/>
                  <a:moveTo>
                    <a:pt x="472" y="1122"/>
                  </a:moveTo>
                  <a:cubicBezTo>
                    <a:pt x="475" y="1136"/>
                    <a:pt x="481" y="1148"/>
                    <a:pt x="491" y="1158"/>
                  </a:cubicBezTo>
                  <a:cubicBezTo>
                    <a:pt x="506" y="1176"/>
                    <a:pt x="524" y="1185"/>
                    <a:pt x="548" y="1187"/>
                  </a:cubicBezTo>
                  <a:cubicBezTo>
                    <a:pt x="568" y="1188"/>
                    <a:pt x="587" y="1187"/>
                    <a:pt x="605" y="1177"/>
                  </a:cubicBezTo>
                  <a:cubicBezTo>
                    <a:pt x="632" y="1162"/>
                    <a:pt x="644" y="1136"/>
                    <a:pt x="649" y="1107"/>
                  </a:cubicBezTo>
                  <a:cubicBezTo>
                    <a:pt x="652" y="1089"/>
                    <a:pt x="649" y="1072"/>
                    <a:pt x="644" y="1054"/>
                  </a:cubicBezTo>
                  <a:cubicBezTo>
                    <a:pt x="638" y="1034"/>
                    <a:pt x="627" y="1019"/>
                    <a:pt x="610" y="1007"/>
                  </a:cubicBezTo>
                  <a:cubicBezTo>
                    <a:pt x="589" y="992"/>
                    <a:pt x="566" y="991"/>
                    <a:pt x="541" y="994"/>
                  </a:cubicBezTo>
                  <a:cubicBezTo>
                    <a:pt x="526" y="995"/>
                    <a:pt x="512" y="1002"/>
                    <a:pt x="500" y="1012"/>
                  </a:cubicBezTo>
                  <a:cubicBezTo>
                    <a:pt x="476" y="1032"/>
                    <a:pt x="469" y="1060"/>
                    <a:pt x="466" y="1095"/>
                  </a:cubicBezTo>
                  <a:cubicBezTo>
                    <a:pt x="465" y="1101"/>
                    <a:pt x="470" y="1111"/>
                    <a:pt x="472" y="1122"/>
                  </a:cubicBezTo>
                  <a:close/>
                  <a:moveTo>
                    <a:pt x="508" y="1113"/>
                  </a:moveTo>
                  <a:cubicBezTo>
                    <a:pt x="505" y="1095"/>
                    <a:pt x="506" y="1078"/>
                    <a:pt x="508" y="1061"/>
                  </a:cubicBezTo>
                  <a:cubicBezTo>
                    <a:pt x="511" y="1042"/>
                    <a:pt x="538" y="1021"/>
                    <a:pt x="554" y="1022"/>
                  </a:cubicBezTo>
                  <a:cubicBezTo>
                    <a:pt x="570" y="1022"/>
                    <a:pt x="586" y="1024"/>
                    <a:pt x="596" y="1037"/>
                  </a:cubicBezTo>
                  <a:cubicBezTo>
                    <a:pt x="602" y="1044"/>
                    <a:pt x="607" y="1052"/>
                    <a:pt x="608" y="1061"/>
                  </a:cubicBezTo>
                  <a:cubicBezTo>
                    <a:pt x="608" y="1064"/>
                    <a:pt x="609" y="1067"/>
                    <a:pt x="610" y="1070"/>
                  </a:cubicBezTo>
                  <a:cubicBezTo>
                    <a:pt x="618" y="1089"/>
                    <a:pt x="612" y="1107"/>
                    <a:pt x="607" y="1125"/>
                  </a:cubicBezTo>
                  <a:cubicBezTo>
                    <a:pt x="601" y="1143"/>
                    <a:pt x="588" y="1160"/>
                    <a:pt x="558" y="1157"/>
                  </a:cubicBezTo>
                  <a:cubicBezTo>
                    <a:pt x="530" y="1157"/>
                    <a:pt x="512" y="1141"/>
                    <a:pt x="508" y="1113"/>
                  </a:cubicBezTo>
                  <a:close/>
                  <a:moveTo>
                    <a:pt x="430" y="716"/>
                  </a:moveTo>
                  <a:cubicBezTo>
                    <a:pt x="450" y="703"/>
                    <a:pt x="459" y="683"/>
                    <a:pt x="464" y="661"/>
                  </a:cubicBezTo>
                  <a:cubicBezTo>
                    <a:pt x="468" y="648"/>
                    <a:pt x="467" y="635"/>
                    <a:pt x="466" y="621"/>
                  </a:cubicBezTo>
                  <a:cubicBezTo>
                    <a:pt x="463" y="592"/>
                    <a:pt x="453" y="567"/>
                    <a:pt x="427" y="550"/>
                  </a:cubicBezTo>
                  <a:cubicBezTo>
                    <a:pt x="401" y="534"/>
                    <a:pt x="372" y="532"/>
                    <a:pt x="345" y="541"/>
                  </a:cubicBezTo>
                  <a:cubicBezTo>
                    <a:pt x="310" y="552"/>
                    <a:pt x="291" y="580"/>
                    <a:pt x="287" y="617"/>
                  </a:cubicBezTo>
                  <a:cubicBezTo>
                    <a:pt x="286" y="629"/>
                    <a:pt x="286" y="641"/>
                    <a:pt x="287" y="654"/>
                  </a:cubicBezTo>
                  <a:cubicBezTo>
                    <a:pt x="289" y="671"/>
                    <a:pt x="295" y="686"/>
                    <a:pt x="306" y="700"/>
                  </a:cubicBezTo>
                  <a:cubicBezTo>
                    <a:pt x="324" y="722"/>
                    <a:pt x="348" y="733"/>
                    <a:pt x="378" y="731"/>
                  </a:cubicBezTo>
                  <a:cubicBezTo>
                    <a:pt x="396" y="733"/>
                    <a:pt x="414" y="727"/>
                    <a:pt x="430" y="716"/>
                  </a:cubicBezTo>
                  <a:close/>
                  <a:moveTo>
                    <a:pt x="331" y="592"/>
                  </a:moveTo>
                  <a:cubicBezTo>
                    <a:pt x="339" y="580"/>
                    <a:pt x="349" y="569"/>
                    <a:pt x="365" y="567"/>
                  </a:cubicBezTo>
                  <a:cubicBezTo>
                    <a:pt x="387" y="564"/>
                    <a:pt x="406" y="568"/>
                    <a:pt x="419" y="588"/>
                  </a:cubicBezTo>
                  <a:cubicBezTo>
                    <a:pt x="423" y="595"/>
                    <a:pt x="426" y="603"/>
                    <a:pt x="427" y="610"/>
                  </a:cubicBezTo>
                  <a:cubicBezTo>
                    <a:pt x="433" y="635"/>
                    <a:pt x="431" y="661"/>
                    <a:pt x="416" y="684"/>
                  </a:cubicBezTo>
                  <a:cubicBezTo>
                    <a:pt x="403" y="706"/>
                    <a:pt x="362" y="708"/>
                    <a:pt x="345" y="692"/>
                  </a:cubicBezTo>
                  <a:cubicBezTo>
                    <a:pt x="329" y="678"/>
                    <a:pt x="323" y="661"/>
                    <a:pt x="323" y="631"/>
                  </a:cubicBezTo>
                  <a:cubicBezTo>
                    <a:pt x="323" y="619"/>
                    <a:pt x="323" y="605"/>
                    <a:pt x="331" y="592"/>
                  </a:cubicBezTo>
                  <a:close/>
                  <a:moveTo>
                    <a:pt x="1073" y="259"/>
                  </a:moveTo>
                  <a:cubicBezTo>
                    <a:pt x="1073" y="269"/>
                    <a:pt x="1075" y="272"/>
                    <a:pt x="1086" y="272"/>
                  </a:cubicBezTo>
                  <a:cubicBezTo>
                    <a:pt x="1088" y="272"/>
                    <a:pt x="1090" y="272"/>
                    <a:pt x="1092" y="272"/>
                  </a:cubicBezTo>
                  <a:cubicBezTo>
                    <a:pt x="1105" y="272"/>
                    <a:pt x="1106" y="271"/>
                    <a:pt x="1106" y="258"/>
                  </a:cubicBezTo>
                  <a:cubicBezTo>
                    <a:pt x="1106" y="221"/>
                    <a:pt x="1106" y="184"/>
                    <a:pt x="1106" y="147"/>
                  </a:cubicBezTo>
                  <a:cubicBezTo>
                    <a:pt x="1106" y="143"/>
                    <a:pt x="1106" y="140"/>
                    <a:pt x="1107" y="137"/>
                  </a:cubicBezTo>
                  <a:cubicBezTo>
                    <a:pt x="1117" y="117"/>
                    <a:pt x="1157" y="104"/>
                    <a:pt x="1177" y="114"/>
                  </a:cubicBezTo>
                  <a:cubicBezTo>
                    <a:pt x="1179" y="115"/>
                    <a:pt x="1180" y="117"/>
                    <a:pt x="1182" y="118"/>
                  </a:cubicBezTo>
                  <a:cubicBezTo>
                    <a:pt x="1194" y="131"/>
                    <a:pt x="1196" y="147"/>
                    <a:pt x="1196" y="163"/>
                  </a:cubicBezTo>
                  <a:cubicBezTo>
                    <a:pt x="1197" y="195"/>
                    <a:pt x="1196" y="226"/>
                    <a:pt x="1196" y="258"/>
                  </a:cubicBezTo>
                  <a:cubicBezTo>
                    <a:pt x="1196" y="271"/>
                    <a:pt x="1197" y="272"/>
                    <a:pt x="1210" y="272"/>
                  </a:cubicBezTo>
                  <a:cubicBezTo>
                    <a:pt x="1212" y="272"/>
                    <a:pt x="1213" y="272"/>
                    <a:pt x="1215" y="272"/>
                  </a:cubicBezTo>
                  <a:cubicBezTo>
                    <a:pt x="1227" y="272"/>
                    <a:pt x="1229" y="270"/>
                    <a:pt x="1229" y="258"/>
                  </a:cubicBezTo>
                  <a:cubicBezTo>
                    <a:pt x="1229" y="222"/>
                    <a:pt x="1229" y="187"/>
                    <a:pt x="1229" y="151"/>
                  </a:cubicBezTo>
                  <a:cubicBezTo>
                    <a:pt x="1229" y="142"/>
                    <a:pt x="1228" y="132"/>
                    <a:pt x="1225" y="123"/>
                  </a:cubicBezTo>
                  <a:cubicBezTo>
                    <a:pt x="1219" y="105"/>
                    <a:pt x="1208" y="91"/>
                    <a:pt x="1189" y="85"/>
                  </a:cubicBezTo>
                  <a:cubicBezTo>
                    <a:pt x="1173" y="80"/>
                    <a:pt x="1156" y="84"/>
                    <a:pt x="1139" y="84"/>
                  </a:cubicBezTo>
                  <a:cubicBezTo>
                    <a:pt x="1137" y="84"/>
                    <a:pt x="1136" y="86"/>
                    <a:pt x="1134" y="87"/>
                  </a:cubicBezTo>
                  <a:cubicBezTo>
                    <a:pt x="1128" y="91"/>
                    <a:pt x="1121" y="96"/>
                    <a:pt x="1115" y="100"/>
                  </a:cubicBezTo>
                  <a:cubicBezTo>
                    <a:pt x="1113" y="102"/>
                    <a:pt x="1111" y="105"/>
                    <a:pt x="1108" y="103"/>
                  </a:cubicBezTo>
                  <a:cubicBezTo>
                    <a:pt x="1105" y="102"/>
                    <a:pt x="1106" y="98"/>
                    <a:pt x="1106" y="96"/>
                  </a:cubicBezTo>
                  <a:cubicBezTo>
                    <a:pt x="1106" y="69"/>
                    <a:pt x="1106" y="43"/>
                    <a:pt x="1106" y="17"/>
                  </a:cubicBezTo>
                  <a:cubicBezTo>
                    <a:pt x="1106" y="0"/>
                    <a:pt x="1106" y="0"/>
                    <a:pt x="1089" y="0"/>
                  </a:cubicBezTo>
                  <a:cubicBezTo>
                    <a:pt x="1074" y="0"/>
                    <a:pt x="1073" y="1"/>
                    <a:pt x="1073" y="16"/>
                  </a:cubicBezTo>
                  <a:cubicBezTo>
                    <a:pt x="1073" y="56"/>
                    <a:pt x="1073" y="96"/>
                    <a:pt x="1073" y="136"/>
                  </a:cubicBezTo>
                  <a:cubicBezTo>
                    <a:pt x="1073" y="177"/>
                    <a:pt x="1073" y="218"/>
                    <a:pt x="1073" y="259"/>
                  </a:cubicBezTo>
                  <a:close/>
                  <a:moveTo>
                    <a:pt x="1150" y="1092"/>
                  </a:moveTo>
                  <a:cubicBezTo>
                    <a:pt x="1168" y="1092"/>
                    <a:pt x="1186" y="1092"/>
                    <a:pt x="1204" y="1092"/>
                  </a:cubicBezTo>
                  <a:cubicBezTo>
                    <a:pt x="1215" y="1092"/>
                    <a:pt x="1218" y="1087"/>
                    <a:pt x="1219" y="1077"/>
                  </a:cubicBezTo>
                  <a:cubicBezTo>
                    <a:pt x="1220" y="1062"/>
                    <a:pt x="1216" y="1049"/>
                    <a:pt x="1210" y="1036"/>
                  </a:cubicBezTo>
                  <a:cubicBezTo>
                    <a:pt x="1204" y="1020"/>
                    <a:pt x="1193" y="1008"/>
                    <a:pt x="1177" y="1001"/>
                  </a:cubicBezTo>
                  <a:cubicBezTo>
                    <a:pt x="1155" y="992"/>
                    <a:pt x="1133" y="991"/>
                    <a:pt x="1109" y="999"/>
                  </a:cubicBezTo>
                  <a:cubicBezTo>
                    <a:pt x="1079" y="1010"/>
                    <a:pt x="1062" y="1031"/>
                    <a:pt x="1056" y="1061"/>
                  </a:cubicBezTo>
                  <a:cubicBezTo>
                    <a:pt x="1051" y="1090"/>
                    <a:pt x="1052" y="1120"/>
                    <a:pt x="1069" y="1148"/>
                  </a:cubicBezTo>
                  <a:cubicBezTo>
                    <a:pt x="1081" y="1169"/>
                    <a:pt x="1100" y="1180"/>
                    <a:pt x="1122" y="1185"/>
                  </a:cubicBezTo>
                  <a:cubicBezTo>
                    <a:pt x="1149" y="1190"/>
                    <a:pt x="1176" y="1186"/>
                    <a:pt x="1200" y="1171"/>
                  </a:cubicBezTo>
                  <a:cubicBezTo>
                    <a:pt x="1206" y="1168"/>
                    <a:pt x="1213" y="1165"/>
                    <a:pt x="1214" y="1157"/>
                  </a:cubicBezTo>
                  <a:cubicBezTo>
                    <a:pt x="1215" y="1147"/>
                    <a:pt x="1202" y="1139"/>
                    <a:pt x="1193" y="1144"/>
                  </a:cubicBezTo>
                  <a:cubicBezTo>
                    <a:pt x="1187" y="1147"/>
                    <a:pt x="1180" y="1150"/>
                    <a:pt x="1174" y="1153"/>
                  </a:cubicBezTo>
                  <a:cubicBezTo>
                    <a:pt x="1158" y="1161"/>
                    <a:pt x="1140" y="1161"/>
                    <a:pt x="1124" y="1155"/>
                  </a:cubicBezTo>
                  <a:cubicBezTo>
                    <a:pt x="1112" y="1151"/>
                    <a:pt x="1102" y="1142"/>
                    <a:pt x="1096" y="1129"/>
                  </a:cubicBezTo>
                  <a:cubicBezTo>
                    <a:pt x="1092" y="1121"/>
                    <a:pt x="1091" y="1112"/>
                    <a:pt x="1089" y="1104"/>
                  </a:cubicBezTo>
                  <a:cubicBezTo>
                    <a:pt x="1087" y="1093"/>
                    <a:pt x="1087" y="1092"/>
                    <a:pt x="1099" y="1092"/>
                  </a:cubicBezTo>
                  <a:cubicBezTo>
                    <a:pt x="1116" y="1092"/>
                    <a:pt x="1133" y="1092"/>
                    <a:pt x="1150" y="1092"/>
                  </a:cubicBezTo>
                  <a:cubicBezTo>
                    <a:pt x="1150" y="1092"/>
                    <a:pt x="1150" y="1092"/>
                    <a:pt x="1150" y="1092"/>
                  </a:cubicBezTo>
                  <a:close/>
                  <a:moveTo>
                    <a:pt x="1099" y="1070"/>
                  </a:moveTo>
                  <a:cubicBezTo>
                    <a:pt x="1092" y="1071"/>
                    <a:pt x="1089" y="1067"/>
                    <a:pt x="1091" y="1060"/>
                  </a:cubicBezTo>
                  <a:cubicBezTo>
                    <a:pt x="1094" y="1045"/>
                    <a:pt x="1108" y="1023"/>
                    <a:pt x="1128" y="1022"/>
                  </a:cubicBezTo>
                  <a:cubicBezTo>
                    <a:pt x="1142" y="1021"/>
                    <a:pt x="1156" y="1018"/>
                    <a:pt x="1168" y="1029"/>
                  </a:cubicBezTo>
                  <a:cubicBezTo>
                    <a:pt x="1181" y="1038"/>
                    <a:pt x="1185" y="1051"/>
                    <a:pt x="1187" y="1066"/>
                  </a:cubicBezTo>
                  <a:cubicBezTo>
                    <a:pt x="1188" y="1071"/>
                    <a:pt x="1183" y="1070"/>
                    <a:pt x="1180" y="1070"/>
                  </a:cubicBezTo>
                  <a:cubicBezTo>
                    <a:pt x="1166" y="1070"/>
                    <a:pt x="1153" y="1070"/>
                    <a:pt x="1139" y="1070"/>
                  </a:cubicBezTo>
                  <a:cubicBezTo>
                    <a:pt x="1139" y="1070"/>
                    <a:pt x="1139" y="1070"/>
                    <a:pt x="1139" y="1070"/>
                  </a:cubicBezTo>
                  <a:cubicBezTo>
                    <a:pt x="1126" y="1070"/>
                    <a:pt x="1113" y="1070"/>
                    <a:pt x="1099" y="1070"/>
                  </a:cubicBezTo>
                  <a:close/>
                  <a:moveTo>
                    <a:pt x="1741" y="1092"/>
                  </a:moveTo>
                  <a:cubicBezTo>
                    <a:pt x="1759" y="1092"/>
                    <a:pt x="1776" y="1092"/>
                    <a:pt x="1793" y="1092"/>
                  </a:cubicBezTo>
                  <a:cubicBezTo>
                    <a:pt x="1806" y="1092"/>
                    <a:pt x="1808" y="1089"/>
                    <a:pt x="1808" y="1076"/>
                  </a:cubicBezTo>
                  <a:cubicBezTo>
                    <a:pt x="1809" y="1063"/>
                    <a:pt x="1807" y="1051"/>
                    <a:pt x="1802" y="1038"/>
                  </a:cubicBezTo>
                  <a:cubicBezTo>
                    <a:pt x="1794" y="1021"/>
                    <a:pt x="1782" y="1008"/>
                    <a:pt x="1764" y="1000"/>
                  </a:cubicBezTo>
                  <a:cubicBezTo>
                    <a:pt x="1742" y="991"/>
                    <a:pt x="1720" y="991"/>
                    <a:pt x="1698" y="1000"/>
                  </a:cubicBezTo>
                  <a:cubicBezTo>
                    <a:pt x="1681" y="1006"/>
                    <a:pt x="1668" y="1016"/>
                    <a:pt x="1659" y="1031"/>
                  </a:cubicBezTo>
                  <a:cubicBezTo>
                    <a:pt x="1646" y="1050"/>
                    <a:pt x="1643" y="1071"/>
                    <a:pt x="1644" y="1094"/>
                  </a:cubicBezTo>
                  <a:cubicBezTo>
                    <a:pt x="1644" y="1110"/>
                    <a:pt x="1647" y="1127"/>
                    <a:pt x="1655" y="1141"/>
                  </a:cubicBezTo>
                  <a:cubicBezTo>
                    <a:pt x="1669" y="1168"/>
                    <a:pt x="1691" y="1183"/>
                    <a:pt x="1722" y="1186"/>
                  </a:cubicBezTo>
                  <a:cubicBezTo>
                    <a:pt x="1750" y="1188"/>
                    <a:pt x="1775" y="1183"/>
                    <a:pt x="1798" y="1165"/>
                  </a:cubicBezTo>
                  <a:cubicBezTo>
                    <a:pt x="1803" y="1161"/>
                    <a:pt x="1806" y="1157"/>
                    <a:pt x="1802" y="1151"/>
                  </a:cubicBezTo>
                  <a:cubicBezTo>
                    <a:pt x="1798" y="1144"/>
                    <a:pt x="1791" y="1140"/>
                    <a:pt x="1783" y="1144"/>
                  </a:cubicBezTo>
                  <a:cubicBezTo>
                    <a:pt x="1778" y="1147"/>
                    <a:pt x="1771" y="1149"/>
                    <a:pt x="1766" y="1152"/>
                  </a:cubicBezTo>
                  <a:cubicBezTo>
                    <a:pt x="1749" y="1161"/>
                    <a:pt x="1730" y="1162"/>
                    <a:pt x="1714" y="1155"/>
                  </a:cubicBezTo>
                  <a:cubicBezTo>
                    <a:pt x="1692" y="1145"/>
                    <a:pt x="1680" y="1127"/>
                    <a:pt x="1679" y="1102"/>
                  </a:cubicBezTo>
                  <a:cubicBezTo>
                    <a:pt x="1678" y="1095"/>
                    <a:pt x="1681" y="1092"/>
                    <a:pt x="1689" y="1092"/>
                  </a:cubicBezTo>
                  <a:cubicBezTo>
                    <a:pt x="1706" y="1092"/>
                    <a:pt x="1724" y="1092"/>
                    <a:pt x="1741" y="1092"/>
                  </a:cubicBezTo>
                  <a:cubicBezTo>
                    <a:pt x="1741" y="1092"/>
                    <a:pt x="1741" y="1092"/>
                    <a:pt x="1741" y="1092"/>
                  </a:cubicBezTo>
                  <a:close/>
                  <a:moveTo>
                    <a:pt x="1690" y="1070"/>
                  </a:moveTo>
                  <a:cubicBezTo>
                    <a:pt x="1683" y="1071"/>
                    <a:pt x="1680" y="1068"/>
                    <a:pt x="1681" y="1062"/>
                  </a:cubicBezTo>
                  <a:cubicBezTo>
                    <a:pt x="1683" y="1048"/>
                    <a:pt x="1697" y="1024"/>
                    <a:pt x="1716" y="1022"/>
                  </a:cubicBezTo>
                  <a:cubicBezTo>
                    <a:pt x="1731" y="1020"/>
                    <a:pt x="1747" y="1018"/>
                    <a:pt x="1760" y="1030"/>
                  </a:cubicBezTo>
                  <a:cubicBezTo>
                    <a:pt x="1771" y="1038"/>
                    <a:pt x="1775" y="1050"/>
                    <a:pt x="1778" y="1062"/>
                  </a:cubicBezTo>
                  <a:cubicBezTo>
                    <a:pt x="1780" y="1068"/>
                    <a:pt x="1775" y="1070"/>
                    <a:pt x="1769" y="1070"/>
                  </a:cubicBezTo>
                  <a:cubicBezTo>
                    <a:pt x="1756" y="1070"/>
                    <a:pt x="1742" y="1070"/>
                    <a:pt x="1729" y="1070"/>
                  </a:cubicBezTo>
                  <a:cubicBezTo>
                    <a:pt x="1729" y="1070"/>
                    <a:pt x="1729" y="1070"/>
                    <a:pt x="1729" y="1070"/>
                  </a:cubicBezTo>
                  <a:cubicBezTo>
                    <a:pt x="1716" y="1070"/>
                    <a:pt x="1703" y="1070"/>
                    <a:pt x="1690" y="1070"/>
                  </a:cubicBezTo>
                  <a:close/>
                  <a:moveTo>
                    <a:pt x="68" y="581"/>
                  </a:moveTo>
                  <a:cubicBezTo>
                    <a:pt x="68" y="573"/>
                    <a:pt x="70" y="568"/>
                    <a:pt x="80" y="569"/>
                  </a:cubicBezTo>
                  <a:cubicBezTo>
                    <a:pt x="90" y="570"/>
                    <a:pt x="101" y="570"/>
                    <a:pt x="111" y="569"/>
                  </a:cubicBezTo>
                  <a:cubicBezTo>
                    <a:pt x="120" y="569"/>
                    <a:pt x="120" y="563"/>
                    <a:pt x="120" y="556"/>
                  </a:cubicBezTo>
                  <a:cubicBezTo>
                    <a:pt x="120" y="549"/>
                    <a:pt x="119" y="544"/>
                    <a:pt x="111" y="544"/>
                  </a:cubicBezTo>
                  <a:cubicBezTo>
                    <a:pt x="104" y="544"/>
                    <a:pt x="97" y="544"/>
                    <a:pt x="91" y="544"/>
                  </a:cubicBezTo>
                  <a:cubicBezTo>
                    <a:pt x="66" y="544"/>
                    <a:pt x="65" y="543"/>
                    <a:pt x="68" y="518"/>
                  </a:cubicBezTo>
                  <a:cubicBezTo>
                    <a:pt x="69" y="504"/>
                    <a:pt x="83" y="487"/>
                    <a:pt x="99" y="489"/>
                  </a:cubicBezTo>
                  <a:cubicBezTo>
                    <a:pt x="103" y="489"/>
                    <a:pt x="107" y="489"/>
                    <a:pt x="110" y="488"/>
                  </a:cubicBezTo>
                  <a:cubicBezTo>
                    <a:pt x="118" y="487"/>
                    <a:pt x="123" y="479"/>
                    <a:pt x="123" y="471"/>
                  </a:cubicBezTo>
                  <a:cubicBezTo>
                    <a:pt x="123" y="461"/>
                    <a:pt x="116" y="462"/>
                    <a:pt x="109" y="460"/>
                  </a:cubicBezTo>
                  <a:cubicBezTo>
                    <a:pt x="100" y="458"/>
                    <a:pt x="92" y="460"/>
                    <a:pt x="84" y="460"/>
                  </a:cubicBezTo>
                  <a:cubicBezTo>
                    <a:pt x="68" y="461"/>
                    <a:pt x="56" y="469"/>
                    <a:pt x="47" y="480"/>
                  </a:cubicBezTo>
                  <a:cubicBezTo>
                    <a:pt x="34" y="493"/>
                    <a:pt x="32" y="511"/>
                    <a:pt x="32" y="529"/>
                  </a:cubicBezTo>
                  <a:cubicBezTo>
                    <a:pt x="32" y="544"/>
                    <a:pt x="32" y="544"/>
                    <a:pt x="17" y="544"/>
                  </a:cubicBezTo>
                  <a:cubicBezTo>
                    <a:pt x="4" y="543"/>
                    <a:pt x="0" y="548"/>
                    <a:pt x="4" y="561"/>
                  </a:cubicBezTo>
                  <a:cubicBezTo>
                    <a:pt x="6" y="569"/>
                    <a:pt x="13" y="568"/>
                    <a:pt x="19" y="569"/>
                  </a:cubicBezTo>
                  <a:cubicBezTo>
                    <a:pt x="32" y="571"/>
                    <a:pt x="32" y="571"/>
                    <a:pt x="32" y="584"/>
                  </a:cubicBezTo>
                  <a:cubicBezTo>
                    <a:pt x="32" y="624"/>
                    <a:pt x="32" y="664"/>
                    <a:pt x="32" y="704"/>
                  </a:cubicBezTo>
                  <a:cubicBezTo>
                    <a:pt x="32" y="731"/>
                    <a:pt x="32" y="730"/>
                    <a:pt x="57" y="731"/>
                  </a:cubicBezTo>
                  <a:cubicBezTo>
                    <a:pt x="66" y="731"/>
                    <a:pt x="68" y="727"/>
                    <a:pt x="68" y="720"/>
                  </a:cubicBezTo>
                  <a:cubicBezTo>
                    <a:pt x="68" y="697"/>
                    <a:pt x="68" y="674"/>
                    <a:pt x="68" y="651"/>
                  </a:cubicBezTo>
                  <a:cubicBezTo>
                    <a:pt x="68" y="628"/>
                    <a:pt x="68" y="605"/>
                    <a:pt x="68" y="581"/>
                  </a:cubicBezTo>
                  <a:close/>
                  <a:moveTo>
                    <a:pt x="278" y="1165"/>
                  </a:moveTo>
                  <a:cubicBezTo>
                    <a:pt x="278" y="1183"/>
                    <a:pt x="278" y="1183"/>
                    <a:pt x="296" y="1184"/>
                  </a:cubicBezTo>
                  <a:cubicBezTo>
                    <a:pt x="310" y="1184"/>
                    <a:pt x="310" y="1184"/>
                    <a:pt x="310" y="1169"/>
                  </a:cubicBezTo>
                  <a:cubicBezTo>
                    <a:pt x="310" y="1132"/>
                    <a:pt x="310" y="1095"/>
                    <a:pt x="310" y="1058"/>
                  </a:cubicBezTo>
                  <a:cubicBezTo>
                    <a:pt x="310" y="1052"/>
                    <a:pt x="312" y="1047"/>
                    <a:pt x="316" y="1042"/>
                  </a:cubicBezTo>
                  <a:cubicBezTo>
                    <a:pt x="324" y="1033"/>
                    <a:pt x="334" y="1027"/>
                    <a:pt x="345" y="1024"/>
                  </a:cubicBezTo>
                  <a:cubicBezTo>
                    <a:pt x="357" y="1020"/>
                    <a:pt x="371" y="1018"/>
                    <a:pt x="383" y="1028"/>
                  </a:cubicBezTo>
                  <a:cubicBezTo>
                    <a:pt x="397" y="1039"/>
                    <a:pt x="401" y="1054"/>
                    <a:pt x="401" y="1071"/>
                  </a:cubicBezTo>
                  <a:cubicBezTo>
                    <a:pt x="401" y="1102"/>
                    <a:pt x="401" y="1132"/>
                    <a:pt x="401" y="1163"/>
                  </a:cubicBezTo>
                  <a:cubicBezTo>
                    <a:pt x="401" y="1183"/>
                    <a:pt x="401" y="1182"/>
                    <a:pt x="420" y="1184"/>
                  </a:cubicBezTo>
                  <a:cubicBezTo>
                    <a:pt x="429" y="1185"/>
                    <a:pt x="433" y="1181"/>
                    <a:pt x="433" y="1173"/>
                  </a:cubicBezTo>
                  <a:cubicBezTo>
                    <a:pt x="432" y="1130"/>
                    <a:pt x="435" y="1087"/>
                    <a:pt x="431" y="1044"/>
                  </a:cubicBezTo>
                  <a:cubicBezTo>
                    <a:pt x="427" y="1014"/>
                    <a:pt x="404" y="996"/>
                    <a:pt x="376" y="994"/>
                  </a:cubicBezTo>
                  <a:cubicBezTo>
                    <a:pt x="353" y="992"/>
                    <a:pt x="333" y="1000"/>
                    <a:pt x="317" y="1017"/>
                  </a:cubicBezTo>
                  <a:cubicBezTo>
                    <a:pt x="312" y="1021"/>
                    <a:pt x="311" y="1019"/>
                    <a:pt x="309" y="1015"/>
                  </a:cubicBezTo>
                  <a:cubicBezTo>
                    <a:pt x="309" y="1013"/>
                    <a:pt x="308" y="1011"/>
                    <a:pt x="308" y="1008"/>
                  </a:cubicBezTo>
                  <a:cubicBezTo>
                    <a:pt x="306" y="1001"/>
                    <a:pt x="298" y="997"/>
                    <a:pt x="287" y="998"/>
                  </a:cubicBezTo>
                  <a:cubicBezTo>
                    <a:pt x="279" y="999"/>
                    <a:pt x="278" y="1004"/>
                    <a:pt x="278" y="1011"/>
                  </a:cubicBezTo>
                  <a:cubicBezTo>
                    <a:pt x="278" y="1037"/>
                    <a:pt x="278" y="1064"/>
                    <a:pt x="278" y="1091"/>
                  </a:cubicBezTo>
                  <a:cubicBezTo>
                    <a:pt x="278" y="1115"/>
                    <a:pt x="278" y="1140"/>
                    <a:pt x="278" y="1165"/>
                  </a:cubicBezTo>
                  <a:close/>
                  <a:moveTo>
                    <a:pt x="150" y="705"/>
                  </a:moveTo>
                  <a:cubicBezTo>
                    <a:pt x="150" y="734"/>
                    <a:pt x="145" y="730"/>
                    <a:pt x="176" y="731"/>
                  </a:cubicBezTo>
                  <a:cubicBezTo>
                    <a:pt x="185" y="731"/>
                    <a:pt x="187" y="727"/>
                    <a:pt x="187" y="719"/>
                  </a:cubicBezTo>
                  <a:cubicBezTo>
                    <a:pt x="187" y="685"/>
                    <a:pt x="187" y="651"/>
                    <a:pt x="187" y="618"/>
                  </a:cubicBezTo>
                  <a:cubicBezTo>
                    <a:pt x="187" y="597"/>
                    <a:pt x="204" y="578"/>
                    <a:pt x="225" y="574"/>
                  </a:cubicBezTo>
                  <a:cubicBezTo>
                    <a:pt x="232" y="572"/>
                    <a:pt x="240" y="574"/>
                    <a:pt x="247" y="575"/>
                  </a:cubicBezTo>
                  <a:cubicBezTo>
                    <a:pt x="257" y="576"/>
                    <a:pt x="261" y="572"/>
                    <a:pt x="265" y="564"/>
                  </a:cubicBezTo>
                  <a:cubicBezTo>
                    <a:pt x="269" y="556"/>
                    <a:pt x="267" y="542"/>
                    <a:pt x="261" y="540"/>
                  </a:cubicBezTo>
                  <a:cubicBezTo>
                    <a:pt x="253" y="538"/>
                    <a:pt x="244" y="534"/>
                    <a:pt x="237" y="536"/>
                  </a:cubicBezTo>
                  <a:cubicBezTo>
                    <a:pt x="228" y="537"/>
                    <a:pt x="217" y="537"/>
                    <a:pt x="209" y="544"/>
                  </a:cubicBezTo>
                  <a:cubicBezTo>
                    <a:pt x="204" y="549"/>
                    <a:pt x="198" y="553"/>
                    <a:pt x="194" y="558"/>
                  </a:cubicBezTo>
                  <a:cubicBezTo>
                    <a:pt x="192" y="561"/>
                    <a:pt x="189" y="563"/>
                    <a:pt x="185" y="562"/>
                  </a:cubicBezTo>
                  <a:cubicBezTo>
                    <a:pt x="182" y="561"/>
                    <a:pt x="182" y="558"/>
                    <a:pt x="182" y="556"/>
                  </a:cubicBezTo>
                  <a:cubicBezTo>
                    <a:pt x="180" y="539"/>
                    <a:pt x="179" y="539"/>
                    <a:pt x="162" y="539"/>
                  </a:cubicBezTo>
                  <a:cubicBezTo>
                    <a:pt x="151" y="539"/>
                    <a:pt x="150" y="540"/>
                    <a:pt x="150" y="551"/>
                  </a:cubicBezTo>
                  <a:cubicBezTo>
                    <a:pt x="150" y="579"/>
                    <a:pt x="150" y="607"/>
                    <a:pt x="150" y="635"/>
                  </a:cubicBezTo>
                  <a:cubicBezTo>
                    <a:pt x="150" y="658"/>
                    <a:pt x="149" y="682"/>
                    <a:pt x="150" y="705"/>
                  </a:cubicBezTo>
                  <a:close/>
                  <a:moveTo>
                    <a:pt x="1011" y="1049"/>
                  </a:moveTo>
                  <a:cubicBezTo>
                    <a:pt x="1011" y="1008"/>
                    <a:pt x="1011" y="966"/>
                    <a:pt x="1011" y="924"/>
                  </a:cubicBezTo>
                  <a:cubicBezTo>
                    <a:pt x="1011" y="913"/>
                    <a:pt x="1008" y="910"/>
                    <a:pt x="997" y="910"/>
                  </a:cubicBezTo>
                  <a:cubicBezTo>
                    <a:pt x="995" y="910"/>
                    <a:pt x="992" y="910"/>
                    <a:pt x="990" y="910"/>
                  </a:cubicBezTo>
                  <a:cubicBezTo>
                    <a:pt x="976" y="910"/>
                    <a:pt x="975" y="911"/>
                    <a:pt x="975" y="926"/>
                  </a:cubicBezTo>
                  <a:cubicBezTo>
                    <a:pt x="975" y="1006"/>
                    <a:pt x="975" y="1085"/>
                    <a:pt x="975" y="1165"/>
                  </a:cubicBezTo>
                  <a:cubicBezTo>
                    <a:pt x="975" y="1185"/>
                    <a:pt x="975" y="1185"/>
                    <a:pt x="994" y="1185"/>
                  </a:cubicBezTo>
                  <a:cubicBezTo>
                    <a:pt x="1009" y="1185"/>
                    <a:pt x="1011" y="1184"/>
                    <a:pt x="1011" y="1169"/>
                  </a:cubicBezTo>
                  <a:cubicBezTo>
                    <a:pt x="1011" y="1129"/>
                    <a:pt x="1011" y="1089"/>
                    <a:pt x="1011" y="1049"/>
                  </a:cubicBezTo>
                  <a:cubicBezTo>
                    <a:pt x="1011" y="1049"/>
                    <a:pt x="1011" y="1049"/>
                    <a:pt x="1011" y="1049"/>
                  </a:cubicBezTo>
                  <a:close/>
                  <a:moveTo>
                    <a:pt x="296" y="176"/>
                  </a:moveTo>
                  <a:cubicBezTo>
                    <a:pt x="296" y="201"/>
                    <a:pt x="296" y="226"/>
                    <a:pt x="296" y="251"/>
                  </a:cubicBezTo>
                  <a:cubicBezTo>
                    <a:pt x="295" y="276"/>
                    <a:pt x="296" y="274"/>
                    <a:pt x="318" y="274"/>
                  </a:cubicBezTo>
                  <a:cubicBezTo>
                    <a:pt x="330" y="274"/>
                    <a:pt x="331" y="274"/>
                    <a:pt x="331" y="260"/>
                  </a:cubicBezTo>
                  <a:cubicBezTo>
                    <a:pt x="331" y="232"/>
                    <a:pt x="331" y="204"/>
                    <a:pt x="331" y="176"/>
                  </a:cubicBezTo>
                  <a:cubicBezTo>
                    <a:pt x="331" y="165"/>
                    <a:pt x="331" y="155"/>
                    <a:pt x="337" y="145"/>
                  </a:cubicBezTo>
                  <a:cubicBezTo>
                    <a:pt x="349" y="123"/>
                    <a:pt x="359" y="117"/>
                    <a:pt x="377" y="118"/>
                  </a:cubicBezTo>
                  <a:cubicBezTo>
                    <a:pt x="383" y="118"/>
                    <a:pt x="389" y="119"/>
                    <a:pt x="395" y="120"/>
                  </a:cubicBezTo>
                  <a:cubicBezTo>
                    <a:pt x="401" y="120"/>
                    <a:pt x="407" y="118"/>
                    <a:pt x="408" y="112"/>
                  </a:cubicBezTo>
                  <a:cubicBezTo>
                    <a:pt x="409" y="103"/>
                    <a:pt x="415" y="93"/>
                    <a:pt x="407" y="85"/>
                  </a:cubicBezTo>
                  <a:cubicBezTo>
                    <a:pt x="406" y="84"/>
                    <a:pt x="404" y="84"/>
                    <a:pt x="402" y="84"/>
                  </a:cubicBezTo>
                  <a:cubicBezTo>
                    <a:pt x="376" y="78"/>
                    <a:pt x="353" y="82"/>
                    <a:pt x="337" y="106"/>
                  </a:cubicBezTo>
                  <a:cubicBezTo>
                    <a:pt x="336" y="108"/>
                    <a:pt x="335" y="110"/>
                    <a:pt x="333" y="109"/>
                  </a:cubicBezTo>
                  <a:cubicBezTo>
                    <a:pt x="331" y="109"/>
                    <a:pt x="330" y="107"/>
                    <a:pt x="330" y="105"/>
                  </a:cubicBezTo>
                  <a:cubicBezTo>
                    <a:pt x="329" y="101"/>
                    <a:pt x="329" y="97"/>
                    <a:pt x="328" y="94"/>
                  </a:cubicBezTo>
                  <a:cubicBezTo>
                    <a:pt x="325" y="85"/>
                    <a:pt x="318" y="82"/>
                    <a:pt x="303" y="84"/>
                  </a:cubicBezTo>
                  <a:cubicBezTo>
                    <a:pt x="297" y="84"/>
                    <a:pt x="295" y="86"/>
                    <a:pt x="295" y="92"/>
                  </a:cubicBezTo>
                  <a:cubicBezTo>
                    <a:pt x="296" y="120"/>
                    <a:pt x="295" y="148"/>
                    <a:pt x="295" y="176"/>
                  </a:cubicBezTo>
                  <a:cubicBezTo>
                    <a:pt x="296" y="176"/>
                    <a:pt x="296" y="176"/>
                    <a:pt x="296" y="176"/>
                  </a:cubicBezTo>
                  <a:close/>
                  <a:moveTo>
                    <a:pt x="946" y="179"/>
                  </a:moveTo>
                  <a:cubicBezTo>
                    <a:pt x="946" y="197"/>
                    <a:pt x="946" y="215"/>
                    <a:pt x="946" y="234"/>
                  </a:cubicBezTo>
                  <a:cubicBezTo>
                    <a:pt x="946" y="248"/>
                    <a:pt x="951" y="260"/>
                    <a:pt x="963" y="268"/>
                  </a:cubicBezTo>
                  <a:cubicBezTo>
                    <a:pt x="982" y="280"/>
                    <a:pt x="1011" y="277"/>
                    <a:pt x="1029" y="264"/>
                  </a:cubicBezTo>
                  <a:cubicBezTo>
                    <a:pt x="1036" y="259"/>
                    <a:pt x="1036" y="254"/>
                    <a:pt x="1032" y="248"/>
                  </a:cubicBezTo>
                  <a:cubicBezTo>
                    <a:pt x="1026" y="239"/>
                    <a:pt x="1020" y="238"/>
                    <a:pt x="1013" y="242"/>
                  </a:cubicBezTo>
                  <a:cubicBezTo>
                    <a:pt x="996" y="252"/>
                    <a:pt x="978" y="243"/>
                    <a:pt x="978" y="223"/>
                  </a:cubicBezTo>
                  <a:cubicBezTo>
                    <a:pt x="978" y="190"/>
                    <a:pt x="978" y="157"/>
                    <a:pt x="978" y="123"/>
                  </a:cubicBezTo>
                  <a:cubicBezTo>
                    <a:pt x="978" y="116"/>
                    <a:pt x="981" y="113"/>
                    <a:pt x="988" y="113"/>
                  </a:cubicBezTo>
                  <a:cubicBezTo>
                    <a:pt x="999" y="114"/>
                    <a:pt x="1011" y="113"/>
                    <a:pt x="1022" y="113"/>
                  </a:cubicBezTo>
                  <a:cubicBezTo>
                    <a:pt x="1028" y="113"/>
                    <a:pt x="1033" y="112"/>
                    <a:pt x="1033" y="104"/>
                  </a:cubicBezTo>
                  <a:cubicBezTo>
                    <a:pt x="1033" y="96"/>
                    <a:pt x="1032" y="90"/>
                    <a:pt x="1022" y="90"/>
                  </a:cubicBezTo>
                  <a:cubicBezTo>
                    <a:pt x="1011" y="90"/>
                    <a:pt x="1001" y="90"/>
                    <a:pt x="990" y="90"/>
                  </a:cubicBezTo>
                  <a:cubicBezTo>
                    <a:pt x="981" y="91"/>
                    <a:pt x="977" y="88"/>
                    <a:pt x="978" y="78"/>
                  </a:cubicBezTo>
                  <a:cubicBezTo>
                    <a:pt x="978" y="64"/>
                    <a:pt x="978" y="49"/>
                    <a:pt x="978" y="35"/>
                  </a:cubicBezTo>
                  <a:cubicBezTo>
                    <a:pt x="978" y="30"/>
                    <a:pt x="978" y="25"/>
                    <a:pt x="971" y="24"/>
                  </a:cubicBezTo>
                  <a:cubicBezTo>
                    <a:pt x="964" y="24"/>
                    <a:pt x="956" y="24"/>
                    <a:pt x="955" y="32"/>
                  </a:cubicBezTo>
                  <a:cubicBezTo>
                    <a:pt x="952" y="43"/>
                    <a:pt x="949" y="54"/>
                    <a:pt x="949" y="65"/>
                  </a:cubicBezTo>
                  <a:cubicBezTo>
                    <a:pt x="948" y="88"/>
                    <a:pt x="947" y="88"/>
                    <a:pt x="924" y="91"/>
                  </a:cubicBezTo>
                  <a:cubicBezTo>
                    <a:pt x="919" y="92"/>
                    <a:pt x="914" y="92"/>
                    <a:pt x="914" y="99"/>
                  </a:cubicBezTo>
                  <a:cubicBezTo>
                    <a:pt x="915" y="107"/>
                    <a:pt x="917" y="113"/>
                    <a:pt x="926" y="113"/>
                  </a:cubicBezTo>
                  <a:cubicBezTo>
                    <a:pt x="929" y="114"/>
                    <a:pt x="932" y="113"/>
                    <a:pt x="935" y="113"/>
                  </a:cubicBezTo>
                  <a:cubicBezTo>
                    <a:pt x="943" y="113"/>
                    <a:pt x="946" y="116"/>
                    <a:pt x="946" y="124"/>
                  </a:cubicBezTo>
                  <a:cubicBezTo>
                    <a:pt x="946" y="142"/>
                    <a:pt x="946" y="161"/>
                    <a:pt x="946" y="179"/>
                  </a:cubicBezTo>
                  <a:cubicBezTo>
                    <a:pt x="946" y="179"/>
                    <a:pt x="946" y="179"/>
                    <a:pt x="946" y="179"/>
                  </a:cubicBezTo>
                  <a:close/>
                </a:path>
              </a:pathLst>
            </a:custGeom>
            <a:solidFill>
              <a:srgbClr val="4C505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nvGrpSpPr>
            <p:cNvPr id="18" name="Group 4">
              <a:extLst>
                <a:ext uri="{FF2B5EF4-FFF2-40B4-BE49-F238E27FC236}">
                  <a16:creationId xmlns:a16="http://schemas.microsoft.com/office/drawing/2014/main" xmlns="" id="{57BD2C4C-DC67-B843-B26C-309622FC75F7}"/>
                </a:ext>
              </a:extLst>
            </p:cNvPr>
            <p:cNvGrpSpPr>
              <a:grpSpLocks noChangeAspect="1"/>
            </p:cNvGrpSpPr>
            <p:nvPr/>
          </p:nvGrpSpPr>
          <p:grpSpPr bwMode="gray">
            <a:xfrm>
              <a:off x="334963" y="296652"/>
              <a:ext cx="538094" cy="540000"/>
              <a:chOff x="2711" y="1027"/>
              <a:chExt cx="2258" cy="2266"/>
            </a:xfrm>
          </p:grpSpPr>
          <p:sp>
            <p:nvSpPr>
              <p:cNvPr id="19" name="AutoShape 3">
                <a:extLst>
                  <a:ext uri="{FF2B5EF4-FFF2-40B4-BE49-F238E27FC236}">
                    <a16:creationId xmlns:a16="http://schemas.microsoft.com/office/drawing/2014/main" xmlns=""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5">
                <a:extLst>
                  <a:ext uri="{FF2B5EF4-FFF2-40B4-BE49-F238E27FC236}">
                    <a16:creationId xmlns:a16="http://schemas.microsoft.com/office/drawing/2014/main" xmlns=""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1" name="Freeform 6">
                <a:extLst>
                  <a:ext uri="{FF2B5EF4-FFF2-40B4-BE49-F238E27FC236}">
                    <a16:creationId xmlns:a16="http://schemas.microsoft.com/office/drawing/2014/main" xmlns=""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7">
                <a:extLst>
                  <a:ext uri="{FF2B5EF4-FFF2-40B4-BE49-F238E27FC236}">
                    <a16:creationId xmlns:a16="http://schemas.microsoft.com/office/drawing/2014/main" xmlns=""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8">
                <a:extLst>
                  <a:ext uri="{FF2B5EF4-FFF2-40B4-BE49-F238E27FC236}">
                    <a16:creationId xmlns:a16="http://schemas.microsoft.com/office/drawing/2014/main" xmlns=""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9">
                <a:extLst>
                  <a:ext uri="{FF2B5EF4-FFF2-40B4-BE49-F238E27FC236}">
                    <a16:creationId xmlns:a16="http://schemas.microsoft.com/office/drawing/2014/main" xmlns=""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5" name="Freeform 10">
                <a:extLst>
                  <a:ext uri="{FF2B5EF4-FFF2-40B4-BE49-F238E27FC236}">
                    <a16:creationId xmlns:a16="http://schemas.microsoft.com/office/drawing/2014/main" xmlns=""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Oval 11">
                <a:extLst>
                  <a:ext uri="{FF2B5EF4-FFF2-40B4-BE49-F238E27FC236}">
                    <a16:creationId xmlns:a16="http://schemas.microsoft.com/office/drawing/2014/main" xmlns=""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7" name="Freeform 12">
                <a:extLst>
                  <a:ext uri="{FF2B5EF4-FFF2-40B4-BE49-F238E27FC236}">
                    <a16:creationId xmlns:a16="http://schemas.microsoft.com/office/drawing/2014/main" xmlns=""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Freeform 13">
                <a:extLst>
                  <a:ext uri="{FF2B5EF4-FFF2-40B4-BE49-F238E27FC236}">
                    <a16:creationId xmlns:a16="http://schemas.microsoft.com/office/drawing/2014/main" xmlns=""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grpSp>
      <p:sp>
        <p:nvSpPr>
          <p:cNvPr id="7" name="Date Placeholder 6"/>
          <p:cNvSpPr>
            <a:spLocks noGrp="1"/>
          </p:cNvSpPr>
          <p:nvPr>
            <p:ph type="dt" sz="half" idx="10"/>
          </p:nvPr>
        </p:nvSpPr>
        <p:spPr>
          <a:xfrm>
            <a:off x="0" y="0"/>
            <a:ext cx="0" cy="0"/>
          </a:xfrm>
          <a:prstGeom prst="rect">
            <a:avLst/>
          </a:prstGeom>
        </p:spPr>
        <p:txBody>
          <a:bodyPr/>
          <a:lstStyle>
            <a:lvl1pPr>
              <a:defRPr sz="100">
                <a:noFill/>
              </a:defRPr>
            </a:lvl1pPr>
          </a:lstStyle>
          <a:p>
            <a:fld id="{91E1A63F-B509-4E16-8965-5B344C7E5781}" type="datetime1">
              <a:rPr lang="nl-NL" smtClean="0"/>
              <a:t>15-9-2020</a:t>
            </a:fld>
            <a:endParaRPr lang="en-US" dirty="0"/>
          </a:p>
        </p:txBody>
      </p:sp>
      <p:sp>
        <p:nvSpPr>
          <p:cNvPr id="8" name="Footer Placeholder 7"/>
          <p:cNvSpPr>
            <a:spLocks noGrp="1"/>
          </p:cNvSpPr>
          <p:nvPr>
            <p:ph type="ftr" sz="quarter" idx="11"/>
          </p:nvPr>
        </p:nvSpPr>
        <p:spPr>
          <a:xfrm>
            <a:off x="0" y="0"/>
            <a:ext cx="0" cy="0"/>
          </a:xfrm>
          <a:prstGeom prst="rect">
            <a:avLst/>
          </a:prstGeom>
        </p:spPr>
        <p:txBody>
          <a:bodyPr/>
          <a:lstStyle>
            <a:lvl1pPr marL="0" indent="0">
              <a:buNone/>
              <a:defRPr sz="100">
                <a:noFill/>
              </a:defRPr>
            </a:lvl1pPr>
          </a:lstStyle>
          <a:p>
            <a:r>
              <a:rPr lang="en-US"/>
              <a:t>ShoppingTomorrow 2020</a:t>
            </a:r>
            <a:endParaRPr lang="en-US" dirty="0"/>
          </a:p>
        </p:txBody>
      </p:sp>
      <p:sp>
        <p:nvSpPr>
          <p:cNvPr id="9" name="Slide Number Placeholder 8"/>
          <p:cNvSpPr>
            <a:spLocks noGrp="1"/>
          </p:cNvSpPr>
          <p:nvPr>
            <p:ph type="sldNum" sz="quarter" idx="12"/>
          </p:nvPr>
        </p:nvSpPr>
        <p:spPr>
          <a:xfrm>
            <a:off x="0" y="0"/>
            <a:ext cx="0" cy="0"/>
          </a:xfrm>
          <a:prstGeom prst="rect">
            <a:avLst/>
          </a:prstGeom>
        </p:spPr>
        <p:txBody>
          <a:bodyPr/>
          <a:lstStyle>
            <a:lvl1pPr>
              <a:defRPr sz="100">
                <a:noFill/>
              </a:defRPr>
            </a:lvl1pPr>
          </a:lstStyle>
          <a:p>
            <a:fld id="{8E3B25F7-8D1F-44B5-B485-EE3C438CFD7B}" type="slidenum">
              <a:rPr lang="en-US" smtClean="0"/>
              <a:pPr/>
              <a:t>‹nr.›</a:t>
            </a:fld>
            <a:endParaRPr lang="en-US"/>
          </a:p>
        </p:txBody>
      </p:sp>
      <p:sp>
        <p:nvSpPr>
          <p:cNvPr id="2" name="Title 1"/>
          <p:cNvSpPr>
            <a:spLocks noGrp="1"/>
          </p:cNvSpPr>
          <p:nvPr>
            <p:ph type="ctrTitle" hasCustomPrompt="1"/>
          </p:nvPr>
        </p:nvSpPr>
        <p:spPr>
          <a:xfrm>
            <a:off x="417600" y="1628775"/>
            <a:ext cx="3816000" cy="2236264"/>
          </a:xfrm>
        </p:spPr>
        <p:txBody>
          <a:bodyPr anchor="b"/>
          <a:lstStyle>
            <a:lvl1pPr algn="l">
              <a:defRPr sz="3600"/>
            </a:lvl1pPr>
          </a:lstStyle>
          <a:p>
            <a:r>
              <a:rPr lang="en-US" dirty="0"/>
              <a:t>Click to add presentation title</a:t>
            </a:r>
          </a:p>
        </p:txBody>
      </p:sp>
      <p:sp>
        <p:nvSpPr>
          <p:cNvPr id="3" name="Subtitle 2"/>
          <p:cNvSpPr>
            <a:spLocks noGrp="1"/>
          </p:cNvSpPr>
          <p:nvPr>
            <p:ph type="subTitle" idx="1" hasCustomPrompt="1"/>
          </p:nvPr>
        </p:nvSpPr>
        <p:spPr>
          <a:xfrm>
            <a:off x="417600" y="4094163"/>
            <a:ext cx="3816000" cy="1080000"/>
          </a:xfrm>
        </p:spPr>
        <p:txBody>
          <a:bodyPr/>
          <a:lstStyle>
            <a:lvl1pPr marL="0" indent="0" algn="l">
              <a:spcBef>
                <a:spcPts val="0"/>
              </a:spcBef>
              <a:buNone/>
              <a:defRPr sz="1800" b="1"/>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1" name="Text Placeholder 30"/>
          <p:cNvSpPr>
            <a:spLocks noGrp="1"/>
          </p:cNvSpPr>
          <p:nvPr>
            <p:ph type="body" sz="quarter" idx="14" hasCustomPrompt="1"/>
          </p:nvPr>
        </p:nvSpPr>
        <p:spPr>
          <a:xfrm>
            <a:off x="417600" y="5393268"/>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Name</a:t>
            </a:r>
          </a:p>
        </p:txBody>
      </p:sp>
      <p:sp>
        <p:nvSpPr>
          <p:cNvPr id="34" name="Text Placeholder 30"/>
          <p:cNvSpPr>
            <a:spLocks noGrp="1"/>
          </p:cNvSpPr>
          <p:nvPr>
            <p:ph type="body" sz="quarter" idx="15" hasCustomPrompt="1"/>
          </p:nvPr>
        </p:nvSpPr>
        <p:spPr>
          <a:xfrm>
            <a:off x="417600" y="5691446"/>
            <a:ext cx="3816000" cy="296332"/>
          </a:xfrm>
        </p:spPr>
        <p:txBody>
          <a:bodyPr wrap="none"/>
          <a:lstStyle>
            <a:lvl1pPr marL="0" indent="0">
              <a:spcBef>
                <a:spcPts val="0"/>
              </a:spcBef>
              <a:buNone/>
              <a:defRPr sz="1200"/>
            </a:lvl1pPr>
            <a:lvl2pPr marL="0" indent="0">
              <a:buNone/>
              <a:defRPr sz="1200"/>
            </a:lvl2pPr>
            <a:lvl3pPr marL="0" indent="0">
              <a:buNone/>
              <a:defRPr sz="1200"/>
            </a:lvl3pPr>
            <a:lvl4pPr marL="0">
              <a:buNone/>
              <a:defRPr sz="1200"/>
            </a:lvl4pPr>
            <a:lvl5pPr marL="0" indent="0">
              <a:buNone/>
              <a:defRPr sz="1200"/>
            </a:lvl5pPr>
          </a:lstStyle>
          <a:p>
            <a:pPr lvl="0"/>
            <a:r>
              <a:rPr lang="en-US" dirty="0"/>
              <a:t>Department</a:t>
            </a:r>
          </a:p>
        </p:txBody>
      </p:sp>
    </p:spTree>
    <p:extLst>
      <p:ext uri="{BB962C8B-B14F-4D97-AF65-F5344CB8AC3E}">
        <p14:creationId xmlns:p14="http://schemas.microsoft.com/office/powerpoint/2010/main" val="19311084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Hoofdconclusie-grafiek-1">
    <p:spTree>
      <p:nvGrpSpPr>
        <p:cNvPr id="1" name=""/>
        <p:cNvGrpSpPr/>
        <p:nvPr/>
      </p:nvGrpSpPr>
      <p:grpSpPr>
        <a:xfrm>
          <a:off x="0" y="0"/>
          <a:ext cx="0" cy="0"/>
          <a:chOff x="0" y="0"/>
          <a:chExt cx="0" cy="0"/>
        </a:xfrm>
      </p:grpSpPr>
      <p:sp>
        <p:nvSpPr>
          <p:cNvPr id="20" name="Content Placeholder 7"/>
          <p:cNvSpPr>
            <a:spLocks noGrp="1"/>
          </p:cNvSpPr>
          <p:nvPr>
            <p:ph sz="quarter" idx="16"/>
          </p:nvPr>
        </p:nvSpPr>
        <p:spPr>
          <a:xfrm>
            <a:off x="431371" y="1700809"/>
            <a:ext cx="11329259" cy="3359945"/>
          </a:xfrm>
        </p:spPr>
        <p:txBody>
          <a:bodyPr/>
          <a:lstStyle>
            <a:lvl1pPr>
              <a:defRPr sz="1600"/>
            </a:lvl1pPr>
          </a:lstStyle>
          <a:p>
            <a:pPr lvl="0"/>
            <a:r>
              <a:rPr lang="en-US"/>
              <a:t>Edit Master text styles</a:t>
            </a:r>
          </a:p>
        </p:txBody>
      </p:sp>
      <p:sp>
        <p:nvSpPr>
          <p:cNvPr id="2" name="Title 1"/>
          <p:cNvSpPr>
            <a:spLocks noGrp="1"/>
          </p:cNvSpPr>
          <p:nvPr>
            <p:ph type="title" hasCustomPrompt="1"/>
          </p:nvPr>
        </p:nvSpPr>
        <p:spPr bwMode="gray"/>
        <p:txBody>
          <a:bodyPr/>
          <a:lstStyle/>
          <a:p>
            <a:r>
              <a:rPr lang="nl-NL" dirty="0"/>
              <a:t>Hoofdconclusie</a:t>
            </a:r>
            <a:endParaRPr lang="en-US" dirty="0"/>
          </a:p>
        </p:txBody>
      </p:sp>
      <p:sp>
        <p:nvSpPr>
          <p:cNvPr id="14" name="Content Placeholder 10"/>
          <p:cNvSpPr>
            <a:spLocks noGrp="1"/>
          </p:cNvSpPr>
          <p:nvPr>
            <p:ph sz="quarter" idx="14" hasCustomPrompt="1"/>
          </p:nvPr>
        </p:nvSpPr>
        <p:spPr>
          <a:xfrm>
            <a:off x="431371" y="5149691"/>
            <a:ext cx="7584843" cy="1291909"/>
          </a:xfrm>
        </p:spPr>
        <p:txBody>
          <a:bodyPr/>
          <a:lstStyle>
            <a:lvl1pPr marL="228594" indent="-228594">
              <a:spcBef>
                <a:spcPts val="400"/>
              </a:spcBef>
              <a:buFont typeface="Arial" panose="020B0604020202020204" pitchFamily="34" charset="0"/>
              <a:buChar char="•"/>
              <a:defRPr sz="1400"/>
            </a:lvl1pPr>
            <a:lvl2pPr>
              <a:defRPr sz="1400"/>
            </a:lvl2pPr>
            <a:lvl3pPr>
              <a:defRPr sz="1400"/>
            </a:lvl3pPr>
            <a:lvl4pPr>
              <a:defRPr sz="1400"/>
            </a:lvl4pPr>
            <a:lvl5pPr>
              <a:defRPr sz="1400"/>
            </a:lvl5pPr>
          </a:lstStyle>
          <a:p>
            <a:pPr marL="171450" indent="-171450">
              <a:spcBef>
                <a:spcPts val="300"/>
              </a:spcBef>
              <a:buFont typeface="Arial" panose="020B0604020202020204" pitchFamily="34" charset="0"/>
              <a:buChar char="•"/>
            </a:pPr>
            <a:r>
              <a:rPr lang="nl-NL" sz="1067" dirty="0">
                <a:cs typeface="Arial" pitchFamily="34" charset="0"/>
              </a:rPr>
              <a:t>Conclusies. </a:t>
            </a:r>
          </a:p>
        </p:txBody>
      </p:sp>
      <p:sp>
        <p:nvSpPr>
          <p:cNvPr id="19" name="Content Placeholder 12"/>
          <p:cNvSpPr>
            <a:spLocks noGrp="1"/>
          </p:cNvSpPr>
          <p:nvPr>
            <p:ph sz="quarter" idx="15" hasCustomPrompt="1"/>
          </p:nvPr>
        </p:nvSpPr>
        <p:spPr>
          <a:xfrm>
            <a:off x="8100723" y="5149691"/>
            <a:ext cx="3659907" cy="1291909"/>
          </a:xfrm>
        </p:spPr>
        <p:txBody>
          <a:bodyPr/>
          <a:lstStyle>
            <a:lvl1pPr>
              <a:spcBef>
                <a:spcPts val="400"/>
              </a:spcBef>
              <a:defRPr sz="1400"/>
            </a:lvl1pPr>
            <a:lvl2pPr>
              <a:defRPr sz="1400"/>
            </a:lvl2pPr>
            <a:lvl3pPr>
              <a:defRPr sz="1400"/>
            </a:lvl3pPr>
            <a:lvl4pPr>
              <a:defRPr sz="1400"/>
            </a:lvl4pPr>
            <a:lvl5pPr>
              <a:defRPr sz="1400"/>
            </a:lvl5pPr>
          </a:lstStyle>
          <a:p>
            <a:pPr>
              <a:spcBef>
                <a:spcPts val="300"/>
              </a:spcBef>
            </a:pPr>
            <a:r>
              <a:rPr lang="nl-NL" sz="1067" dirty="0">
                <a:cs typeface="Arial" pitchFamily="34" charset="0"/>
              </a:rPr>
              <a:t>Vraag</a:t>
            </a:r>
          </a:p>
          <a:p>
            <a:pPr>
              <a:spcBef>
                <a:spcPts val="200"/>
              </a:spcBef>
            </a:pPr>
            <a:r>
              <a:rPr lang="nl-NL" sz="1067" i="1" dirty="0">
                <a:cs typeface="Arial" pitchFamily="34" charset="0"/>
              </a:rPr>
              <a:t>Basis: Alle respondenten (n = )</a:t>
            </a:r>
          </a:p>
          <a:p>
            <a:pPr>
              <a:spcBef>
                <a:spcPts val="300"/>
              </a:spcBef>
            </a:pPr>
            <a:endParaRPr lang="nl-NL" sz="1067" dirty="0">
              <a:cs typeface="Arial" pitchFamily="34" charset="0"/>
            </a:endParaRPr>
          </a:p>
          <a:p>
            <a:pPr>
              <a:spcBef>
                <a:spcPts val="300"/>
              </a:spcBef>
            </a:pPr>
            <a:endParaRPr lang="nl-NL" sz="1067" dirty="0">
              <a:cs typeface="Arial" pitchFamily="34" charset="0"/>
            </a:endParaRPr>
          </a:p>
          <a:p>
            <a:pPr>
              <a:spcBef>
                <a:spcPts val="300"/>
              </a:spcBef>
            </a:pPr>
            <a:endParaRPr lang="nl-NL" sz="1067" dirty="0">
              <a:cs typeface="Arial" pitchFamily="34" charset="0"/>
            </a:endParaRPr>
          </a:p>
        </p:txBody>
      </p:sp>
    </p:spTree>
    <p:extLst>
      <p:ext uri="{BB962C8B-B14F-4D97-AF65-F5344CB8AC3E}">
        <p14:creationId xmlns:p14="http://schemas.microsoft.com/office/powerpoint/2010/main" val="23514298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extplatzhalter 6"/>
          <p:cNvSpPr>
            <a:spLocks noGrp="1"/>
          </p:cNvSpPr>
          <p:nvPr>
            <p:ph type="body" sz="quarter" idx="12"/>
          </p:nvPr>
        </p:nvSpPr>
        <p:spPr bwMode="gray">
          <a:xfrm>
            <a:off x="431800" y="6453189"/>
            <a:ext cx="11328400" cy="144463"/>
          </a:xfrm>
        </p:spPr>
        <p:txBody>
          <a:bodyPr tIns="0" bIns="36000" anchor="b"/>
          <a:lstStyle>
            <a:lvl1pPr marL="0" marR="0" indent="0" algn="l" defTabSz="1219170" rtl="0" eaLnBrk="1" fontAlgn="auto" latinLnBrk="0" hangingPunct="1">
              <a:lnSpc>
                <a:spcPct val="100000"/>
              </a:lnSpc>
              <a:spcBef>
                <a:spcPts val="0"/>
              </a:spcBef>
              <a:spcAft>
                <a:spcPts val="0"/>
              </a:spcAft>
              <a:buClrTx/>
              <a:buSzTx/>
              <a:buFont typeface="Arial" pitchFamily="34" charset="0"/>
              <a:buNone/>
              <a:tabLst/>
              <a:defRPr sz="1067">
                <a:solidFill>
                  <a:schemeClr val="bg2"/>
                </a:solidFill>
              </a:defRPr>
            </a:lvl1pPr>
            <a:lvl2pPr marL="0" indent="0">
              <a:spcBef>
                <a:spcPts val="400"/>
              </a:spcBef>
              <a:spcAft>
                <a:spcPts val="0"/>
              </a:spcAft>
              <a:buFont typeface="Arial" pitchFamily="34" charset="0"/>
              <a:buNone/>
              <a:defRPr sz="1200">
                <a:solidFill>
                  <a:schemeClr val="bg2"/>
                </a:solidFill>
              </a:defRPr>
            </a:lvl2pPr>
            <a:lvl3pPr marL="0" indent="0">
              <a:spcBef>
                <a:spcPts val="400"/>
              </a:spcBef>
              <a:spcAft>
                <a:spcPts val="0"/>
              </a:spcAft>
              <a:buFont typeface="Arial" pitchFamily="34" charset="0"/>
              <a:buNone/>
              <a:defRPr sz="1200">
                <a:solidFill>
                  <a:schemeClr val="bg2"/>
                </a:solidFill>
              </a:defRPr>
            </a:lvl3pPr>
            <a:lvl4pPr marL="0" indent="0">
              <a:spcBef>
                <a:spcPts val="400"/>
              </a:spcBef>
              <a:spcAft>
                <a:spcPts val="0"/>
              </a:spcAft>
              <a:buNone/>
              <a:defRPr sz="1200">
                <a:solidFill>
                  <a:schemeClr val="bg2"/>
                </a:solidFill>
              </a:defRPr>
            </a:lvl4pPr>
            <a:lvl5pPr marL="0" indent="0">
              <a:spcBef>
                <a:spcPts val="400"/>
              </a:spcBef>
              <a:spcAft>
                <a:spcPts val="0"/>
              </a:spcAft>
              <a:buNone/>
              <a:defRPr sz="1200" b="0">
                <a:solidFill>
                  <a:schemeClr val="bg2"/>
                </a:solidFill>
              </a:defRPr>
            </a:lvl5pPr>
            <a:lvl6pPr marL="0" indent="0">
              <a:spcBef>
                <a:spcPts val="400"/>
              </a:spcBef>
              <a:buFont typeface="Arial" pitchFamily="34" charset="0"/>
              <a:buNone/>
              <a:defRPr sz="1200">
                <a:solidFill>
                  <a:schemeClr val="bg2"/>
                </a:solidFill>
              </a:defRPr>
            </a:lvl6pPr>
            <a:lvl7pPr marL="0" indent="0">
              <a:spcBef>
                <a:spcPts val="400"/>
              </a:spcBef>
              <a:buFont typeface="Arial" pitchFamily="34" charset="0"/>
              <a:buNone/>
              <a:defRPr sz="1200">
                <a:solidFill>
                  <a:schemeClr val="bg2"/>
                </a:solidFill>
              </a:defRPr>
            </a:lvl7pPr>
            <a:lvl8pPr marL="0" indent="0">
              <a:spcBef>
                <a:spcPts val="400"/>
              </a:spcBef>
              <a:buFont typeface="Arial" pitchFamily="34" charset="0"/>
              <a:buNone/>
              <a:defRPr sz="1200">
                <a:solidFill>
                  <a:schemeClr val="bg2"/>
                </a:solidFill>
              </a:defRPr>
            </a:lvl8pPr>
            <a:lvl9pPr marL="0" indent="0">
              <a:spcBef>
                <a:spcPts val="400"/>
              </a:spcBef>
              <a:buFont typeface="Arial" pitchFamily="34" charset="0"/>
              <a:buNone/>
              <a:defRPr sz="1200">
                <a:solidFill>
                  <a:schemeClr val="bg2"/>
                </a:solidFill>
              </a:defRPr>
            </a:lvl9pPr>
          </a:lstStyle>
          <a:p>
            <a:pPr lvl="0"/>
            <a:r>
              <a:rPr lang="en-US" noProof="0"/>
              <a:t>Click to edit Master text styles</a:t>
            </a:r>
          </a:p>
        </p:txBody>
      </p:sp>
      <p:sp>
        <p:nvSpPr>
          <p:cNvPr id="6" name="Title 5"/>
          <p:cNvSpPr>
            <a:spLocks noGrp="1"/>
          </p:cNvSpPr>
          <p:nvPr>
            <p:ph type="title"/>
          </p:nvPr>
        </p:nvSpPr>
        <p:spPr bwMode="gray"/>
        <p:txBody>
          <a:bodyPr/>
          <a:lstStyle>
            <a:lvl1pPr>
              <a:defRPr>
                <a:latin typeface="Arial" pitchFamily="34" charset="0"/>
              </a:defRPr>
            </a:lvl1pPr>
          </a:lstStyle>
          <a:p>
            <a:r>
              <a:rPr lang="en-US"/>
              <a:t>Click to edit Master title style</a:t>
            </a:r>
            <a:endParaRPr lang="en-GB" dirty="0"/>
          </a:p>
        </p:txBody>
      </p:sp>
    </p:spTree>
    <p:extLst>
      <p:ext uri="{BB962C8B-B14F-4D97-AF65-F5344CB8AC3E}">
        <p14:creationId xmlns:p14="http://schemas.microsoft.com/office/powerpoint/2010/main" val="97666284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White and text">
    <p:spTree>
      <p:nvGrpSpPr>
        <p:cNvPr id="1" name=""/>
        <p:cNvGrpSpPr/>
        <p:nvPr/>
      </p:nvGrpSpPr>
      <p:grpSpPr>
        <a:xfrm>
          <a:off x="0" y="0"/>
          <a:ext cx="0" cy="0"/>
          <a:chOff x="0" y="0"/>
          <a:chExt cx="0" cy="0"/>
        </a:xfrm>
      </p:grpSpPr>
      <p:sp>
        <p:nvSpPr>
          <p:cNvPr id="62" name="Rechteck 61"/>
          <p:cNvSpPr/>
          <p:nvPr userDrawn="1"/>
        </p:nvSpPr>
        <p:spPr bwMode="gray">
          <a:xfrm>
            <a:off x="0" y="0"/>
            <a:ext cx="12192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marL="0" indent="0" algn="ctr">
              <a:buFont typeface="Courier New" pitchFamily="49" charset="0"/>
              <a:buNone/>
            </a:pPr>
            <a:endParaRPr lang="en-US" sz="2133" dirty="0">
              <a:solidFill>
                <a:schemeClr val="tx1"/>
              </a:solidFill>
              <a:latin typeface="Arial" pitchFamily="34" charset="0"/>
            </a:endParaRPr>
          </a:p>
        </p:txBody>
      </p:sp>
      <p:sp>
        <p:nvSpPr>
          <p:cNvPr id="2" name="Titel 1"/>
          <p:cNvSpPr>
            <a:spLocks noGrp="1"/>
          </p:cNvSpPr>
          <p:nvPr>
            <p:ph type="title" hasCustomPrompt="1"/>
          </p:nvPr>
        </p:nvSpPr>
        <p:spPr bwMode="gray">
          <a:xfrm>
            <a:off x="431801" y="1221319"/>
            <a:ext cx="11328399" cy="2685635"/>
          </a:xfrm>
        </p:spPr>
        <p:txBody>
          <a:bodyPr vert="horz" lIns="0" tIns="18000" rIns="0" bIns="0" rtlCol="0" anchor="b" anchorCtr="0">
            <a:noAutofit/>
          </a:bodyPr>
          <a:lstStyle>
            <a:lvl1pPr>
              <a:defRPr lang="de-DE" sz="4800" cap="none" baseline="0">
                <a:solidFill>
                  <a:schemeClr val="tx2"/>
                </a:solidFill>
                <a:latin typeface="Arial" pitchFamily="34" charset="0"/>
                <a:ea typeface="+mn-ea"/>
                <a:cs typeface="+mn-cs"/>
              </a:defRPr>
            </a:lvl1pPr>
          </a:lstStyle>
          <a:p>
            <a:pPr lvl="0"/>
            <a:r>
              <a:rPr lang="en-US" dirty="0"/>
              <a:t>Click to add text</a:t>
            </a:r>
          </a:p>
        </p:txBody>
      </p:sp>
    </p:spTree>
    <p:extLst>
      <p:ext uri="{BB962C8B-B14F-4D97-AF65-F5344CB8AC3E}">
        <p14:creationId xmlns:p14="http://schemas.microsoft.com/office/powerpoint/2010/main" val="225144903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80BA09E5-739C-4BFA-B167-2DB32873244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nl-NL"/>
          </a:p>
        </p:txBody>
      </p:sp>
      <p:sp>
        <p:nvSpPr>
          <p:cNvPr id="3" name="Subtitle 2">
            <a:extLst>
              <a:ext uri="{FF2B5EF4-FFF2-40B4-BE49-F238E27FC236}">
                <a16:creationId xmlns:a16="http://schemas.microsoft.com/office/drawing/2014/main" xmlns="" id="{39EFCD5B-0640-4D9D-A643-27121DF9C6C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nl-NL"/>
          </a:p>
        </p:txBody>
      </p:sp>
      <p:sp>
        <p:nvSpPr>
          <p:cNvPr id="4" name="Date Placeholder 3">
            <a:extLst>
              <a:ext uri="{FF2B5EF4-FFF2-40B4-BE49-F238E27FC236}">
                <a16:creationId xmlns:a16="http://schemas.microsoft.com/office/drawing/2014/main" xmlns="" id="{402CB3E3-DA50-47A9-995D-4AA591CA9ADB}"/>
              </a:ext>
            </a:extLst>
          </p:cNvPr>
          <p:cNvSpPr>
            <a:spLocks noGrp="1"/>
          </p:cNvSpPr>
          <p:nvPr>
            <p:ph type="dt" sz="half" idx="10"/>
          </p:nvPr>
        </p:nvSpPr>
        <p:spPr/>
        <p:txBody>
          <a:bodyPr/>
          <a:lstStyle/>
          <a:p>
            <a:fld id="{2D0C9C0A-7B34-487B-87EB-F9628C7B047D}" type="datetime1">
              <a:rPr lang="nl-NL" smtClean="0"/>
              <a:t>15-9-2020</a:t>
            </a:fld>
            <a:endParaRPr lang="nl-NL"/>
          </a:p>
        </p:txBody>
      </p:sp>
      <p:sp>
        <p:nvSpPr>
          <p:cNvPr id="5" name="Footer Placeholder 4">
            <a:extLst>
              <a:ext uri="{FF2B5EF4-FFF2-40B4-BE49-F238E27FC236}">
                <a16:creationId xmlns:a16="http://schemas.microsoft.com/office/drawing/2014/main" xmlns="" id="{5B3DB58F-DDC9-4DC6-8A96-3666CB993459}"/>
              </a:ext>
            </a:extLst>
          </p:cNvPr>
          <p:cNvSpPr>
            <a:spLocks noGrp="1"/>
          </p:cNvSpPr>
          <p:nvPr>
            <p:ph type="ftr" sz="quarter" idx="11"/>
          </p:nvPr>
        </p:nvSpPr>
        <p:spPr/>
        <p:txBody>
          <a:bodyPr/>
          <a:lstStyle/>
          <a:p>
            <a:r>
              <a:rPr lang="nl-NL"/>
              <a:t>ShoppingTomorrow 2020</a:t>
            </a:r>
          </a:p>
        </p:txBody>
      </p:sp>
      <p:sp>
        <p:nvSpPr>
          <p:cNvPr id="6" name="Slide Number Placeholder 5">
            <a:extLst>
              <a:ext uri="{FF2B5EF4-FFF2-40B4-BE49-F238E27FC236}">
                <a16:creationId xmlns:a16="http://schemas.microsoft.com/office/drawing/2014/main" xmlns="" id="{0273FAFB-45BD-4FE3-8A9B-30AFA8317D4F}"/>
              </a:ext>
            </a:extLst>
          </p:cNvPr>
          <p:cNvSpPr>
            <a:spLocks noGrp="1"/>
          </p:cNvSpPr>
          <p:nvPr>
            <p:ph type="sldNum" sz="quarter" idx="12"/>
          </p:nvPr>
        </p:nvSpPr>
        <p:spPr/>
        <p:txBody>
          <a:bodyPr/>
          <a:lstStyle/>
          <a:p>
            <a:fld id="{1066E41A-155F-428C-A707-D374180C4DAA}" type="slidenum">
              <a:rPr lang="nl-NL" smtClean="0"/>
              <a:t>‹nr.›</a:t>
            </a:fld>
            <a:endParaRPr lang="nl-NL"/>
          </a:p>
        </p:txBody>
      </p:sp>
    </p:spTree>
    <p:extLst>
      <p:ext uri="{BB962C8B-B14F-4D97-AF65-F5344CB8AC3E}">
        <p14:creationId xmlns:p14="http://schemas.microsoft.com/office/powerpoint/2010/main" val="6495098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10620A61-14F8-416E-9FEE-4513C6B3FE94}"/>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xmlns="" id="{52AD8C81-20D4-42BF-AAEB-5901B68F488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xmlns="" id="{3BE356F6-0603-436E-9B27-0A631310FF07}"/>
              </a:ext>
            </a:extLst>
          </p:cNvPr>
          <p:cNvSpPr>
            <a:spLocks noGrp="1"/>
          </p:cNvSpPr>
          <p:nvPr>
            <p:ph type="dt" sz="half" idx="10"/>
          </p:nvPr>
        </p:nvSpPr>
        <p:spPr/>
        <p:txBody>
          <a:bodyPr/>
          <a:lstStyle/>
          <a:p>
            <a:fld id="{8532869B-F54C-4D84-91AE-30C5AD0EF010}" type="datetime1">
              <a:rPr lang="nl-NL" smtClean="0"/>
              <a:t>15-9-2020</a:t>
            </a:fld>
            <a:endParaRPr lang="nl-NL"/>
          </a:p>
        </p:txBody>
      </p:sp>
      <p:sp>
        <p:nvSpPr>
          <p:cNvPr id="5" name="Footer Placeholder 4">
            <a:extLst>
              <a:ext uri="{FF2B5EF4-FFF2-40B4-BE49-F238E27FC236}">
                <a16:creationId xmlns:a16="http://schemas.microsoft.com/office/drawing/2014/main" xmlns="" id="{8CCFE63A-CE78-4744-8606-C031E762CCB0}"/>
              </a:ext>
            </a:extLst>
          </p:cNvPr>
          <p:cNvSpPr>
            <a:spLocks noGrp="1"/>
          </p:cNvSpPr>
          <p:nvPr>
            <p:ph type="ftr" sz="quarter" idx="11"/>
          </p:nvPr>
        </p:nvSpPr>
        <p:spPr/>
        <p:txBody>
          <a:bodyPr/>
          <a:lstStyle/>
          <a:p>
            <a:r>
              <a:rPr lang="nl-NL"/>
              <a:t>ShoppingTomorrow 2020</a:t>
            </a:r>
          </a:p>
        </p:txBody>
      </p:sp>
      <p:sp>
        <p:nvSpPr>
          <p:cNvPr id="6" name="Slide Number Placeholder 5">
            <a:extLst>
              <a:ext uri="{FF2B5EF4-FFF2-40B4-BE49-F238E27FC236}">
                <a16:creationId xmlns:a16="http://schemas.microsoft.com/office/drawing/2014/main" xmlns="" id="{852BB2D7-DD81-46FE-8A06-F968EA354187}"/>
              </a:ext>
            </a:extLst>
          </p:cNvPr>
          <p:cNvSpPr>
            <a:spLocks noGrp="1"/>
          </p:cNvSpPr>
          <p:nvPr>
            <p:ph type="sldNum" sz="quarter" idx="12"/>
          </p:nvPr>
        </p:nvSpPr>
        <p:spPr/>
        <p:txBody>
          <a:bodyPr/>
          <a:lstStyle/>
          <a:p>
            <a:fld id="{1066E41A-155F-428C-A707-D374180C4DAA}" type="slidenum">
              <a:rPr lang="nl-NL" smtClean="0"/>
              <a:t>‹nr.›</a:t>
            </a:fld>
            <a:endParaRPr lang="nl-NL"/>
          </a:p>
        </p:txBody>
      </p:sp>
    </p:spTree>
    <p:extLst>
      <p:ext uri="{BB962C8B-B14F-4D97-AF65-F5344CB8AC3E}">
        <p14:creationId xmlns:p14="http://schemas.microsoft.com/office/powerpoint/2010/main" val="121758220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259F60D-0A20-4700-8475-BF27097030F5}"/>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nl-NL"/>
          </a:p>
        </p:txBody>
      </p:sp>
      <p:sp>
        <p:nvSpPr>
          <p:cNvPr id="3" name="Text Placeholder 2">
            <a:extLst>
              <a:ext uri="{FF2B5EF4-FFF2-40B4-BE49-F238E27FC236}">
                <a16:creationId xmlns:a16="http://schemas.microsoft.com/office/drawing/2014/main" xmlns="" id="{3CFA5530-B111-449F-9DDA-170F0E488671}"/>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xmlns="" id="{A56724A3-59F1-4B5B-B3A6-92DE5C306480}"/>
              </a:ext>
            </a:extLst>
          </p:cNvPr>
          <p:cNvSpPr>
            <a:spLocks noGrp="1"/>
          </p:cNvSpPr>
          <p:nvPr>
            <p:ph type="dt" sz="half" idx="10"/>
          </p:nvPr>
        </p:nvSpPr>
        <p:spPr/>
        <p:txBody>
          <a:bodyPr/>
          <a:lstStyle/>
          <a:p>
            <a:fld id="{069A2131-2635-4F75-94B0-05F9C5F72EBF}" type="datetime1">
              <a:rPr lang="nl-NL" smtClean="0"/>
              <a:t>15-9-2020</a:t>
            </a:fld>
            <a:endParaRPr lang="nl-NL"/>
          </a:p>
        </p:txBody>
      </p:sp>
      <p:sp>
        <p:nvSpPr>
          <p:cNvPr id="5" name="Footer Placeholder 4">
            <a:extLst>
              <a:ext uri="{FF2B5EF4-FFF2-40B4-BE49-F238E27FC236}">
                <a16:creationId xmlns:a16="http://schemas.microsoft.com/office/drawing/2014/main" xmlns="" id="{B6C28747-7266-4A42-A093-419C8E7F4BE3}"/>
              </a:ext>
            </a:extLst>
          </p:cNvPr>
          <p:cNvSpPr>
            <a:spLocks noGrp="1"/>
          </p:cNvSpPr>
          <p:nvPr>
            <p:ph type="ftr" sz="quarter" idx="11"/>
          </p:nvPr>
        </p:nvSpPr>
        <p:spPr/>
        <p:txBody>
          <a:bodyPr/>
          <a:lstStyle/>
          <a:p>
            <a:r>
              <a:rPr lang="nl-NL"/>
              <a:t>ShoppingTomorrow 2020</a:t>
            </a:r>
          </a:p>
        </p:txBody>
      </p:sp>
      <p:sp>
        <p:nvSpPr>
          <p:cNvPr id="6" name="Slide Number Placeholder 5">
            <a:extLst>
              <a:ext uri="{FF2B5EF4-FFF2-40B4-BE49-F238E27FC236}">
                <a16:creationId xmlns:a16="http://schemas.microsoft.com/office/drawing/2014/main" xmlns="" id="{110BBD6E-E635-4740-8F93-DD421B7B94A4}"/>
              </a:ext>
            </a:extLst>
          </p:cNvPr>
          <p:cNvSpPr>
            <a:spLocks noGrp="1"/>
          </p:cNvSpPr>
          <p:nvPr>
            <p:ph type="sldNum" sz="quarter" idx="12"/>
          </p:nvPr>
        </p:nvSpPr>
        <p:spPr/>
        <p:txBody>
          <a:bodyPr/>
          <a:lstStyle/>
          <a:p>
            <a:fld id="{1066E41A-155F-428C-A707-D374180C4DAA}" type="slidenum">
              <a:rPr lang="nl-NL" smtClean="0"/>
              <a:t>‹nr.›</a:t>
            </a:fld>
            <a:endParaRPr lang="nl-NL"/>
          </a:p>
        </p:txBody>
      </p:sp>
    </p:spTree>
    <p:extLst>
      <p:ext uri="{BB962C8B-B14F-4D97-AF65-F5344CB8AC3E}">
        <p14:creationId xmlns:p14="http://schemas.microsoft.com/office/powerpoint/2010/main" val="212530424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B80A6EB-EA7B-4718-94D9-58C931E15C89}"/>
              </a:ext>
            </a:extLst>
          </p:cNvPr>
          <p:cNvSpPr>
            <a:spLocks noGrp="1"/>
          </p:cNvSpPr>
          <p:nvPr>
            <p:ph type="title"/>
          </p:nvPr>
        </p:nvSpPr>
        <p:spPr/>
        <p:txBody>
          <a:bodyPr/>
          <a:lstStyle/>
          <a:p>
            <a:r>
              <a:rPr lang="en-US"/>
              <a:t>Click to edit Master title style</a:t>
            </a:r>
            <a:endParaRPr lang="nl-NL"/>
          </a:p>
        </p:txBody>
      </p:sp>
      <p:sp>
        <p:nvSpPr>
          <p:cNvPr id="3" name="Content Placeholder 2">
            <a:extLst>
              <a:ext uri="{FF2B5EF4-FFF2-40B4-BE49-F238E27FC236}">
                <a16:creationId xmlns:a16="http://schemas.microsoft.com/office/drawing/2014/main" xmlns="" id="{387057F7-63BC-465F-8FD3-14A6867B9F22}"/>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Content Placeholder 3">
            <a:extLst>
              <a:ext uri="{FF2B5EF4-FFF2-40B4-BE49-F238E27FC236}">
                <a16:creationId xmlns:a16="http://schemas.microsoft.com/office/drawing/2014/main" xmlns="" id="{686740BC-E12C-4802-9BE5-F98AF422A363}"/>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Date Placeholder 4">
            <a:extLst>
              <a:ext uri="{FF2B5EF4-FFF2-40B4-BE49-F238E27FC236}">
                <a16:creationId xmlns:a16="http://schemas.microsoft.com/office/drawing/2014/main" xmlns="" id="{701E8362-822C-4653-8A59-C9AF2500BEED}"/>
              </a:ext>
            </a:extLst>
          </p:cNvPr>
          <p:cNvSpPr>
            <a:spLocks noGrp="1"/>
          </p:cNvSpPr>
          <p:nvPr>
            <p:ph type="dt" sz="half" idx="10"/>
          </p:nvPr>
        </p:nvSpPr>
        <p:spPr/>
        <p:txBody>
          <a:bodyPr/>
          <a:lstStyle/>
          <a:p>
            <a:fld id="{C331A5E6-E63F-4B2B-9F32-63950F977655}" type="datetime1">
              <a:rPr lang="nl-NL" smtClean="0"/>
              <a:t>15-9-2020</a:t>
            </a:fld>
            <a:endParaRPr lang="nl-NL"/>
          </a:p>
        </p:txBody>
      </p:sp>
      <p:sp>
        <p:nvSpPr>
          <p:cNvPr id="6" name="Footer Placeholder 5">
            <a:extLst>
              <a:ext uri="{FF2B5EF4-FFF2-40B4-BE49-F238E27FC236}">
                <a16:creationId xmlns:a16="http://schemas.microsoft.com/office/drawing/2014/main" xmlns="" id="{DA60D601-FC01-4BC5-892E-0841D951394D}"/>
              </a:ext>
            </a:extLst>
          </p:cNvPr>
          <p:cNvSpPr>
            <a:spLocks noGrp="1"/>
          </p:cNvSpPr>
          <p:nvPr>
            <p:ph type="ftr" sz="quarter" idx="11"/>
          </p:nvPr>
        </p:nvSpPr>
        <p:spPr/>
        <p:txBody>
          <a:bodyPr/>
          <a:lstStyle/>
          <a:p>
            <a:r>
              <a:rPr lang="nl-NL"/>
              <a:t>ShoppingTomorrow 2020</a:t>
            </a:r>
          </a:p>
        </p:txBody>
      </p:sp>
      <p:sp>
        <p:nvSpPr>
          <p:cNvPr id="7" name="Slide Number Placeholder 6">
            <a:extLst>
              <a:ext uri="{FF2B5EF4-FFF2-40B4-BE49-F238E27FC236}">
                <a16:creationId xmlns:a16="http://schemas.microsoft.com/office/drawing/2014/main" xmlns="" id="{6FD62B78-F1DD-425B-93D0-F27781534135}"/>
              </a:ext>
            </a:extLst>
          </p:cNvPr>
          <p:cNvSpPr>
            <a:spLocks noGrp="1"/>
          </p:cNvSpPr>
          <p:nvPr>
            <p:ph type="sldNum" sz="quarter" idx="12"/>
          </p:nvPr>
        </p:nvSpPr>
        <p:spPr/>
        <p:txBody>
          <a:bodyPr/>
          <a:lstStyle/>
          <a:p>
            <a:fld id="{1066E41A-155F-428C-A707-D374180C4DAA}" type="slidenum">
              <a:rPr lang="nl-NL" smtClean="0"/>
              <a:t>‹nr.›</a:t>
            </a:fld>
            <a:endParaRPr lang="nl-NL"/>
          </a:p>
        </p:txBody>
      </p:sp>
    </p:spTree>
    <p:extLst>
      <p:ext uri="{BB962C8B-B14F-4D97-AF65-F5344CB8AC3E}">
        <p14:creationId xmlns:p14="http://schemas.microsoft.com/office/powerpoint/2010/main" val="288052542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F083CED-7B4C-401F-9F42-8438C67ECA0B}"/>
              </a:ext>
            </a:extLst>
          </p:cNvPr>
          <p:cNvSpPr>
            <a:spLocks noGrp="1"/>
          </p:cNvSpPr>
          <p:nvPr>
            <p:ph type="title"/>
          </p:nvPr>
        </p:nvSpPr>
        <p:spPr>
          <a:xfrm>
            <a:off x="839788" y="365125"/>
            <a:ext cx="10515600" cy="1325563"/>
          </a:xfrm>
        </p:spPr>
        <p:txBody>
          <a:bodyPr/>
          <a:lstStyle/>
          <a:p>
            <a:r>
              <a:rPr lang="en-US"/>
              <a:t>Click to edit Master title style</a:t>
            </a:r>
            <a:endParaRPr lang="nl-NL"/>
          </a:p>
        </p:txBody>
      </p:sp>
      <p:sp>
        <p:nvSpPr>
          <p:cNvPr id="3" name="Text Placeholder 2">
            <a:extLst>
              <a:ext uri="{FF2B5EF4-FFF2-40B4-BE49-F238E27FC236}">
                <a16:creationId xmlns:a16="http://schemas.microsoft.com/office/drawing/2014/main" xmlns="" id="{1E965F88-04FB-4E91-A52A-4C012F319171}"/>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xmlns="" id="{1F3308BB-CE31-41FC-8B2C-232D5C7AB8A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5" name="Text Placeholder 4">
            <a:extLst>
              <a:ext uri="{FF2B5EF4-FFF2-40B4-BE49-F238E27FC236}">
                <a16:creationId xmlns:a16="http://schemas.microsoft.com/office/drawing/2014/main" xmlns="" id="{60C691E5-2364-4D89-9E81-215912C07DA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xmlns="" id="{DFC3AF8C-FF16-4AE8-AD80-2FD1A238AE1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7" name="Date Placeholder 6">
            <a:extLst>
              <a:ext uri="{FF2B5EF4-FFF2-40B4-BE49-F238E27FC236}">
                <a16:creationId xmlns:a16="http://schemas.microsoft.com/office/drawing/2014/main" xmlns="" id="{2C760A44-F399-4016-9871-B36A3BF00DBC}"/>
              </a:ext>
            </a:extLst>
          </p:cNvPr>
          <p:cNvSpPr>
            <a:spLocks noGrp="1"/>
          </p:cNvSpPr>
          <p:nvPr>
            <p:ph type="dt" sz="half" idx="10"/>
          </p:nvPr>
        </p:nvSpPr>
        <p:spPr/>
        <p:txBody>
          <a:bodyPr/>
          <a:lstStyle/>
          <a:p>
            <a:fld id="{1A2F8DA5-9DE7-491B-AC57-9AE845BC81E9}" type="datetime1">
              <a:rPr lang="nl-NL" smtClean="0"/>
              <a:t>15-9-2020</a:t>
            </a:fld>
            <a:endParaRPr lang="nl-NL"/>
          </a:p>
        </p:txBody>
      </p:sp>
      <p:sp>
        <p:nvSpPr>
          <p:cNvPr id="8" name="Footer Placeholder 7">
            <a:extLst>
              <a:ext uri="{FF2B5EF4-FFF2-40B4-BE49-F238E27FC236}">
                <a16:creationId xmlns:a16="http://schemas.microsoft.com/office/drawing/2014/main" xmlns="" id="{7FAB275E-5239-42D2-82F8-7A9B536B05E1}"/>
              </a:ext>
            </a:extLst>
          </p:cNvPr>
          <p:cNvSpPr>
            <a:spLocks noGrp="1"/>
          </p:cNvSpPr>
          <p:nvPr>
            <p:ph type="ftr" sz="quarter" idx="11"/>
          </p:nvPr>
        </p:nvSpPr>
        <p:spPr/>
        <p:txBody>
          <a:bodyPr/>
          <a:lstStyle/>
          <a:p>
            <a:r>
              <a:rPr lang="nl-NL"/>
              <a:t>ShoppingTomorrow 2020</a:t>
            </a:r>
          </a:p>
        </p:txBody>
      </p:sp>
      <p:sp>
        <p:nvSpPr>
          <p:cNvPr id="9" name="Slide Number Placeholder 8">
            <a:extLst>
              <a:ext uri="{FF2B5EF4-FFF2-40B4-BE49-F238E27FC236}">
                <a16:creationId xmlns:a16="http://schemas.microsoft.com/office/drawing/2014/main" xmlns="" id="{23FDABE6-059C-484B-A8C4-71C5B6655965}"/>
              </a:ext>
            </a:extLst>
          </p:cNvPr>
          <p:cNvSpPr>
            <a:spLocks noGrp="1"/>
          </p:cNvSpPr>
          <p:nvPr>
            <p:ph type="sldNum" sz="quarter" idx="12"/>
          </p:nvPr>
        </p:nvSpPr>
        <p:spPr/>
        <p:txBody>
          <a:bodyPr/>
          <a:lstStyle/>
          <a:p>
            <a:fld id="{1066E41A-155F-428C-A707-D374180C4DAA}" type="slidenum">
              <a:rPr lang="nl-NL" smtClean="0"/>
              <a:t>‹nr.›</a:t>
            </a:fld>
            <a:endParaRPr lang="nl-NL"/>
          </a:p>
        </p:txBody>
      </p:sp>
    </p:spTree>
    <p:extLst>
      <p:ext uri="{BB962C8B-B14F-4D97-AF65-F5344CB8AC3E}">
        <p14:creationId xmlns:p14="http://schemas.microsoft.com/office/powerpoint/2010/main" val="56697740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C22974A2-037C-46DA-B5B0-5F5F41F446EA}"/>
              </a:ext>
            </a:extLst>
          </p:cNvPr>
          <p:cNvSpPr>
            <a:spLocks noGrp="1"/>
          </p:cNvSpPr>
          <p:nvPr>
            <p:ph type="title"/>
          </p:nvPr>
        </p:nvSpPr>
        <p:spPr/>
        <p:txBody>
          <a:bodyPr/>
          <a:lstStyle/>
          <a:p>
            <a:r>
              <a:rPr lang="en-US"/>
              <a:t>Click to edit Master title style</a:t>
            </a:r>
            <a:endParaRPr lang="nl-NL"/>
          </a:p>
        </p:txBody>
      </p:sp>
      <p:sp>
        <p:nvSpPr>
          <p:cNvPr id="3" name="Date Placeholder 2">
            <a:extLst>
              <a:ext uri="{FF2B5EF4-FFF2-40B4-BE49-F238E27FC236}">
                <a16:creationId xmlns:a16="http://schemas.microsoft.com/office/drawing/2014/main" xmlns="" id="{0EAB14BA-B654-4026-9924-764F21002E33}"/>
              </a:ext>
            </a:extLst>
          </p:cNvPr>
          <p:cNvSpPr>
            <a:spLocks noGrp="1"/>
          </p:cNvSpPr>
          <p:nvPr>
            <p:ph type="dt" sz="half" idx="10"/>
          </p:nvPr>
        </p:nvSpPr>
        <p:spPr/>
        <p:txBody>
          <a:bodyPr/>
          <a:lstStyle/>
          <a:p>
            <a:fld id="{23420DE9-E663-4AB5-A19D-A47B5BEA0344}" type="datetime1">
              <a:rPr lang="nl-NL" smtClean="0"/>
              <a:t>15-9-2020</a:t>
            </a:fld>
            <a:endParaRPr lang="nl-NL"/>
          </a:p>
        </p:txBody>
      </p:sp>
      <p:sp>
        <p:nvSpPr>
          <p:cNvPr id="4" name="Footer Placeholder 3">
            <a:extLst>
              <a:ext uri="{FF2B5EF4-FFF2-40B4-BE49-F238E27FC236}">
                <a16:creationId xmlns:a16="http://schemas.microsoft.com/office/drawing/2014/main" xmlns="" id="{41F0664D-F04F-4A52-BF44-3FE19F086BA6}"/>
              </a:ext>
            </a:extLst>
          </p:cNvPr>
          <p:cNvSpPr>
            <a:spLocks noGrp="1"/>
          </p:cNvSpPr>
          <p:nvPr>
            <p:ph type="ftr" sz="quarter" idx="11"/>
          </p:nvPr>
        </p:nvSpPr>
        <p:spPr/>
        <p:txBody>
          <a:bodyPr/>
          <a:lstStyle/>
          <a:p>
            <a:r>
              <a:rPr lang="nl-NL"/>
              <a:t>ShoppingTomorrow 2020</a:t>
            </a:r>
          </a:p>
        </p:txBody>
      </p:sp>
      <p:sp>
        <p:nvSpPr>
          <p:cNvPr id="5" name="Slide Number Placeholder 4">
            <a:extLst>
              <a:ext uri="{FF2B5EF4-FFF2-40B4-BE49-F238E27FC236}">
                <a16:creationId xmlns:a16="http://schemas.microsoft.com/office/drawing/2014/main" xmlns="" id="{35C6A8E4-2043-4FEF-8DCE-D52E2F4BCC5A}"/>
              </a:ext>
            </a:extLst>
          </p:cNvPr>
          <p:cNvSpPr>
            <a:spLocks noGrp="1"/>
          </p:cNvSpPr>
          <p:nvPr>
            <p:ph type="sldNum" sz="quarter" idx="12"/>
          </p:nvPr>
        </p:nvSpPr>
        <p:spPr/>
        <p:txBody>
          <a:bodyPr/>
          <a:lstStyle/>
          <a:p>
            <a:fld id="{1066E41A-155F-428C-A707-D374180C4DAA}" type="slidenum">
              <a:rPr lang="nl-NL" smtClean="0"/>
              <a:t>‹nr.›</a:t>
            </a:fld>
            <a:endParaRPr lang="nl-NL"/>
          </a:p>
        </p:txBody>
      </p:sp>
    </p:spTree>
    <p:extLst>
      <p:ext uri="{BB962C8B-B14F-4D97-AF65-F5344CB8AC3E}">
        <p14:creationId xmlns:p14="http://schemas.microsoft.com/office/powerpoint/2010/main" val="22023045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xmlns="" id="{342BD230-A12A-4C57-BD88-3FF3F8826FF8}"/>
              </a:ext>
            </a:extLst>
          </p:cNvPr>
          <p:cNvSpPr>
            <a:spLocks noGrp="1"/>
          </p:cNvSpPr>
          <p:nvPr>
            <p:ph type="dt" sz="half" idx="10"/>
          </p:nvPr>
        </p:nvSpPr>
        <p:spPr/>
        <p:txBody>
          <a:bodyPr/>
          <a:lstStyle/>
          <a:p>
            <a:fld id="{1D9DA9D8-58EC-439E-9BA9-29FC16D2A4B4}" type="datetime1">
              <a:rPr lang="nl-NL" smtClean="0"/>
              <a:t>15-9-2020</a:t>
            </a:fld>
            <a:endParaRPr lang="nl-NL"/>
          </a:p>
        </p:txBody>
      </p:sp>
      <p:sp>
        <p:nvSpPr>
          <p:cNvPr id="3" name="Footer Placeholder 2">
            <a:extLst>
              <a:ext uri="{FF2B5EF4-FFF2-40B4-BE49-F238E27FC236}">
                <a16:creationId xmlns:a16="http://schemas.microsoft.com/office/drawing/2014/main" xmlns="" id="{83D1B38A-85F3-4D65-A60A-29401ABD7BF3}"/>
              </a:ext>
            </a:extLst>
          </p:cNvPr>
          <p:cNvSpPr>
            <a:spLocks noGrp="1"/>
          </p:cNvSpPr>
          <p:nvPr>
            <p:ph type="ftr" sz="quarter" idx="11"/>
          </p:nvPr>
        </p:nvSpPr>
        <p:spPr/>
        <p:txBody>
          <a:bodyPr/>
          <a:lstStyle/>
          <a:p>
            <a:r>
              <a:rPr lang="nl-NL"/>
              <a:t>ShoppingTomorrow 2020</a:t>
            </a:r>
          </a:p>
        </p:txBody>
      </p:sp>
      <p:sp>
        <p:nvSpPr>
          <p:cNvPr id="4" name="Slide Number Placeholder 3">
            <a:extLst>
              <a:ext uri="{FF2B5EF4-FFF2-40B4-BE49-F238E27FC236}">
                <a16:creationId xmlns:a16="http://schemas.microsoft.com/office/drawing/2014/main" xmlns="" id="{FB2E94DB-9273-446A-989A-534E83D15945}"/>
              </a:ext>
            </a:extLst>
          </p:cNvPr>
          <p:cNvSpPr>
            <a:spLocks noGrp="1"/>
          </p:cNvSpPr>
          <p:nvPr>
            <p:ph type="sldNum" sz="quarter" idx="12"/>
          </p:nvPr>
        </p:nvSpPr>
        <p:spPr/>
        <p:txBody>
          <a:bodyPr/>
          <a:lstStyle/>
          <a:p>
            <a:fld id="{1066E41A-155F-428C-A707-D374180C4DAA}" type="slidenum">
              <a:rPr lang="nl-NL" smtClean="0"/>
              <a:t>‹nr.›</a:t>
            </a:fld>
            <a:endParaRPr lang="nl-NL"/>
          </a:p>
        </p:txBody>
      </p:sp>
    </p:spTree>
    <p:extLst>
      <p:ext uri="{BB962C8B-B14F-4D97-AF65-F5344CB8AC3E}">
        <p14:creationId xmlns:p14="http://schemas.microsoft.com/office/powerpoint/2010/main" val="32822864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Divider 1">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1" y="0"/>
            <a:ext cx="8822478" cy="6858000"/>
          </a:xfrm>
          <a:custGeom>
            <a:avLst/>
            <a:gdLst>
              <a:gd name="connsiteX0" fmla="*/ 0 w 8822478"/>
              <a:gd name="connsiteY0" fmla="*/ 0 h 6858000"/>
              <a:gd name="connsiteX1" fmla="*/ 8477306 w 8822478"/>
              <a:gd name="connsiteY1" fmla="*/ 0 h 6858000"/>
              <a:gd name="connsiteX2" fmla="*/ 6998505 w 8822478"/>
              <a:gd name="connsiteY2" fmla="*/ 3834029 h 6858000"/>
              <a:gd name="connsiteX3" fmla="*/ 8822478 w 8822478"/>
              <a:gd name="connsiteY3" fmla="*/ 6858000 h 6858000"/>
              <a:gd name="connsiteX4" fmla="*/ 0 w 882247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22478" h="6858000">
                <a:moveTo>
                  <a:pt x="0" y="0"/>
                </a:moveTo>
                <a:lnTo>
                  <a:pt x="8477306" y="0"/>
                </a:lnTo>
                <a:lnTo>
                  <a:pt x="6998505" y="3834029"/>
                </a:lnTo>
                <a:lnTo>
                  <a:pt x="8822478" y="6858000"/>
                </a:lnTo>
                <a:lnTo>
                  <a:pt x="0" y="6858000"/>
                </a:lnTo>
                <a:close/>
              </a:path>
            </a:pathLst>
          </a:custGeom>
          <a:solidFill>
            <a:srgbClr val="D9DADB"/>
          </a:solidFill>
        </p:spPr>
        <p:txBody>
          <a:bodyPr wrap="square">
            <a:noAutofit/>
          </a:bodyPr>
          <a:lstStyle>
            <a:lvl1pPr marL="0" indent="0">
              <a:buNone/>
              <a:defRPr/>
            </a:lvl1pPr>
          </a:lstStyle>
          <a:p>
            <a:r>
              <a:rPr lang="en-US" dirty="0"/>
              <a:t>Insert picture</a:t>
            </a:r>
          </a:p>
        </p:txBody>
      </p:sp>
      <p:sp>
        <p:nvSpPr>
          <p:cNvPr id="2" name="Title 1"/>
          <p:cNvSpPr>
            <a:spLocks noGrp="1"/>
          </p:cNvSpPr>
          <p:nvPr>
            <p:ph type="title" hasCustomPrompt="1"/>
          </p:nvPr>
        </p:nvSpPr>
        <p:spPr>
          <a:xfrm>
            <a:off x="7737533" y="2908628"/>
            <a:ext cx="4082992" cy="2103640"/>
          </a:xfrm>
        </p:spPr>
        <p:txBody>
          <a:bodyPr/>
          <a:lstStyle>
            <a:lvl1pPr>
              <a:defRPr>
                <a:solidFill>
                  <a:schemeClr val="tx1"/>
                </a:solidFill>
              </a:defRPr>
            </a:lvl1pPr>
          </a:lstStyle>
          <a:p>
            <a:r>
              <a:rPr lang="en-US" dirty="0"/>
              <a:t>Click to add section title</a:t>
            </a:r>
          </a:p>
        </p:txBody>
      </p:sp>
      <p:sp>
        <p:nvSpPr>
          <p:cNvPr id="3" name="Date Placeholder 2">
            <a:extLst>
              <a:ext uri="{FF2B5EF4-FFF2-40B4-BE49-F238E27FC236}">
                <a16:creationId xmlns:a16="http://schemas.microsoft.com/office/drawing/2014/main" xmlns="" id="{4B973BA1-5B1F-4E49-9E83-4244DD0269AC}"/>
              </a:ext>
            </a:extLst>
          </p:cNvPr>
          <p:cNvSpPr>
            <a:spLocks noGrp="1"/>
          </p:cNvSpPr>
          <p:nvPr>
            <p:ph type="dt" sz="half" idx="18"/>
          </p:nvPr>
        </p:nvSpPr>
        <p:spPr/>
        <p:txBody>
          <a:bodyPr/>
          <a:lstStyle/>
          <a:p>
            <a:fld id="{212161F2-78E4-42C5-B1DE-3772B2469C01}" type="datetime1">
              <a:rPr lang="nl-NL" smtClean="0"/>
              <a:t>15-9-2020</a:t>
            </a:fld>
            <a:endParaRPr lang="en-US" dirty="0"/>
          </a:p>
        </p:txBody>
      </p:sp>
      <p:sp>
        <p:nvSpPr>
          <p:cNvPr id="4" name="Footer Placeholder 3">
            <a:extLst>
              <a:ext uri="{FF2B5EF4-FFF2-40B4-BE49-F238E27FC236}">
                <a16:creationId xmlns:a16="http://schemas.microsoft.com/office/drawing/2014/main" xmlns="" id="{3788A9CA-3570-40E2-BA0A-9DE15E90D66C}"/>
              </a:ext>
            </a:extLst>
          </p:cNvPr>
          <p:cNvSpPr>
            <a:spLocks noGrp="1"/>
          </p:cNvSpPr>
          <p:nvPr>
            <p:ph type="ftr" sz="quarter" idx="19"/>
          </p:nvPr>
        </p:nvSpPr>
        <p:spPr/>
        <p:txBody>
          <a:bodyPr/>
          <a:lstStyle/>
          <a:p>
            <a:r>
              <a:rPr lang="en-US"/>
              <a:t>ShoppingTomorrow 2020</a:t>
            </a:r>
            <a:endParaRPr lang="en-US" dirty="0"/>
          </a:p>
        </p:txBody>
      </p:sp>
      <p:sp>
        <p:nvSpPr>
          <p:cNvPr id="5" name="Slide Number Placeholder 4">
            <a:extLst>
              <a:ext uri="{FF2B5EF4-FFF2-40B4-BE49-F238E27FC236}">
                <a16:creationId xmlns:a16="http://schemas.microsoft.com/office/drawing/2014/main" xmlns="" id="{D62F6C40-0BD0-4DE2-9569-B29909867763}"/>
              </a:ext>
            </a:extLst>
          </p:cNvPr>
          <p:cNvSpPr>
            <a:spLocks noGrp="1"/>
          </p:cNvSpPr>
          <p:nvPr>
            <p:ph type="sldNum" sz="quarter" idx="20"/>
          </p:nvPr>
        </p:nvSpPr>
        <p:spPr/>
        <p:txBody>
          <a:bodyPr/>
          <a:lstStyle/>
          <a:p>
            <a:fld id="{5F3E29E4-0979-4FCA-B4C5-5FC6044C982A}" type="slidenum">
              <a:rPr lang="en-US" smtClean="0"/>
              <a:pPr/>
              <a:t>‹nr.›</a:t>
            </a:fld>
            <a:endParaRPr lang="en-US"/>
          </a:p>
        </p:txBody>
      </p:sp>
    </p:spTree>
    <p:extLst>
      <p:ext uri="{BB962C8B-B14F-4D97-AF65-F5344CB8AC3E}">
        <p14:creationId xmlns:p14="http://schemas.microsoft.com/office/powerpoint/2010/main" val="18398974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3FCF3283-A9B5-41AC-BAF5-4FF380A1E29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Content Placeholder 2">
            <a:extLst>
              <a:ext uri="{FF2B5EF4-FFF2-40B4-BE49-F238E27FC236}">
                <a16:creationId xmlns:a16="http://schemas.microsoft.com/office/drawing/2014/main" xmlns="" id="{55175CEE-4CDA-4F69-84D4-48C3D96E6935}"/>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Text Placeholder 3">
            <a:extLst>
              <a:ext uri="{FF2B5EF4-FFF2-40B4-BE49-F238E27FC236}">
                <a16:creationId xmlns:a16="http://schemas.microsoft.com/office/drawing/2014/main" xmlns="" id="{85E890DC-F43C-444C-A862-F82173D529F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8D35347C-C5C6-46AA-879C-C3CDCC374B59}"/>
              </a:ext>
            </a:extLst>
          </p:cNvPr>
          <p:cNvSpPr>
            <a:spLocks noGrp="1"/>
          </p:cNvSpPr>
          <p:nvPr>
            <p:ph type="dt" sz="half" idx="10"/>
          </p:nvPr>
        </p:nvSpPr>
        <p:spPr/>
        <p:txBody>
          <a:bodyPr/>
          <a:lstStyle/>
          <a:p>
            <a:fld id="{502701F5-A542-4E2D-844A-2687A7497B0E}" type="datetime1">
              <a:rPr lang="nl-NL" smtClean="0"/>
              <a:t>15-9-2020</a:t>
            </a:fld>
            <a:endParaRPr lang="nl-NL"/>
          </a:p>
        </p:txBody>
      </p:sp>
      <p:sp>
        <p:nvSpPr>
          <p:cNvPr id="6" name="Footer Placeholder 5">
            <a:extLst>
              <a:ext uri="{FF2B5EF4-FFF2-40B4-BE49-F238E27FC236}">
                <a16:creationId xmlns:a16="http://schemas.microsoft.com/office/drawing/2014/main" xmlns="" id="{0DF01686-DCF8-4BB7-97C9-2D382D84EBA9}"/>
              </a:ext>
            </a:extLst>
          </p:cNvPr>
          <p:cNvSpPr>
            <a:spLocks noGrp="1"/>
          </p:cNvSpPr>
          <p:nvPr>
            <p:ph type="ftr" sz="quarter" idx="11"/>
          </p:nvPr>
        </p:nvSpPr>
        <p:spPr/>
        <p:txBody>
          <a:bodyPr/>
          <a:lstStyle/>
          <a:p>
            <a:r>
              <a:rPr lang="nl-NL"/>
              <a:t>ShoppingTomorrow 2020</a:t>
            </a:r>
          </a:p>
        </p:txBody>
      </p:sp>
      <p:sp>
        <p:nvSpPr>
          <p:cNvPr id="7" name="Slide Number Placeholder 6">
            <a:extLst>
              <a:ext uri="{FF2B5EF4-FFF2-40B4-BE49-F238E27FC236}">
                <a16:creationId xmlns:a16="http://schemas.microsoft.com/office/drawing/2014/main" xmlns="" id="{4988931A-DCDE-4C4D-B739-C7DD4F71A128}"/>
              </a:ext>
            </a:extLst>
          </p:cNvPr>
          <p:cNvSpPr>
            <a:spLocks noGrp="1"/>
          </p:cNvSpPr>
          <p:nvPr>
            <p:ph type="sldNum" sz="quarter" idx="12"/>
          </p:nvPr>
        </p:nvSpPr>
        <p:spPr/>
        <p:txBody>
          <a:bodyPr/>
          <a:lstStyle/>
          <a:p>
            <a:fld id="{1066E41A-155F-428C-A707-D374180C4DAA}" type="slidenum">
              <a:rPr lang="nl-NL" smtClean="0"/>
              <a:t>‹nr.›</a:t>
            </a:fld>
            <a:endParaRPr lang="nl-NL"/>
          </a:p>
        </p:txBody>
      </p:sp>
    </p:spTree>
    <p:extLst>
      <p:ext uri="{BB962C8B-B14F-4D97-AF65-F5344CB8AC3E}">
        <p14:creationId xmlns:p14="http://schemas.microsoft.com/office/powerpoint/2010/main" val="184535313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AAE0A3E7-1FB8-407F-91ED-6C48226785F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nl-NL"/>
          </a:p>
        </p:txBody>
      </p:sp>
      <p:sp>
        <p:nvSpPr>
          <p:cNvPr id="3" name="Picture Placeholder 2">
            <a:extLst>
              <a:ext uri="{FF2B5EF4-FFF2-40B4-BE49-F238E27FC236}">
                <a16:creationId xmlns:a16="http://schemas.microsoft.com/office/drawing/2014/main" xmlns="" id="{9E45E986-6550-4E37-9858-EE122AFD2E5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nl-NL"/>
          </a:p>
        </p:txBody>
      </p:sp>
      <p:sp>
        <p:nvSpPr>
          <p:cNvPr id="4" name="Text Placeholder 3">
            <a:extLst>
              <a:ext uri="{FF2B5EF4-FFF2-40B4-BE49-F238E27FC236}">
                <a16:creationId xmlns:a16="http://schemas.microsoft.com/office/drawing/2014/main" xmlns="" id="{3C8F525E-16CC-4A53-A2C6-CA48640BB73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xmlns="" id="{62279816-89C3-4AD4-9AF6-564912EC61A8}"/>
              </a:ext>
            </a:extLst>
          </p:cNvPr>
          <p:cNvSpPr>
            <a:spLocks noGrp="1"/>
          </p:cNvSpPr>
          <p:nvPr>
            <p:ph type="dt" sz="half" idx="10"/>
          </p:nvPr>
        </p:nvSpPr>
        <p:spPr/>
        <p:txBody>
          <a:bodyPr/>
          <a:lstStyle/>
          <a:p>
            <a:fld id="{AC6EDDEE-218A-49B8-A88D-12059CA04455}" type="datetime1">
              <a:rPr lang="nl-NL" smtClean="0"/>
              <a:t>15-9-2020</a:t>
            </a:fld>
            <a:endParaRPr lang="nl-NL"/>
          </a:p>
        </p:txBody>
      </p:sp>
      <p:sp>
        <p:nvSpPr>
          <p:cNvPr id="6" name="Footer Placeholder 5">
            <a:extLst>
              <a:ext uri="{FF2B5EF4-FFF2-40B4-BE49-F238E27FC236}">
                <a16:creationId xmlns:a16="http://schemas.microsoft.com/office/drawing/2014/main" xmlns="" id="{BF422EA6-7D8C-456B-BC1B-A10E9719E893}"/>
              </a:ext>
            </a:extLst>
          </p:cNvPr>
          <p:cNvSpPr>
            <a:spLocks noGrp="1"/>
          </p:cNvSpPr>
          <p:nvPr>
            <p:ph type="ftr" sz="quarter" idx="11"/>
          </p:nvPr>
        </p:nvSpPr>
        <p:spPr/>
        <p:txBody>
          <a:bodyPr/>
          <a:lstStyle/>
          <a:p>
            <a:r>
              <a:rPr lang="nl-NL"/>
              <a:t>ShoppingTomorrow 2020</a:t>
            </a:r>
          </a:p>
        </p:txBody>
      </p:sp>
      <p:sp>
        <p:nvSpPr>
          <p:cNvPr id="7" name="Slide Number Placeholder 6">
            <a:extLst>
              <a:ext uri="{FF2B5EF4-FFF2-40B4-BE49-F238E27FC236}">
                <a16:creationId xmlns:a16="http://schemas.microsoft.com/office/drawing/2014/main" xmlns="" id="{986DE457-4557-42B0-BE52-BFE79FF86809}"/>
              </a:ext>
            </a:extLst>
          </p:cNvPr>
          <p:cNvSpPr>
            <a:spLocks noGrp="1"/>
          </p:cNvSpPr>
          <p:nvPr>
            <p:ph type="sldNum" sz="quarter" idx="12"/>
          </p:nvPr>
        </p:nvSpPr>
        <p:spPr/>
        <p:txBody>
          <a:bodyPr/>
          <a:lstStyle/>
          <a:p>
            <a:fld id="{1066E41A-155F-428C-A707-D374180C4DAA}" type="slidenum">
              <a:rPr lang="nl-NL" smtClean="0"/>
              <a:t>‹nr.›</a:t>
            </a:fld>
            <a:endParaRPr lang="nl-NL"/>
          </a:p>
        </p:txBody>
      </p:sp>
    </p:spTree>
    <p:extLst>
      <p:ext uri="{BB962C8B-B14F-4D97-AF65-F5344CB8AC3E}">
        <p14:creationId xmlns:p14="http://schemas.microsoft.com/office/powerpoint/2010/main" val="161937715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xmlns="" id="{258C4A50-6224-40AF-94B5-C2DD2FFA5A13}"/>
              </a:ext>
            </a:extLst>
          </p:cNvPr>
          <p:cNvSpPr>
            <a:spLocks noGrp="1"/>
          </p:cNvSpPr>
          <p:nvPr>
            <p:ph type="title"/>
          </p:nvPr>
        </p:nvSpPr>
        <p:spPr/>
        <p:txBody>
          <a:bodyPr/>
          <a:lstStyle/>
          <a:p>
            <a:r>
              <a:rPr lang="en-US"/>
              <a:t>Click to edit Master title style</a:t>
            </a:r>
            <a:endParaRPr lang="nl-NL"/>
          </a:p>
        </p:txBody>
      </p:sp>
      <p:sp>
        <p:nvSpPr>
          <p:cNvPr id="3" name="Vertical Text Placeholder 2">
            <a:extLst>
              <a:ext uri="{FF2B5EF4-FFF2-40B4-BE49-F238E27FC236}">
                <a16:creationId xmlns:a16="http://schemas.microsoft.com/office/drawing/2014/main" xmlns="" id="{C4EB656D-5E46-4837-831B-B0C3ABD5DA04}"/>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xmlns="" id="{CCB0A12F-9DAE-4C2C-A919-FD2829C612A4}"/>
              </a:ext>
            </a:extLst>
          </p:cNvPr>
          <p:cNvSpPr>
            <a:spLocks noGrp="1"/>
          </p:cNvSpPr>
          <p:nvPr>
            <p:ph type="dt" sz="half" idx="10"/>
          </p:nvPr>
        </p:nvSpPr>
        <p:spPr/>
        <p:txBody>
          <a:bodyPr/>
          <a:lstStyle/>
          <a:p>
            <a:fld id="{C64C7C4E-2F1D-48F3-AC29-EA9F00D939CF}" type="datetime1">
              <a:rPr lang="nl-NL" smtClean="0"/>
              <a:t>15-9-2020</a:t>
            </a:fld>
            <a:endParaRPr lang="nl-NL"/>
          </a:p>
        </p:txBody>
      </p:sp>
      <p:sp>
        <p:nvSpPr>
          <p:cNvPr id="5" name="Footer Placeholder 4">
            <a:extLst>
              <a:ext uri="{FF2B5EF4-FFF2-40B4-BE49-F238E27FC236}">
                <a16:creationId xmlns:a16="http://schemas.microsoft.com/office/drawing/2014/main" xmlns="" id="{B01A50EC-DA51-4FC1-A718-60639E18E1C7}"/>
              </a:ext>
            </a:extLst>
          </p:cNvPr>
          <p:cNvSpPr>
            <a:spLocks noGrp="1"/>
          </p:cNvSpPr>
          <p:nvPr>
            <p:ph type="ftr" sz="quarter" idx="11"/>
          </p:nvPr>
        </p:nvSpPr>
        <p:spPr/>
        <p:txBody>
          <a:bodyPr/>
          <a:lstStyle/>
          <a:p>
            <a:r>
              <a:rPr lang="nl-NL"/>
              <a:t>ShoppingTomorrow 2020</a:t>
            </a:r>
          </a:p>
        </p:txBody>
      </p:sp>
      <p:sp>
        <p:nvSpPr>
          <p:cNvPr id="6" name="Slide Number Placeholder 5">
            <a:extLst>
              <a:ext uri="{FF2B5EF4-FFF2-40B4-BE49-F238E27FC236}">
                <a16:creationId xmlns:a16="http://schemas.microsoft.com/office/drawing/2014/main" xmlns="" id="{D2118EFC-2977-4BA3-9F31-DF446DF83359}"/>
              </a:ext>
            </a:extLst>
          </p:cNvPr>
          <p:cNvSpPr>
            <a:spLocks noGrp="1"/>
          </p:cNvSpPr>
          <p:nvPr>
            <p:ph type="sldNum" sz="quarter" idx="12"/>
          </p:nvPr>
        </p:nvSpPr>
        <p:spPr/>
        <p:txBody>
          <a:bodyPr/>
          <a:lstStyle/>
          <a:p>
            <a:fld id="{1066E41A-155F-428C-A707-D374180C4DAA}" type="slidenum">
              <a:rPr lang="nl-NL" smtClean="0"/>
              <a:t>‹nr.›</a:t>
            </a:fld>
            <a:endParaRPr lang="nl-NL"/>
          </a:p>
        </p:txBody>
      </p:sp>
    </p:spTree>
    <p:extLst>
      <p:ext uri="{BB962C8B-B14F-4D97-AF65-F5344CB8AC3E}">
        <p14:creationId xmlns:p14="http://schemas.microsoft.com/office/powerpoint/2010/main" val="347522788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xmlns="" id="{08A4FA5F-3970-4A8B-90A0-CC05CC6816EB}"/>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nl-NL"/>
          </a:p>
        </p:txBody>
      </p:sp>
      <p:sp>
        <p:nvSpPr>
          <p:cNvPr id="3" name="Vertical Text Placeholder 2">
            <a:extLst>
              <a:ext uri="{FF2B5EF4-FFF2-40B4-BE49-F238E27FC236}">
                <a16:creationId xmlns:a16="http://schemas.microsoft.com/office/drawing/2014/main" xmlns="" id="{7340A8C9-E189-4A42-8106-7DA32C056291}"/>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xmlns="" id="{63B95CBD-F4D2-4736-871A-2DACAECFAF3D}"/>
              </a:ext>
            </a:extLst>
          </p:cNvPr>
          <p:cNvSpPr>
            <a:spLocks noGrp="1"/>
          </p:cNvSpPr>
          <p:nvPr>
            <p:ph type="dt" sz="half" idx="10"/>
          </p:nvPr>
        </p:nvSpPr>
        <p:spPr/>
        <p:txBody>
          <a:bodyPr/>
          <a:lstStyle/>
          <a:p>
            <a:fld id="{075A289D-093C-427F-B453-1A2E3CD1FAE4}" type="datetime1">
              <a:rPr lang="nl-NL" smtClean="0"/>
              <a:t>15-9-2020</a:t>
            </a:fld>
            <a:endParaRPr lang="nl-NL"/>
          </a:p>
        </p:txBody>
      </p:sp>
      <p:sp>
        <p:nvSpPr>
          <p:cNvPr id="5" name="Footer Placeholder 4">
            <a:extLst>
              <a:ext uri="{FF2B5EF4-FFF2-40B4-BE49-F238E27FC236}">
                <a16:creationId xmlns:a16="http://schemas.microsoft.com/office/drawing/2014/main" xmlns="" id="{0093CF79-3663-4FEF-BA79-1F5086638975}"/>
              </a:ext>
            </a:extLst>
          </p:cNvPr>
          <p:cNvSpPr>
            <a:spLocks noGrp="1"/>
          </p:cNvSpPr>
          <p:nvPr>
            <p:ph type="ftr" sz="quarter" idx="11"/>
          </p:nvPr>
        </p:nvSpPr>
        <p:spPr/>
        <p:txBody>
          <a:bodyPr/>
          <a:lstStyle/>
          <a:p>
            <a:r>
              <a:rPr lang="nl-NL"/>
              <a:t>ShoppingTomorrow 2020</a:t>
            </a:r>
          </a:p>
        </p:txBody>
      </p:sp>
      <p:sp>
        <p:nvSpPr>
          <p:cNvPr id="6" name="Slide Number Placeholder 5">
            <a:extLst>
              <a:ext uri="{FF2B5EF4-FFF2-40B4-BE49-F238E27FC236}">
                <a16:creationId xmlns:a16="http://schemas.microsoft.com/office/drawing/2014/main" xmlns="" id="{63FEAA1B-C07F-43BA-B3DC-D2BAFB7257BC}"/>
              </a:ext>
            </a:extLst>
          </p:cNvPr>
          <p:cNvSpPr>
            <a:spLocks noGrp="1"/>
          </p:cNvSpPr>
          <p:nvPr>
            <p:ph type="sldNum" sz="quarter" idx="12"/>
          </p:nvPr>
        </p:nvSpPr>
        <p:spPr/>
        <p:txBody>
          <a:bodyPr/>
          <a:lstStyle/>
          <a:p>
            <a:fld id="{1066E41A-155F-428C-A707-D374180C4DAA}" type="slidenum">
              <a:rPr lang="nl-NL" smtClean="0"/>
              <a:t>‹nr.›</a:t>
            </a:fld>
            <a:endParaRPr lang="nl-NL"/>
          </a:p>
        </p:txBody>
      </p:sp>
    </p:spTree>
    <p:extLst>
      <p:ext uri="{BB962C8B-B14F-4D97-AF65-F5344CB8AC3E}">
        <p14:creationId xmlns:p14="http://schemas.microsoft.com/office/powerpoint/2010/main" val="3195656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Divider 2">
    <p:spTree>
      <p:nvGrpSpPr>
        <p:cNvPr id="1" name=""/>
        <p:cNvGrpSpPr/>
        <p:nvPr/>
      </p:nvGrpSpPr>
      <p:grpSpPr>
        <a:xfrm>
          <a:off x="0" y="0"/>
          <a:ext cx="0" cy="0"/>
          <a:chOff x="0" y="0"/>
          <a:chExt cx="0" cy="0"/>
        </a:xfrm>
      </p:grpSpPr>
      <p:sp>
        <p:nvSpPr>
          <p:cNvPr id="4" name="shp2"/>
          <p:cNvSpPr/>
          <p:nvPr/>
        </p:nvSpPr>
        <p:spPr>
          <a:xfrm>
            <a:off x="0" y="0"/>
            <a:ext cx="121932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en-US"/>
          </a:p>
        </p:txBody>
      </p:sp>
      <p:sp>
        <p:nvSpPr>
          <p:cNvPr id="21" name="Date Placeholder 20"/>
          <p:cNvSpPr>
            <a:spLocks noGrp="1"/>
          </p:cNvSpPr>
          <p:nvPr>
            <p:ph type="dt" sz="half" idx="14"/>
          </p:nvPr>
        </p:nvSpPr>
        <p:spPr bwMode="ltGray"/>
        <p:txBody>
          <a:bodyPr/>
          <a:lstStyle>
            <a:lvl1pPr>
              <a:defRPr>
                <a:solidFill>
                  <a:schemeClr val="bg1"/>
                </a:solidFill>
              </a:defRPr>
            </a:lvl1pPr>
          </a:lstStyle>
          <a:p>
            <a:fld id="{EFD5915F-A70C-4BCA-A7EF-19C1A7B93DAB}" type="datetime1">
              <a:rPr lang="nl-NL" smtClean="0"/>
              <a:t>15-9-2020</a:t>
            </a:fld>
            <a:endParaRPr lang="en-US"/>
          </a:p>
        </p:txBody>
      </p:sp>
      <p:sp>
        <p:nvSpPr>
          <p:cNvPr id="22" name="Footer Placeholder 21"/>
          <p:cNvSpPr>
            <a:spLocks noGrp="1"/>
          </p:cNvSpPr>
          <p:nvPr>
            <p:ph type="ftr" sz="quarter" idx="15"/>
          </p:nvPr>
        </p:nvSpPr>
        <p:spPr bwMode="ltGray"/>
        <p:txBody>
          <a:bodyPr/>
          <a:lstStyle>
            <a:lvl1pPr>
              <a:defRPr>
                <a:solidFill>
                  <a:schemeClr val="bg1"/>
                </a:solidFill>
              </a:defRPr>
            </a:lvl1pPr>
          </a:lstStyle>
          <a:p>
            <a:r>
              <a:rPr lang="en-US"/>
              <a:t>ShoppingTomorrow 2020</a:t>
            </a:r>
            <a:endParaRPr lang="en-US" dirty="0"/>
          </a:p>
        </p:txBody>
      </p:sp>
      <p:sp>
        <p:nvSpPr>
          <p:cNvPr id="23" name="Slide Number Placeholder 22"/>
          <p:cNvSpPr>
            <a:spLocks noGrp="1"/>
          </p:cNvSpPr>
          <p:nvPr>
            <p:ph type="sldNum" sz="quarter" idx="16"/>
          </p:nvPr>
        </p:nvSpPr>
        <p:spPr bwMode="ltGray"/>
        <p:txBody>
          <a:bodyPr/>
          <a:lstStyle>
            <a:lvl1pPr>
              <a:defRPr>
                <a:solidFill>
                  <a:schemeClr val="bg1"/>
                </a:solidFill>
              </a:defRPr>
            </a:lvl1pPr>
          </a:lstStyle>
          <a:p>
            <a:fld id="{5F3E29E4-0979-4FCA-B4C5-5FC6044C982A}" type="slidenum">
              <a:rPr lang="en-US" smtClean="0"/>
              <a:pPr/>
              <a:t>‹nr.›</a:t>
            </a:fld>
            <a:endParaRPr lang="en-US"/>
          </a:p>
        </p:txBody>
      </p:sp>
      <p:sp>
        <p:nvSpPr>
          <p:cNvPr id="8"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solidFill>
                  <a:schemeClr val="bg1"/>
                </a:solidFill>
              </a:rPr>
              <a:t>© GfK</a:t>
            </a:r>
          </a:p>
        </p:txBody>
      </p:sp>
      <p:sp>
        <p:nvSpPr>
          <p:cNvPr id="2" name="Title 1"/>
          <p:cNvSpPr>
            <a:spLocks noGrp="1"/>
          </p:cNvSpPr>
          <p:nvPr>
            <p:ph type="title" hasCustomPrompt="1"/>
          </p:nvPr>
        </p:nvSpPr>
        <p:spPr bwMode="ltGray">
          <a:xfrm>
            <a:off x="1075062" y="1519552"/>
            <a:ext cx="10097763" cy="2273171"/>
          </a:xfrm>
        </p:spPr>
        <p:txBody>
          <a:bodyPr/>
          <a:lstStyle>
            <a:lvl1pPr>
              <a:defRPr>
                <a:solidFill>
                  <a:schemeClr val="bg1"/>
                </a:solidFill>
              </a:defRPr>
            </a:lvl1pPr>
          </a:lstStyle>
          <a:p>
            <a:r>
              <a:rPr lang="en-US" dirty="0"/>
              <a:t>Click to add section title</a:t>
            </a:r>
          </a:p>
        </p:txBody>
      </p:sp>
      <p:grpSp>
        <p:nvGrpSpPr>
          <p:cNvPr id="9" name="logo">
            <a:extLst>
              <a:ext uri="{FF2B5EF4-FFF2-40B4-BE49-F238E27FC236}">
                <a16:creationId xmlns:a16="http://schemas.microsoft.com/office/drawing/2014/main" xmlns="" id="{57BD2C4C-DC67-B843-B26C-309622FC75F7}"/>
              </a:ext>
            </a:extLst>
          </p:cNvPr>
          <p:cNvGrpSpPr>
            <a:grpSpLocks noChangeAspect="1"/>
          </p:cNvGrpSpPr>
          <p:nvPr/>
        </p:nvGrpSpPr>
        <p:grpSpPr bwMode="gray">
          <a:xfrm>
            <a:off x="11174018" y="401441"/>
            <a:ext cx="644225" cy="646507"/>
            <a:chOff x="2711" y="1027"/>
            <a:chExt cx="2258" cy="2266"/>
          </a:xfrm>
        </p:grpSpPr>
        <p:sp>
          <p:nvSpPr>
            <p:cNvPr id="11" name="AutoShape 3">
              <a:extLst>
                <a:ext uri="{FF2B5EF4-FFF2-40B4-BE49-F238E27FC236}">
                  <a16:creationId xmlns:a16="http://schemas.microsoft.com/office/drawing/2014/main" xmlns=""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2" name="Freeform 5">
              <a:extLst>
                <a:ext uri="{FF2B5EF4-FFF2-40B4-BE49-F238E27FC236}">
                  <a16:creationId xmlns:a16="http://schemas.microsoft.com/office/drawing/2014/main" xmlns=""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3" name="Freeform 6">
              <a:extLst>
                <a:ext uri="{FF2B5EF4-FFF2-40B4-BE49-F238E27FC236}">
                  <a16:creationId xmlns:a16="http://schemas.microsoft.com/office/drawing/2014/main" xmlns=""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4" name="Freeform 7">
              <a:extLst>
                <a:ext uri="{FF2B5EF4-FFF2-40B4-BE49-F238E27FC236}">
                  <a16:creationId xmlns:a16="http://schemas.microsoft.com/office/drawing/2014/main" xmlns=""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5" name="Oval 8">
              <a:extLst>
                <a:ext uri="{FF2B5EF4-FFF2-40B4-BE49-F238E27FC236}">
                  <a16:creationId xmlns:a16="http://schemas.microsoft.com/office/drawing/2014/main" xmlns=""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6" name="Freeform 9">
              <a:extLst>
                <a:ext uri="{FF2B5EF4-FFF2-40B4-BE49-F238E27FC236}">
                  <a16:creationId xmlns:a16="http://schemas.microsoft.com/office/drawing/2014/main" xmlns=""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7" name="Freeform 10">
              <a:extLst>
                <a:ext uri="{FF2B5EF4-FFF2-40B4-BE49-F238E27FC236}">
                  <a16:creationId xmlns:a16="http://schemas.microsoft.com/office/drawing/2014/main" xmlns=""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8" name="Oval 11">
              <a:extLst>
                <a:ext uri="{FF2B5EF4-FFF2-40B4-BE49-F238E27FC236}">
                  <a16:creationId xmlns:a16="http://schemas.microsoft.com/office/drawing/2014/main" xmlns=""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9" name="Freeform 12">
              <a:extLst>
                <a:ext uri="{FF2B5EF4-FFF2-40B4-BE49-F238E27FC236}">
                  <a16:creationId xmlns:a16="http://schemas.microsoft.com/office/drawing/2014/main" xmlns=""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0" name="Freeform 13">
              <a:extLst>
                <a:ext uri="{FF2B5EF4-FFF2-40B4-BE49-F238E27FC236}">
                  <a16:creationId xmlns:a16="http://schemas.microsoft.com/office/drawing/2014/main" xmlns=""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spTree>
    <p:extLst>
      <p:ext uri="{BB962C8B-B14F-4D97-AF65-F5344CB8AC3E}">
        <p14:creationId xmlns:p14="http://schemas.microsoft.com/office/powerpoint/2010/main" val="253895319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Headline only">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7CF6CE29-1B1F-4395-8A6C-6CBF0C137528}" type="datetime1">
              <a:rPr lang="nl-NL" smtClean="0"/>
              <a:t>15-9-2020</a:t>
            </a:fld>
            <a:endParaRPr lang="en-US"/>
          </a:p>
        </p:txBody>
      </p:sp>
      <p:sp>
        <p:nvSpPr>
          <p:cNvPr id="22" name="Footer Placeholder 21"/>
          <p:cNvSpPr>
            <a:spLocks noGrp="1"/>
          </p:cNvSpPr>
          <p:nvPr>
            <p:ph type="ftr" sz="quarter" idx="15"/>
          </p:nvPr>
        </p:nvSpPr>
        <p:spPr/>
        <p:txBody>
          <a:bodyPr/>
          <a:lstStyle/>
          <a:p>
            <a:r>
              <a:rPr lang="en-US"/>
              <a:t>ShoppingTomorrow 2020</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nr.›</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7561102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One content">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D8258BC3-6FB0-4BF5-8A03-704589E10802}" type="datetime1">
              <a:rPr lang="nl-NL" smtClean="0"/>
              <a:t>15-9-2020</a:t>
            </a:fld>
            <a:endParaRPr lang="en-US" dirty="0"/>
          </a:p>
        </p:txBody>
      </p:sp>
      <p:sp>
        <p:nvSpPr>
          <p:cNvPr id="22" name="Footer Placeholder 21"/>
          <p:cNvSpPr>
            <a:spLocks noGrp="1"/>
          </p:cNvSpPr>
          <p:nvPr>
            <p:ph type="ftr" sz="quarter" idx="15"/>
          </p:nvPr>
        </p:nvSpPr>
        <p:spPr/>
        <p:txBody>
          <a:bodyPr/>
          <a:lstStyle/>
          <a:p>
            <a:r>
              <a:rPr lang="en-US"/>
              <a:t>ShoppingTomorrow 2020</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nr.›</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baseline="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p:txBody>
          <a:bodyPr/>
          <a:lstStyle>
            <a:lvl1pPr>
              <a:defRPr baseline="0"/>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17"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72946202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Content and picture">
    <p:spTree>
      <p:nvGrpSpPr>
        <p:cNvPr id="1" name=""/>
        <p:cNvGrpSpPr/>
        <p:nvPr/>
      </p:nvGrpSpPr>
      <p:grpSpPr>
        <a:xfrm>
          <a:off x="0" y="0"/>
          <a:ext cx="0" cy="0"/>
          <a:chOff x="0" y="0"/>
          <a:chExt cx="0" cy="0"/>
        </a:xfrm>
      </p:grpSpPr>
      <p:sp>
        <p:nvSpPr>
          <p:cNvPr id="21" name="Date Placeholder 20"/>
          <p:cNvSpPr>
            <a:spLocks noGrp="1"/>
          </p:cNvSpPr>
          <p:nvPr>
            <p:ph type="dt" sz="half" idx="14"/>
          </p:nvPr>
        </p:nvSpPr>
        <p:spPr/>
        <p:txBody>
          <a:bodyPr/>
          <a:lstStyle/>
          <a:p>
            <a:fld id="{54580DC1-681A-4872-B202-703C7D48AF82}" type="datetime1">
              <a:rPr lang="nl-NL" smtClean="0"/>
              <a:t>15-9-2020</a:t>
            </a:fld>
            <a:endParaRPr lang="en-US"/>
          </a:p>
        </p:txBody>
      </p:sp>
      <p:sp>
        <p:nvSpPr>
          <p:cNvPr id="22" name="Footer Placeholder 21"/>
          <p:cNvSpPr>
            <a:spLocks noGrp="1"/>
          </p:cNvSpPr>
          <p:nvPr>
            <p:ph type="ftr" sz="quarter" idx="15"/>
          </p:nvPr>
        </p:nvSpPr>
        <p:spPr/>
        <p:txBody>
          <a:bodyPr/>
          <a:lstStyle/>
          <a:p>
            <a:r>
              <a:rPr lang="en-US"/>
              <a:t>ShoppingTomorrow 2020</a:t>
            </a:r>
            <a:endParaRPr lang="en-US" dirty="0"/>
          </a:p>
        </p:txBody>
      </p:sp>
      <p:sp>
        <p:nvSpPr>
          <p:cNvPr id="23" name="Slide Number Placeholder 22"/>
          <p:cNvSpPr>
            <a:spLocks noGrp="1"/>
          </p:cNvSpPr>
          <p:nvPr>
            <p:ph type="sldNum" sz="quarter" idx="16"/>
          </p:nvPr>
        </p:nvSpPr>
        <p:spPr/>
        <p:txBody>
          <a:bodyPr/>
          <a:lstStyle/>
          <a:p>
            <a:fld id="{5F3E29E4-0979-4FCA-B4C5-5FC6044C982A}" type="slidenum">
              <a:rPr lang="en-US" smtClean="0"/>
              <a:t>‹nr.›</a:t>
            </a:fld>
            <a:endParaRPr lang="en-US"/>
          </a:p>
        </p:txBody>
      </p:sp>
      <p:sp>
        <p:nvSpPr>
          <p:cNvPr id="2" name="Title 1"/>
          <p:cNvSpPr>
            <a:spLocks noGrp="1"/>
          </p:cNvSpPr>
          <p:nvPr>
            <p:ph type="title" hasCustomPrompt="1"/>
          </p:nvPr>
        </p:nvSpPr>
        <p:spPr/>
        <p:txBody>
          <a:bodyPr/>
          <a:lstStyle>
            <a:lvl1pPr>
              <a:defRPr/>
            </a:lvl1pPr>
          </a:lstStyle>
          <a:p>
            <a:r>
              <a:rPr lang="en-US" dirty="0"/>
              <a:t>Click to add slide title</a:t>
            </a:r>
          </a:p>
        </p:txBody>
      </p:sp>
      <p:sp>
        <p:nvSpPr>
          <p:cNvPr id="7" name="Subtitle 2"/>
          <p:cNvSpPr>
            <a:spLocks noGrp="1"/>
          </p:cNvSpPr>
          <p:nvPr>
            <p:ph type="subTitle" idx="13" hasCustomPrompt="1"/>
          </p:nvPr>
        </p:nvSpPr>
        <p:spPr>
          <a:xfrm>
            <a:off x="1075061" y="964671"/>
            <a:ext cx="7910158" cy="490042"/>
          </a:xfrm>
        </p:spPr>
        <p:txBody>
          <a:bodyPr wrap="none"/>
          <a:lstStyle>
            <a:lvl1pPr marL="0" indent="0" algn="l">
              <a:spcBef>
                <a:spcPts val="0"/>
              </a:spcBef>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3" name="Content Placeholder 2"/>
          <p:cNvSpPr>
            <a:spLocks noGrp="1"/>
          </p:cNvSpPr>
          <p:nvPr>
            <p:ph idx="1" hasCustomPrompt="1"/>
          </p:nvPr>
        </p:nvSpPr>
        <p:spPr>
          <a:xfrm>
            <a:off x="1075062" y="1629618"/>
            <a:ext cx="5220000" cy="4139357"/>
          </a:xfrm>
        </p:spPr>
        <p:txBody>
          <a:bodyPr/>
          <a:lstStyle>
            <a:lvl1pPr>
              <a:defRPr/>
            </a:lvl1pPr>
          </a:lstStyle>
          <a:p>
            <a:pPr lvl="0"/>
            <a:r>
              <a:rPr lang="en-US" dirty="0"/>
              <a:t>Click to add text or content</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Picture Placeholder 4"/>
          <p:cNvSpPr>
            <a:spLocks noGrp="1"/>
          </p:cNvSpPr>
          <p:nvPr>
            <p:ph type="pic" sz="quarter" idx="17" hasCustomPrompt="1"/>
          </p:nvPr>
        </p:nvSpPr>
        <p:spPr>
          <a:xfrm>
            <a:off x="6600525" y="1637783"/>
            <a:ext cx="5220000" cy="4599506"/>
          </a:xfrm>
          <a:solidFill>
            <a:srgbClr val="D9DADB"/>
          </a:solidFill>
        </p:spPr>
        <p:txBody>
          <a:bodyPr/>
          <a:lstStyle>
            <a:lvl1pPr marL="0" indent="0">
              <a:buNone/>
              <a:defRPr/>
            </a:lvl1pPr>
          </a:lstStyle>
          <a:p>
            <a:r>
              <a:rPr lang="en-US" dirty="0"/>
              <a:t>Insert picture</a:t>
            </a:r>
          </a:p>
        </p:txBody>
      </p:sp>
      <p:sp>
        <p:nvSpPr>
          <p:cNvPr id="10"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lvl1pPr>
            <a:lvl2pPr marL="0" indent="0" algn="l">
              <a:lnSpc>
                <a:spcPct val="100000"/>
              </a:lnSpc>
              <a:spcBef>
                <a:spcPts val="0"/>
              </a:spcBef>
              <a:buNone/>
              <a:defRPr sz="800"/>
            </a:lvl2pPr>
            <a:lvl3pPr marL="0" indent="0" algn="l">
              <a:lnSpc>
                <a:spcPct val="100000"/>
              </a:lnSpc>
              <a:spcBef>
                <a:spcPts val="0"/>
              </a:spcBef>
              <a:buNone/>
              <a:defRPr sz="800"/>
            </a:lvl3pPr>
            <a:lvl4pPr marL="0" algn="l">
              <a:lnSpc>
                <a:spcPct val="100000"/>
              </a:lnSpc>
              <a:spcBef>
                <a:spcPts val="0"/>
              </a:spcBef>
              <a:buNone/>
              <a:defRPr sz="800"/>
            </a:lvl4pPr>
            <a:lvl5pPr marL="0" indent="0" algn="l">
              <a:lnSpc>
                <a:spcPct val="100000"/>
              </a:lnSpc>
              <a:spcBef>
                <a:spcPts val="0"/>
              </a:spcBef>
              <a:buNone/>
              <a:defRPr sz="800"/>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698949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 with full picture">
    <p:spTree>
      <p:nvGrpSpPr>
        <p:cNvPr id="1" name=""/>
        <p:cNvGrpSpPr/>
        <p:nvPr/>
      </p:nvGrpSpPr>
      <p:grpSpPr>
        <a:xfrm>
          <a:off x="0" y="0"/>
          <a:ext cx="0" cy="0"/>
          <a:chOff x="0" y="0"/>
          <a:chExt cx="0" cy="0"/>
        </a:xfrm>
      </p:grpSpPr>
      <p:sp>
        <p:nvSpPr>
          <p:cNvPr id="12" name="Picture Placeholder 11"/>
          <p:cNvSpPr>
            <a:spLocks noGrp="1"/>
          </p:cNvSpPr>
          <p:nvPr>
            <p:ph type="pic" sz="quarter" idx="17" hasCustomPrompt="1"/>
          </p:nvPr>
        </p:nvSpPr>
        <p:spPr>
          <a:xfrm>
            <a:off x="0" y="0"/>
            <a:ext cx="12193200" cy="6858000"/>
          </a:xfrm>
          <a:prstGeom prst="rect">
            <a:avLst/>
          </a:prstGeom>
          <a:solidFill>
            <a:srgbClr val="D9DADB"/>
          </a:solidFill>
        </p:spPr>
        <p:txBody>
          <a:bodyPr wrap="square">
            <a:noAutofit/>
          </a:bodyPr>
          <a:lstStyle>
            <a:lvl1pPr marL="0" indent="0">
              <a:buNone/>
              <a:defRPr/>
            </a:lvl1pPr>
          </a:lstStyle>
          <a:p>
            <a:r>
              <a:rPr lang="en-US" dirty="0"/>
              <a:t>Insert picture</a:t>
            </a:r>
          </a:p>
        </p:txBody>
      </p:sp>
      <p:sp>
        <p:nvSpPr>
          <p:cNvPr id="9" name="copyright"/>
          <p:cNvSpPr txBox="1"/>
          <p:nvPr/>
        </p:nvSpPr>
        <p:spPr>
          <a:xfrm>
            <a:off x="10672209" y="6237288"/>
            <a:ext cx="500617" cy="358173"/>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solidFill>
                  <a:schemeClr val="bg1"/>
                </a:solidFill>
              </a:rPr>
              <a:t>© GfK</a:t>
            </a:r>
          </a:p>
        </p:txBody>
      </p:sp>
      <p:sp>
        <p:nvSpPr>
          <p:cNvPr id="21" name="Date Placeholder 20"/>
          <p:cNvSpPr>
            <a:spLocks noGrp="1"/>
          </p:cNvSpPr>
          <p:nvPr>
            <p:ph type="dt" sz="half" idx="14"/>
          </p:nvPr>
        </p:nvSpPr>
        <p:spPr/>
        <p:txBody>
          <a:bodyPr/>
          <a:lstStyle>
            <a:lvl1pPr>
              <a:defRPr>
                <a:solidFill>
                  <a:schemeClr val="bg1"/>
                </a:solidFill>
              </a:defRPr>
            </a:lvl1pPr>
          </a:lstStyle>
          <a:p>
            <a:fld id="{0F4A5582-63CE-4AE1-AE4B-49493C947F93}" type="datetime1">
              <a:rPr lang="nl-NL" smtClean="0"/>
              <a:t>15-9-2020</a:t>
            </a:fld>
            <a:endParaRPr lang="en-US"/>
          </a:p>
        </p:txBody>
      </p:sp>
      <p:sp>
        <p:nvSpPr>
          <p:cNvPr id="22" name="Footer Placeholder 21"/>
          <p:cNvSpPr>
            <a:spLocks noGrp="1"/>
          </p:cNvSpPr>
          <p:nvPr>
            <p:ph type="ftr" sz="quarter" idx="15"/>
          </p:nvPr>
        </p:nvSpPr>
        <p:spPr/>
        <p:txBody>
          <a:bodyPr/>
          <a:lstStyle>
            <a:lvl1pPr>
              <a:defRPr>
                <a:solidFill>
                  <a:schemeClr val="bg1"/>
                </a:solidFill>
              </a:defRPr>
            </a:lvl1pPr>
          </a:lstStyle>
          <a:p>
            <a:r>
              <a:rPr lang="en-US"/>
              <a:t>ShoppingTomorrow 2020</a:t>
            </a:r>
            <a:endParaRPr lang="en-US" dirty="0"/>
          </a:p>
        </p:txBody>
      </p:sp>
      <p:sp>
        <p:nvSpPr>
          <p:cNvPr id="23" name="Slide Number Placeholder 22"/>
          <p:cNvSpPr>
            <a:spLocks noGrp="1"/>
          </p:cNvSpPr>
          <p:nvPr>
            <p:ph type="sldNum" sz="quarter" idx="16"/>
          </p:nvPr>
        </p:nvSpPr>
        <p:spPr/>
        <p:txBody>
          <a:bodyPr/>
          <a:lstStyle>
            <a:lvl1pPr>
              <a:defRPr>
                <a:solidFill>
                  <a:schemeClr val="bg1"/>
                </a:solidFill>
              </a:defRPr>
            </a:lvl1pPr>
          </a:lstStyle>
          <a:p>
            <a:fld id="{5F3E29E4-0979-4FCA-B4C5-5FC6044C982A}" type="slidenum">
              <a:rPr lang="en-US" smtClean="0"/>
              <a:pPr/>
              <a:t>‹nr.›</a:t>
            </a:fld>
            <a:endParaRPr lang="en-US"/>
          </a:p>
        </p:txBody>
      </p:sp>
      <p:sp>
        <p:nvSpPr>
          <p:cNvPr id="2" name="Title 1"/>
          <p:cNvSpPr>
            <a:spLocks noGrp="1"/>
          </p:cNvSpPr>
          <p:nvPr>
            <p:ph type="title" hasCustomPrompt="1"/>
          </p:nvPr>
        </p:nvSpPr>
        <p:spPr>
          <a:xfrm>
            <a:off x="6543675" y="1519552"/>
            <a:ext cx="4629150" cy="4249423"/>
          </a:xfrm>
        </p:spPr>
        <p:txBody>
          <a:bodyPr/>
          <a:lstStyle>
            <a:lvl1pPr>
              <a:defRPr>
                <a:solidFill>
                  <a:schemeClr val="bg1"/>
                </a:solidFill>
              </a:defRPr>
            </a:lvl1pPr>
          </a:lstStyle>
          <a:p>
            <a:r>
              <a:rPr lang="en-US" dirty="0"/>
              <a:t>Click to add text</a:t>
            </a:r>
          </a:p>
        </p:txBody>
      </p:sp>
      <p:sp>
        <p:nvSpPr>
          <p:cNvPr id="8" name="Text Placeholder 4"/>
          <p:cNvSpPr>
            <a:spLocks noGrp="1"/>
          </p:cNvSpPr>
          <p:nvPr>
            <p:ph type="body" sz="quarter" idx="18" hasCustomPrompt="1"/>
          </p:nvPr>
        </p:nvSpPr>
        <p:spPr>
          <a:xfrm>
            <a:off x="1075063" y="6307665"/>
            <a:ext cx="8162717" cy="133200"/>
          </a:xfrm>
        </p:spPr>
        <p:txBody>
          <a:bodyPr lIns="0" tIns="0" rIns="0" bIns="0" anchor="b" anchorCtr="0"/>
          <a:lstStyle>
            <a:lvl1pPr marL="0" indent="0" algn="l">
              <a:lnSpc>
                <a:spcPct val="100000"/>
              </a:lnSpc>
              <a:spcBef>
                <a:spcPts val="0"/>
              </a:spcBef>
              <a:buNone/>
              <a:defRPr sz="800" baseline="0">
                <a:solidFill>
                  <a:schemeClr val="bg1"/>
                </a:solidFill>
              </a:defRPr>
            </a:lvl1pPr>
            <a:lvl2pPr marL="0" indent="0" algn="l">
              <a:lnSpc>
                <a:spcPct val="100000"/>
              </a:lnSpc>
              <a:spcBef>
                <a:spcPts val="0"/>
              </a:spcBef>
              <a:buNone/>
              <a:defRPr sz="800">
                <a:solidFill>
                  <a:schemeClr val="bg1"/>
                </a:solidFill>
              </a:defRPr>
            </a:lvl2pPr>
            <a:lvl3pPr marL="0" indent="0" algn="l">
              <a:lnSpc>
                <a:spcPct val="100000"/>
              </a:lnSpc>
              <a:spcBef>
                <a:spcPts val="0"/>
              </a:spcBef>
              <a:buNone/>
              <a:defRPr sz="800">
                <a:solidFill>
                  <a:schemeClr val="bg1"/>
                </a:solidFill>
              </a:defRPr>
            </a:lvl3pPr>
            <a:lvl4pPr marL="0" algn="l">
              <a:lnSpc>
                <a:spcPct val="100000"/>
              </a:lnSpc>
              <a:spcBef>
                <a:spcPts val="0"/>
              </a:spcBef>
              <a:buNone/>
              <a:defRPr sz="800">
                <a:solidFill>
                  <a:schemeClr val="bg1"/>
                </a:solidFill>
              </a:defRPr>
            </a:lvl4pPr>
            <a:lvl5pPr marL="0" indent="0" algn="l">
              <a:lnSpc>
                <a:spcPct val="100000"/>
              </a:lnSpc>
              <a:spcBef>
                <a:spcPts val="0"/>
              </a:spcBef>
              <a:buNone/>
              <a:defRPr sz="800">
                <a:solidFill>
                  <a:schemeClr val="bg1"/>
                </a:solidFill>
              </a:defRPr>
            </a:lvl5pPr>
          </a:lstStyle>
          <a:p>
            <a:pPr lvl="0"/>
            <a:r>
              <a:rPr lang="en-US" dirty="0"/>
              <a:t>Source line</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117332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heme" Target="../theme/theme2.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5" Type="http://schemas.openxmlformats.org/officeDocument/2006/relationships/slideLayout" Target="../slideLayouts/slideLayout37.xml"/><Relationship Id="rId10" Type="http://schemas.openxmlformats.org/officeDocument/2006/relationships/slideLayout" Target="../slideLayouts/slideLayout42.xml"/><Relationship Id="rId4" Type="http://schemas.openxmlformats.org/officeDocument/2006/relationships/slideLayout" Target="../slideLayouts/slideLayout36.xml"/><Relationship Id="rId9"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pSp>
        <p:nvGrpSpPr>
          <p:cNvPr id="13" name="logo">
            <a:extLst>
              <a:ext uri="{FF2B5EF4-FFF2-40B4-BE49-F238E27FC236}">
                <a16:creationId xmlns:a16="http://schemas.microsoft.com/office/drawing/2014/main" xmlns="" id="{57BD2C4C-DC67-B843-B26C-309622FC75F7}"/>
              </a:ext>
            </a:extLst>
          </p:cNvPr>
          <p:cNvGrpSpPr>
            <a:grpSpLocks noChangeAspect="1"/>
          </p:cNvGrpSpPr>
          <p:nvPr/>
        </p:nvGrpSpPr>
        <p:grpSpPr bwMode="gray">
          <a:xfrm>
            <a:off x="11174018" y="401441"/>
            <a:ext cx="644225" cy="646507"/>
            <a:chOff x="2711" y="1027"/>
            <a:chExt cx="2258" cy="2266"/>
          </a:xfrm>
        </p:grpSpPr>
        <p:sp>
          <p:nvSpPr>
            <p:cNvPr id="14" name="AutoShape 3">
              <a:extLst>
                <a:ext uri="{FF2B5EF4-FFF2-40B4-BE49-F238E27FC236}">
                  <a16:creationId xmlns:a16="http://schemas.microsoft.com/office/drawing/2014/main" xmlns="" id="{FE1DC41B-291E-574C-9F2C-874E70A40758}"/>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5" name="Freeform 5">
              <a:extLst>
                <a:ext uri="{FF2B5EF4-FFF2-40B4-BE49-F238E27FC236}">
                  <a16:creationId xmlns:a16="http://schemas.microsoft.com/office/drawing/2014/main" xmlns="" id="{D4B633C8-F761-C54B-9BD2-EB59D49A2DBC}"/>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6" name="Freeform 6">
              <a:extLst>
                <a:ext uri="{FF2B5EF4-FFF2-40B4-BE49-F238E27FC236}">
                  <a16:creationId xmlns:a16="http://schemas.microsoft.com/office/drawing/2014/main" xmlns="" id="{B16BAAE4-1A41-C843-9754-490F7A1E127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7" name="Freeform 7">
              <a:extLst>
                <a:ext uri="{FF2B5EF4-FFF2-40B4-BE49-F238E27FC236}">
                  <a16:creationId xmlns:a16="http://schemas.microsoft.com/office/drawing/2014/main" xmlns="" id="{2F32DCBD-8628-F245-85CD-97686A20ECFD}"/>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8" name="Oval 8">
              <a:extLst>
                <a:ext uri="{FF2B5EF4-FFF2-40B4-BE49-F238E27FC236}">
                  <a16:creationId xmlns:a16="http://schemas.microsoft.com/office/drawing/2014/main" xmlns="" id="{60D97C11-1A3B-5449-A48D-98A3E79B3810}"/>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9" name="Freeform 9">
              <a:extLst>
                <a:ext uri="{FF2B5EF4-FFF2-40B4-BE49-F238E27FC236}">
                  <a16:creationId xmlns:a16="http://schemas.microsoft.com/office/drawing/2014/main" xmlns="" id="{5856770D-B8F0-244E-A05D-AED190086F10}"/>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2" name="Freeform 10">
              <a:extLst>
                <a:ext uri="{FF2B5EF4-FFF2-40B4-BE49-F238E27FC236}">
                  <a16:creationId xmlns:a16="http://schemas.microsoft.com/office/drawing/2014/main" xmlns="" id="{2B91B16B-BC11-E547-8FAC-B9B8D18EA449}"/>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3" name="Oval 11">
              <a:extLst>
                <a:ext uri="{FF2B5EF4-FFF2-40B4-BE49-F238E27FC236}">
                  <a16:creationId xmlns:a16="http://schemas.microsoft.com/office/drawing/2014/main" xmlns="" id="{14F8C3C8-4888-7646-B9B4-64EB46A1DA23}"/>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4" name="Freeform 12">
              <a:extLst>
                <a:ext uri="{FF2B5EF4-FFF2-40B4-BE49-F238E27FC236}">
                  <a16:creationId xmlns:a16="http://schemas.microsoft.com/office/drawing/2014/main" xmlns="" id="{D79D01D1-4E3E-F34B-97D7-2D387E68746E}"/>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6" name="Freeform 13">
              <a:extLst>
                <a:ext uri="{FF2B5EF4-FFF2-40B4-BE49-F238E27FC236}">
                  <a16:creationId xmlns:a16="http://schemas.microsoft.com/office/drawing/2014/main" xmlns="" id="{46549898-6C52-B147-A8F6-A73FDBE6163B}"/>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sp>
        <p:nvSpPr>
          <p:cNvPr id="20" name="shp1">
            <a:extLst>
              <a:ext uri="{FF2B5EF4-FFF2-40B4-BE49-F238E27FC236}">
                <a16:creationId xmlns:a16="http://schemas.microsoft.com/office/drawing/2014/main" xmlns="" id="{1AD9883E-0B1C-504A-A979-9C5803172360}"/>
              </a:ext>
            </a:extLst>
          </p:cNvPr>
          <p:cNvSpPr/>
          <p:nvPr/>
        </p:nvSpPr>
        <p:spPr>
          <a:xfrm>
            <a:off x="192088" y="1"/>
            <a:ext cx="215900" cy="14493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1351"/>
          </a:p>
        </p:txBody>
      </p:sp>
      <p:sp>
        <p:nvSpPr>
          <p:cNvPr id="7" name="copyright"/>
          <p:cNvSpPr txBox="1"/>
          <p:nvPr/>
        </p:nvSpPr>
        <p:spPr>
          <a:xfrm>
            <a:off x="10672209" y="6461671"/>
            <a:ext cx="500617" cy="133790"/>
          </a:xfrm>
          <a:prstGeom prst="rect">
            <a:avLst/>
          </a:prstGeom>
          <a:noFill/>
        </p:spPr>
        <p:txBody>
          <a:bodyPr wrap="none" lIns="0" tIns="0" rIns="0" bIns="0" rtlCol="0" anchor="b" anchorCtr="0">
            <a:noAutofit/>
          </a:bodyPr>
          <a:lstStyle/>
          <a:p>
            <a:pPr marL="0" indent="0" algn="r">
              <a:lnSpc>
                <a:spcPct val="125000"/>
              </a:lnSpc>
              <a:buClr>
                <a:schemeClr val="tx2"/>
              </a:buClr>
              <a:buFont typeface="Wingdings" panose="05000000000000000000" pitchFamily="2" charset="2"/>
              <a:buNone/>
            </a:pPr>
            <a:r>
              <a:rPr lang="en-US" sz="800" dirty="0"/>
              <a:t>© GfK</a:t>
            </a:r>
          </a:p>
        </p:txBody>
      </p:sp>
      <p:sp>
        <p:nvSpPr>
          <p:cNvPr id="28" name="Date Placeholder 27"/>
          <p:cNvSpPr>
            <a:spLocks noGrp="1"/>
          </p:cNvSpPr>
          <p:nvPr>
            <p:ph type="dt" sz="half" idx="2"/>
          </p:nvPr>
        </p:nvSpPr>
        <p:spPr>
          <a:xfrm>
            <a:off x="192088" y="6461671"/>
            <a:ext cx="761512" cy="133790"/>
          </a:xfrm>
          <a:prstGeom prst="rect">
            <a:avLst/>
          </a:prstGeom>
        </p:spPr>
        <p:txBody>
          <a:bodyPr vert="horz" wrap="none" lIns="0" tIns="0" rIns="0" bIns="0" rtlCol="0" anchor="b" anchorCtr="0"/>
          <a:lstStyle>
            <a:lvl1pPr algn="r">
              <a:defRPr sz="800">
                <a:solidFill>
                  <a:schemeClr val="tx1"/>
                </a:solidFill>
              </a:defRPr>
            </a:lvl1pPr>
          </a:lstStyle>
          <a:p>
            <a:fld id="{13C6EDFA-2E0F-4B57-9058-4DA7F107AA96}" type="datetime1">
              <a:rPr lang="nl-NL" smtClean="0"/>
              <a:t>15-9-2020</a:t>
            </a:fld>
            <a:endParaRPr lang="en-US" dirty="0"/>
          </a:p>
        </p:txBody>
      </p:sp>
      <p:sp>
        <p:nvSpPr>
          <p:cNvPr id="29" name="Footer Placeholder 28"/>
          <p:cNvSpPr>
            <a:spLocks noGrp="1"/>
          </p:cNvSpPr>
          <p:nvPr>
            <p:ph type="ftr" sz="quarter" idx="3"/>
          </p:nvPr>
        </p:nvSpPr>
        <p:spPr>
          <a:xfrm>
            <a:off x="1076400" y="6461671"/>
            <a:ext cx="8162717" cy="133790"/>
          </a:xfrm>
          <a:prstGeom prst="rect">
            <a:avLst/>
          </a:prstGeom>
        </p:spPr>
        <p:txBody>
          <a:bodyPr vert="horz" lIns="0" tIns="0" rIns="0" bIns="0" rtlCol="0" anchor="b" anchorCtr="0"/>
          <a:lstStyle>
            <a:lvl1pPr marL="144000" indent="-144000" algn="l">
              <a:buClr>
                <a:schemeClr val="tx2"/>
              </a:buClr>
              <a:buFont typeface="Wingdings" panose="05000000000000000000" pitchFamily="2" charset="2"/>
              <a:buChar char="§"/>
              <a:defRPr sz="800">
                <a:solidFill>
                  <a:schemeClr val="tx1"/>
                </a:solidFill>
              </a:defRPr>
            </a:lvl1pPr>
          </a:lstStyle>
          <a:p>
            <a:r>
              <a:rPr lang="en-US"/>
              <a:t>ShoppingTomorrow 2020</a:t>
            </a:r>
            <a:endParaRPr lang="en-US" dirty="0"/>
          </a:p>
        </p:txBody>
      </p:sp>
      <p:sp>
        <p:nvSpPr>
          <p:cNvPr id="30" name="Slide Number Placeholder 29"/>
          <p:cNvSpPr>
            <a:spLocks noGrp="1"/>
          </p:cNvSpPr>
          <p:nvPr>
            <p:ph type="sldNum" sz="quarter" idx="4"/>
          </p:nvPr>
        </p:nvSpPr>
        <p:spPr>
          <a:xfrm>
            <a:off x="11186669" y="6461671"/>
            <a:ext cx="648000" cy="133790"/>
          </a:xfrm>
          <a:prstGeom prst="rect">
            <a:avLst/>
          </a:prstGeom>
        </p:spPr>
        <p:txBody>
          <a:bodyPr vert="horz" lIns="0" tIns="0" rIns="0" bIns="0" rtlCol="0" anchor="b" anchorCtr="0"/>
          <a:lstStyle>
            <a:lvl1pPr algn="r">
              <a:defRPr sz="800">
                <a:solidFill>
                  <a:schemeClr val="tx1"/>
                </a:solidFill>
              </a:defRPr>
            </a:lvl1pPr>
          </a:lstStyle>
          <a:p>
            <a:fld id="{5F3E29E4-0979-4FCA-B4C5-5FC6044C982A}" type="slidenum">
              <a:rPr lang="en-US" smtClean="0"/>
              <a:pPr/>
              <a:t>‹nr.›</a:t>
            </a:fld>
            <a:endParaRPr lang="en-US"/>
          </a:p>
        </p:txBody>
      </p:sp>
      <p:sp>
        <p:nvSpPr>
          <p:cNvPr id="2" name="Title Placeholder 1"/>
          <p:cNvSpPr>
            <a:spLocks noGrp="1"/>
          </p:cNvSpPr>
          <p:nvPr>
            <p:ph type="title"/>
          </p:nvPr>
        </p:nvSpPr>
        <p:spPr>
          <a:xfrm>
            <a:off x="1075061" y="288922"/>
            <a:ext cx="7910158" cy="648000"/>
          </a:xfrm>
          <a:prstGeom prst="rect">
            <a:avLst/>
          </a:prstGeom>
        </p:spPr>
        <p:txBody>
          <a:bodyPr vert="horz" lIns="0" tIns="0" rIns="0" bIns="0" rtlCol="0" anchor="t">
            <a:noAutofit/>
          </a:bodyPr>
          <a:lstStyle/>
          <a:p>
            <a:r>
              <a:rPr lang="en-US"/>
              <a:t>Click to edit Master title style</a:t>
            </a:r>
            <a:endParaRPr lang="en-US" dirty="0"/>
          </a:p>
        </p:txBody>
      </p:sp>
      <p:sp>
        <p:nvSpPr>
          <p:cNvPr id="3" name="Text Placeholder 2"/>
          <p:cNvSpPr>
            <a:spLocks noGrp="1"/>
          </p:cNvSpPr>
          <p:nvPr>
            <p:ph type="body" idx="1"/>
          </p:nvPr>
        </p:nvSpPr>
        <p:spPr>
          <a:xfrm>
            <a:off x="1075062" y="1629618"/>
            <a:ext cx="10097764" cy="4139357"/>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21" name="Picture 20">
            <a:extLst>
              <a:ext uri="{FF2B5EF4-FFF2-40B4-BE49-F238E27FC236}">
                <a16:creationId xmlns:a16="http://schemas.microsoft.com/office/drawing/2014/main" xmlns="" id="{5ACC0FBD-BD01-4627-92B5-0DD0C39850A4}"/>
              </a:ext>
            </a:extLst>
          </p:cNvPr>
          <p:cNvPicPr>
            <a:picLocks noChangeAspect="1"/>
          </p:cNvPicPr>
          <p:nvPr userDrawn="1"/>
        </p:nvPicPr>
        <p:blipFill>
          <a:blip r:embed="rId34"/>
          <a:stretch>
            <a:fillRect/>
          </a:stretch>
        </p:blipFill>
        <p:spPr>
          <a:xfrm>
            <a:off x="10370170" y="401441"/>
            <a:ext cx="645366" cy="645366"/>
          </a:xfrm>
          <a:prstGeom prst="rect">
            <a:avLst/>
          </a:prstGeom>
        </p:spPr>
      </p:pic>
    </p:spTree>
    <p:extLst>
      <p:ext uri="{BB962C8B-B14F-4D97-AF65-F5344CB8AC3E}">
        <p14:creationId xmlns:p14="http://schemas.microsoft.com/office/powerpoint/2010/main" val="3262029566"/>
      </p:ext>
    </p:extLst>
  </p:cSld>
  <p:clrMap bg1="lt1" tx1="dk1" bg2="lt2" tx2="dk2" accent1="accent1" accent2="accent2" accent3="accent3" accent4="accent4" accent5="accent5" accent6="accent6" hlink="hlink" folHlink="folHlink"/>
  <p:sldLayoutIdLst>
    <p:sldLayoutId id="2147483682" r:id="rId1"/>
    <p:sldLayoutId id="2147483669" r:id="rId2"/>
    <p:sldLayoutId id="2147483649" r:id="rId3"/>
    <p:sldLayoutId id="2147483666" r:id="rId4"/>
    <p:sldLayoutId id="2147483662" r:id="rId5"/>
    <p:sldLayoutId id="2147483668" r:id="rId6"/>
    <p:sldLayoutId id="2147483650" r:id="rId7"/>
    <p:sldLayoutId id="2147483660" r:id="rId8"/>
    <p:sldLayoutId id="2147483664" r:id="rId9"/>
    <p:sldLayoutId id="2147483661" r:id="rId10"/>
    <p:sldLayoutId id="2147483670" r:id="rId11"/>
    <p:sldLayoutId id="2147483671" r:id="rId12"/>
    <p:sldLayoutId id="2147483674" r:id="rId13"/>
    <p:sldLayoutId id="2147483675" r:id="rId14"/>
    <p:sldLayoutId id="2147483673" r:id="rId15"/>
    <p:sldLayoutId id="2147483677" r:id="rId16"/>
    <p:sldLayoutId id="2147483676" r:id="rId17"/>
    <p:sldLayoutId id="2147483683" r:id="rId18"/>
    <p:sldLayoutId id="2147483684" r:id="rId19"/>
    <p:sldLayoutId id="2147483681" r:id="rId20"/>
    <p:sldLayoutId id="2147483678" r:id="rId21"/>
    <p:sldLayoutId id="2147483679" r:id="rId22"/>
    <p:sldLayoutId id="2147483680" r:id="rId23"/>
    <p:sldLayoutId id="2147483667" r:id="rId24"/>
    <p:sldLayoutId id="2147483655" r:id="rId25"/>
    <p:sldLayoutId id="2147483658" r:id="rId26"/>
    <p:sldLayoutId id="2147483659" r:id="rId27"/>
    <p:sldLayoutId id="2147483686" r:id="rId28"/>
    <p:sldLayoutId id="2147483700" r:id="rId29"/>
    <p:sldLayoutId id="2147483701" r:id="rId30"/>
    <p:sldLayoutId id="2147483702" r:id="rId31"/>
    <p:sldLayoutId id="2147483704" r:id="rId32"/>
  </p:sldLayoutIdLst>
  <p:hf hdr="0" dt="0"/>
  <p:txStyles>
    <p:titleStyle>
      <a:lvl1pPr algn="l" defTabSz="914400" rtl="0" eaLnBrk="1" latinLnBrk="0" hangingPunct="1">
        <a:lnSpc>
          <a:spcPct val="100000"/>
        </a:lnSpc>
        <a:spcBef>
          <a:spcPct val="0"/>
        </a:spcBef>
        <a:buNone/>
        <a:defRPr sz="3600" kern="1200">
          <a:solidFill>
            <a:schemeClr val="tx1"/>
          </a:solidFill>
          <a:latin typeface="+mj-lt"/>
          <a:ea typeface="+mj-ea"/>
          <a:cs typeface="+mj-cs"/>
        </a:defRPr>
      </a:lvl1pPr>
    </p:titleStyle>
    <p:bodyStyle>
      <a:lvl1pPr marL="252000" indent="-252000" algn="l" defTabSz="914400" rtl="0" eaLnBrk="1" latinLnBrk="0" hangingPunct="1">
        <a:lnSpc>
          <a:spcPct val="110000"/>
        </a:lnSpc>
        <a:spcBef>
          <a:spcPts val="1000"/>
        </a:spcBef>
        <a:buClr>
          <a:schemeClr val="tx2"/>
        </a:buClr>
        <a:buFont typeface="Wingdings" panose="05000000000000000000" pitchFamily="2" charset="2"/>
        <a:buChar char="§"/>
        <a:defRPr sz="2800" kern="1200">
          <a:solidFill>
            <a:schemeClr val="tx1"/>
          </a:solidFill>
          <a:latin typeface="+mn-lt"/>
          <a:ea typeface="+mn-ea"/>
          <a:cs typeface="+mn-cs"/>
        </a:defRPr>
      </a:lvl1pPr>
      <a:lvl2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2400" kern="1200">
          <a:solidFill>
            <a:schemeClr val="tx1"/>
          </a:solidFill>
          <a:latin typeface="+mn-lt"/>
          <a:ea typeface="+mn-ea"/>
          <a:cs typeface="+mn-cs"/>
        </a:defRPr>
      </a:lvl2pPr>
      <a:lvl3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2000" kern="1200">
          <a:solidFill>
            <a:schemeClr val="tx1"/>
          </a:solidFill>
          <a:latin typeface="+mn-lt"/>
          <a:ea typeface="+mn-ea"/>
          <a:cs typeface="+mn-cs"/>
        </a:defRPr>
      </a:lvl3pPr>
      <a:lvl4pPr marL="0" indent="0" algn="l" defTabSz="914400" rtl="0" eaLnBrk="1" latinLnBrk="0" hangingPunct="1">
        <a:lnSpc>
          <a:spcPct val="110000"/>
        </a:lnSpc>
        <a:spcBef>
          <a:spcPts val="600"/>
        </a:spcBef>
        <a:buClr>
          <a:schemeClr val="tx2"/>
        </a:buClr>
        <a:buFont typeface="Lato" panose="020F0502020204030203" pitchFamily="34" charset="0"/>
        <a:buChar char="​"/>
        <a:defRPr sz="1600" kern="1200">
          <a:solidFill>
            <a:schemeClr val="tx1"/>
          </a:solidFill>
          <a:latin typeface="+mn-lt"/>
          <a:ea typeface="+mn-ea"/>
          <a:cs typeface="+mn-cs"/>
        </a:defRPr>
      </a:lvl4pPr>
      <a:lvl5pPr marL="25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5pPr>
      <a:lvl6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6pPr>
      <a:lvl7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51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944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319">
          <p15:clr>
            <a:srgbClr val="5ACBF0"/>
          </p15:clr>
        </p15:guide>
        <p15:guide id="3" pos="257">
          <p15:clr>
            <a:srgbClr val="5ACBF0"/>
          </p15:clr>
        </p15:guide>
        <p15:guide id="4" pos="675" userDrawn="1">
          <p15:clr>
            <a:srgbClr val="5ACBF0"/>
          </p15:clr>
        </p15:guide>
        <p15:guide id="5" pos="7038">
          <p15:clr>
            <a:srgbClr val="5ACBF0"/>
          </p15:clr>
        </p15:guide>
        <p15:guide id="6" pos="7446">
          <p15:clr>
            <a:srgbClr val="5ACBF0"/>
          </p15:clr>
        </p15:guide>
        <p15:guide id="7" orient="horz" pos="255">
          <p15:clr>
            <a:srgbClr val="5ACBF0"/>
          </p15:clr>
        </p15:guide>
        <p15:guide id="8" orient="horz" pos="663">
          <p15:clr>
            <a:srgbClr val="5ACBF0"/>
          </p15:clr>
        </p15:guide>
        <p15:guide id="9" orient="horz" pos="799">
          <p15:clr>
            <a:srgbClr val="5ACBF0"/>
          </p15:clr>
        </p15:guide>
        <p15:guide id="10" orient="horz" pos="1026">
          <p15:clr>
            <a:srgbClr val="5ACBF0"/>
          </p15:clr>
        </p15:guide>
        <p15:guide id="11" orient="horz" pos="3634">
          <p15:clr>
            <a:srgbClr val="5ACBF0"/>
          </p15:clr>
        </p15:guide>
        <p15:guide id="12" orient="horz" pos="3929">
          <p15:clr>
            <a:srgbClr val="5ACBF0"/>
          </p15:clr>
        </p15:guide>
        <p15:guide id="13" orient="horz" pos="4133">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xmlns="" id="{671B469E-A304-4DC5-8F27-FE24A932CDF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nl-NL"/>
          </a:p>
        </p:txBody>
      </p:sp>
      <p:sp>
        <p:nvSpPr>
          <p:cNvPr id="3" name="Text Placeholder 2">
            <a:extLst>
              <a:ext uri="{FF2B5EF4-FFF2-40B4-BE49-F238E27FC236}">
                <a16:creationId xmlns:a16="http://schemas.microsoft.com/office/drawing/2014/main" xmlns="" id="{DCF963CE-9DB3-4402-93DF-4B715454C90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4" name="Date Placeholder 3">
            <a:extLst>
              <a:ext uri="{FF2B5EF4-FFF2-40B4-BE49-F238E27FC236}">
                <a16:creationId xmlns:a16="http://schemas.microsoft.com/office/drawing/2014/main" xmlns="" id="{EF508C12-8E8D-47C6-B49D-B63890C7A2B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E83426A-4C5F-45F3-A631-03DDE30BC269}" type="datetime1">
              <a:rPr lang="nl-NL" smtClean="0"/>
              <a:t>15-9-2020</a:t>
            </a:fld>
            <a:endParaRPr lang="nl-NL"/>
          </a:p>
        </p:txBody>
      </p:sp>
      <p:sp>
        <p:nvSpPr>
          <p:cNvPr id="5" name="Footer Placeholder 4">
            <a:extLst>
              <a:ext uri="{FF2B5EF4-FFF2-40B4-BE49-F238E27FC236}">
                <a16:creationId xmlns:a16="http://schemas.microsoft.com/office/drawing/2014/main" xmlns="" id="{29721E4D-52CB-4BB1-BD08-883B65D1089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nl-NL"/>
              <a:t>ShoppingTomorrow 2020</a:t>
            </a:r>
          </a:p>
        </p:txBody>
      </p:sp>
      <p:sp>
        <p:nvSpPr>
          <p:cNvPr id="6" name="Slide Number Placeholder 5">
            <a:extLst>
              <a:ext uri="{FF2B5EF4-FFF2-40B4-BE49-F238E27FC236}">
                <a16:creationId xmlns:a16="http://schemas.microsoft.com/office/drawing/2014/main" xmlns="" id="{56B51022-04E5-4C91-8EA3-C75916E6F57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066E41A-155F-428C-A707-D374180C4DAA}" type="slidenum">
              <a:rPr lang="nl-NL" smtClean="0"/>
              <a:t>‹nr.›</a:t>
            </a:fld>
            <a:endParaRPr lang="nl-NL"/>
          </a:p>
        </p:txBody>
      </p:sp>
    </p:spTree>
    <p:extLst>
      <p:ext uri="{BB962C8B-B14F-4D97-AF65-F5344CB8AC3E}">
        <p14:creationId xmlns:p14="http://schemas.microsoft.com/office/powerpoint/2010/main" val="3906663698"/>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7.png"/><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tags" Target="../tags/tag43.xml"/><Relationship Id="rId13" Type="http://schemas.openxmlformats.org/officeDocument/2006/relationships/tags" Target="../tags/tag48.xml"/><Relationship Id="rId3" Type="http://schemas.openxmlformats.org/officeDocument/2006/relationships/tags" Target="../tags/tag38.xm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notesSlide" Target="../notesSlides/notesSlide8.xml"/><Relationship Id="rId2" Type="http://schemas.openxmlformats.org/officeDocument/2006/relationships/tags" Target="../tags/tag37.xml"/><Relationship Id="rId16" Type="http://schemas.openxmlformats.org/officeDocument/2006/relationships/slideLayout" Target="../slideLayouts/slideLayout7.xml"/><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5" Type="http://schemas.openxmlformats.org/officeDocument/2006/relationships/tags" Target="../tags/tag40.xml"/><Relationship Id="rId15" Type="http://schemas.openxmlformats.org/officeDocument/2006/relationships/tags" Target="../tags/tag50.xml"/><Relationship Id="rId10" Type="http://schemas.openxmlformats.org/officeDocument/2006/relationships/tags" Target="../tags/tag45.xml"/><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s>
</file>

<file path=ppt/slides/_rels/slide11.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9.xml"/><Relationship Id="rId7" Type="http://schemas.openxmlformats.org/officeDocument/2006/relationships/image" Target="../media/image22.jpg"/><Relationship Id="rId2" Type="http://schemas.openxmlformats.org/officeDocument/2006/relationships/slideLayout" Target="../slideLayouts/slideLayout7.xml"/><Relationship Id="rId1" Type="http://schemas.openxmlformats.org/officeDocument/2006/relationships/vmlDrawing" Target="../drawings/vmlDrawing4.v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emf"/><Relationship Id="rId10" Type="http://schemas.openxmlformats.org/officeDocument/2006/relationships/image" Target="../media/image25.png"/><Relationship Id="rId4" Type="http://schemas.openxmlformats.org/officeDocument/2006/relationships/oleObject" Target="file:///\\gfk.com\netherlands\projects\Projecten\756749%20Shopping%20Tomorrow%202020\4.%20Data%20Processing\Graphs\Shopping%20Tomorrow%20Grafieken%202020.xlsm!E01!%5bShopping%20Tomorrow%20Grafieken%202020.xlsm%5dE01%20Chart%205" TargetMode="External"/><Relationship Id="rId9"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2.xml"/><Relationship Id="rId1" Type="http://schemas.openxmlformats.org/officeDocument/2006/relationships/tags" Target="../tags/tag51.xml"/><Relationship Id="rId6" Type="http://schemas.openxmlformats.org/officeDocument/2006/relationships/image" Target="../media/image27.png"/><Relationship Id="rId5" Type="http://schemas.openxmlformats.org/officeDocument/2006/relationships/image" Target="../media/image1.png"/><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tags" Target="../tags/tag55.xml"/><Relationship Id="rId7" Type="http://schemas.openxmlformats.org/officeDocument/2006/relationships/image" Target="../media/image28.png"/><Relationship Id="rId2" Type="http://schemas.openxmlformats.org/officeDocument/2006/relationships/tags" Target="../tags/tag54.xml"/><Relationship Id="rId1" Type="http://schemas.openxmlformats.org/officeDocument/2006/relationships/tags" Target="../tags/tag53.xml"/><Relationship Id="rId6" Type="http://schemas.openxmlformats.org/officeDocument/2006/relationships/notesSlide" Target="../notesSlides/notesSlide11.xml"/><Relationship Id="rId11" Type="http://schemas.openxmlformats.org/officeDocument/2006/relationships/chart" Target="../charts/chart2.xml"/><Relationship Id="rId5" Type="http://schemas.openxmlformats.org/officeDocument/2006/relationships/slideLayout" Target="../slideLayouts/slideLayout7.xml"/><Relationship Id="rId10" Type="http://schemas.openxmlformats.org/officeDocument/2006/relationships/chart" Target="../charts/chart1.xml"/><Relationship Id="rId4" Type="http://schemas.openxmlformats.org/officeDocument/2006/relationships/tags" Target="../tags/tag56.xml"/><Relationship Id="rId9" Type="http://schemas.openxmlformats.org/officeDocument/2006/relationships/image" Target="../media/image30.png"/></Relationships>
</file>

<file path=ppt/slides/_rels/slide14.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59.xml"/><Relationship Id="rId7" Type="http://schemas.openxmlformats.org/officeDocument/2006/relationships/notesSlide" Target="../notesSlides/notesSlide12.xml"/><Relationship Id="rId2" Type="http://schemas.openxmlformats.org/officeDocument/2006/relationships/tags" Target="../tags/tag58.xml"/><Relationship Id="rId1" Type="http://schemas.openxmlformats.org/officeDocument/2006/relationships/tags" Target="../tags/tag57.xml"/><Relationship Id="rId6" Type="http://schemas.openxmlformats.org/officeDocument/2006/relationships/slideLayout" Target="../slideLayouts/slideLayout4.xml"/><Relationship Id="rId5" Type="http://schemas.openxmlformats.org/officeDocument/2006/relationships/tags" Target="../tags/tag61.xml"/><Relationship Id="rId4" Type="http://schemas.openxmlformats.org/officeDocument/2006/relationships/tags" Target="../tags/tag60.xml"/><Relationship Id="rId9" Type="http://schemas.openxmlformats.org/officeDocument/2006/relationships/image" Target="../media/image11.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vmlDrawing" Target="../drawings/vmlDrawing5.vml"/><Relationship Id="rId6" Type="http://schemas.openxmlformats.org/officeDocument/2006/relationships/chart" Target="../charts/chart3.xml"/><Relationship Id="rId5" Type="http://schemas.openxmlformats.org/officeDocument/2006/relationships/image" Target="../media/image31.emf"/><Relationship Id="rId4" Type="http://schemas.openxmlformats.org/officeDocument/2006/relationships/oleObject" Target="file:///\\gfk.com\netherlands\projects\Projecten\756749%20Shopping%20Tomorrow%202020\4.%20Data%20Processing\Graphs\Shopping%20Tomorrow%20Grafieken%202020.xlsm!B02!%5bShopping%20Tomorrow%20Grafieken%202020.xlsm%5dB02%20Chart%205" TargetMode="Externa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17.xml.rels><?xml version="1.0" encoding="UTF-8" standalone="yes"?>
<Relationships xmlns="http://schemas.openxmlformats.org/package/2006/relationships"><Relationship Id="rId8" Type="http://schemas.openxmlformats.org/officeDocument/2006/relationships/tags" Target="../tags/tag69.xml"/><Relationship Id="rId13" Type="http://schemas.openxmlformats.org/officeDocument/2006/relationships/chart" Target="../charts/chart5.xml"/><Relationship Id="rId3" Type="http://schemas.openxmlformats.org/officeDocument/2006/relationships/tags" Target="../tags/tag64.xml"/><Relationship Id="rId7" Type="http://schemas.openxmlformats.org/officeDocument/2006/relationships/tags" Target="../tags/tag68.xml"/><Relationship Id="rId12" Type="http://schemas.openxmlformats.org/officeDocument/2006/relationships/chart" Target="../charts/chart4.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tags" Target="../tags/tag67.xml"/><Relationship Id="rId11" Type="http://schemas.openxmlformats.org/officeDocument/2006/relationships/notesSlide" Target="../notesSlides/notesSlide15.xml"/><Relationship Id="rId5" Type="http://schemas.openxmlformats.org/officeDocument/2006/relationships/tags" Target="../tags/tag66.xml"/><Relationship Id="rId10" Type="http://schemas.openxmlformats.org/officeDocument/2006/relationships/slideLayout" Target="../slideLayouts/slideLayout7.xml"/><Relationship Id="rId4" Type="http://schemas.openxmlformats.org/officeDocument/2006/relationships/tags" Target="../tags/tag65.xml"/><Relationship Id="rId9" Type="http://schemas.openxmlformats.org/officeDocument/2006/relationships/tags" Target="../tags/tag70.xml"/></Relationships>
</file>

<file path=ppt/slides/_rels/slide18.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73.xml"/><Relationship Id="rId7" Type="http://schemas.openxmlformats.org/officeDocument/2006/relationships/notesSlide" Target="../notesSlides/notesSlide16.xml"/><Relationship Id="rId2" Type="http://schemas.openxmlformats.org/officeDocument/2006/relationships/tags" Target="../tags/tag72.xml"/><Relationship Id="rId1" Type="http://schemas.openxmlformats.org/officeDocument/2006/relationships/tags" Target="../tags/tag71.xml"/><Relationship Id="rId6" Type="http://schemas.openxmlformats.org/officeDocument/2006/relationships/slideLayout" Target="../slideLayouts/slideLayout4.xml"/><Relationship Id="rId5" Type="http://schemas.openxmlformats.org/officeDocument/2006/relationships/tags" Target="../tags/tag75.xml"/><Relationship Id="rId4" Type="http://schemas.openxmlformats.org/officeDocument/2006/relationships/tags" Target="../tags/tag74.xml"/><Relationship Id="rId9" Type="http://schemas.openxmlformats.org/officeDocument/2006/relationships/image" Target="../media/image7.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7.xml"/><Relationship Id="rId1" Type="http://schemas.openxmlformats.org/officeDocument/2006/relationships/tags" Target="../tags/tag76.xml"/><Relationship Id="rId4" Type="http://schemas.openxmlformats.org/officeDocument/2006/relationships/image" Target="../media/image32.png"/></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6.xml"/><Relationship Id="rId5" Type="http://schemas.openxmlformats.org/officeDocument/2006/relationships/image" Target="../media/image10.png"/><Relationship Id="rId4" Type="http://schemas.openxmlformats.org/officeDocument/2006/relationships/image" Target="../media/image9.pn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7.xml"/><Relationship Id="rId1" Type="http://schemas.openxmlformats.org/officeDocument/2006/relationships/vmlDrawing" Target="../drawings/vmlDrawing6.vml"/><Relationship Id="rId5" Type="http://schemas.openxmlformats.org/officeDocument/2006/relationships/image" Target="../media/image33.emf"/><Relationship Id="rId4" Type="http://schemas.openxmlformats.org/officeDocument/2006/relationships/oleObject" Target="file:///\\gfk.com\netherlands\projects\Projecten\756749%20Shopping%20Tomorrow%202020\4.%20Data%20Processing\Graphs\Shopping%20Tomorrow%20Grafieken%202020.xlsm!Q01!%5bShopping%20Tomorrow%20Grafieken%202020.xlsm%5dQ01%20Chart%205"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tags" Target="../tags/tag14.xml"/><Relationship Id="rId7" Type="http://schemas.openxmlformats.org/officeDocument/2006/relationships/notesSlide" Target="../notesSlides/notesSlide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Layout" Target="../slideLayouts/slideLayout4.xml"/><Relationship Id="rId5" Type="http://schemas.openxmlformats.org/officeDocument/2006/relationships/tags" Target="../tags/tag16.xml"/><Relationship Id="rId4" Type="http://schemas.openxmlformats.org/officeDocument/2006/relationships/tags" Target="../tags/tag15.xml"/><Relationship Id="rId9" Type="http://schemas.openxmlformats.org/officeDocument/2006/relationships/image" Target="../media/image11.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8.xml"/><Relationship Id="rId1" Type="http://schemas.openxmlformats.org/officeDocument/2006/relationships/tags" Target="../tags/tag17.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notesSlide" Target="../notesSlides/notesSlide3.xml"/></Relationships>
</file>

<file path=ppt/slides/_rels/slide6.xml.rels><?xml version="1.0" encoding="UTF-8" standalone="yes"?>
<Relationships xmlns="http://schemas.openxmlformats.org/package/2006/relationships"><Relationship Id="rId8" Type="http://schemas.openxmlformats.org/officeDocument/2006/relationships/tags" Target="../tags/tag25.xml"/><Relationship Id="rId13" Type="http://schemas.openxmlformats.org/officeDocument/2006/relationships/tags" Target="../tags/tag30.xml"/><Relationship Id="rId18" Type="http://schemas.openxmlformats.org/officeDocument/2006/relationships/image" Target="../media/image14.emf"/><Relationship Id="rId3" Type="http://schemas.openxmlformats.org/officeDocument/2006/relationships/tags" Target="../tags/tag20.xml"/><Relationship Id="rId7" Type="http://schemas.openxmlformats.org/officeDocument/2006/relationships/tags" Target="../tags/tag24.xml"/><Relationship Id="rId12" Type="http://schemas.openxmlformats.org/officeDocument/2006/relationships/tags" Target="../tags/tag29.xml"/><Relationship Id="rId17" Type="http://schemas.openxmlformats.org/officeDocument/2006/relationships/oleObject" Target="file:///\\gfk.com\netherlands\projects\Projecten\756749%20Shopping%20Tomorrow%202020\4.%20Data%20Processing\Graphs\Shopping%20Tomorrow%20Grafieken%202020.xlsm!A03!%5bShopping%20Tomorrow%20Grafieken%202020.xlsm%5dA03%20Chart%201" TargetMode="External"/><Relationship Id="rId2" Type="http://schemas.openxmlformats.org/officeDocument/2006/relationships/tags" Target="../tags/tag19.xml"/><Relationship Id="rId16" Type="http://schemas.openxmlformats.org/officeDocument/2006/relationships/notesSlide" Target="../notesSlides/notesSlide4.xml"/><Relationship Id="rId1" Type="http://schemas.openxmlformats.org/officeDocument/2006/relationships/vmlDrawing" Target="../drawings/vmlDrawing2.vml"/><Relationship Id="rId6" Type="http://schemas.openxmlformats.org/officeDocument/2006/relationships/tags" Target="../tags/tag23.xml"/><Relationship Id="rId11" Type="http://schemas.openxmlformats.org/officeDocument/2006/relationships/tags" Target="../tags/tag28.xml"/><Relationship Id="rId5" Type="http://schemas.openxmlformats.org/officeDocument/2006/relationships/tags" Target="../tags/tag22.xml"/><Relationship Id="rId15" Type="http://schemas.openxmlformats.org/officeDocument/2006/relationships/slideLayout" Target="../slideLayouts/slideLayout7.xml"/><Relationship Id="rId10" Type="http://schemas.openxmlformats.org/officeDocument/2006/relationships/tags" Target="../tags/tag27.xml"/><Relationship Id="rId4" Type="http://schemas.openxmlformats.org/officeDocument/2006/relationships/tags" Target="../tags/tag21.xml"/><Relationship Id="rId9" Type="http://schemas.openxmlformats.org/officeDocument/2006/relationships/tags" Target="../tags/tag26.xml"/><Relationship Id="rId14" Type="http://schemas.openxmlformats.org/officeDocument/2006/relationships/tags" Target="../tags/tag31.xml"/></Relationships>
</file>

<file path=ppt/slides/_rels/slide7.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7.xml"/><Relationship Id="rId1" Type="http://schemas.openxmlformats.org/officeDocument/2006/relationships/tags" Target="../tags/tag32.xml"/></Relationships>
</file>

<file path=ppt/slides/_rels/slide9.xml.rels><?xml version="1.0" encoding="UTF-8" standalone="yes"?>
<Relationships xmlns="http://schemas.openxmlformats.org/package/2006/relationships"><Relationship Id="rId8" Type="http://schemas.openxmlformats.org/officeDocument/2006/relationships/image" Target="../media/image17.emf"/><Relationship Id="rId3" Type="http://schemas.openxmlformats.org/officeDocument/2006/relationships/tags" Target="../tags/tag34.xml"/><Relationship Id="rId7" Type="http://schemas.openxmlformats.org/officeDocument/2006/relationships/oleObject" Target="file:///\\gfk.com\netherlands\projects\Projecten\756749%20Shopping%20Tomorrow%202020\4.%20Data%20Processing\Graphs\Shopping%20Tomorrow%20Grafieken%202020.xlsm!C01!%5bShopping%20Tomorrow%20Grafieken%202020.xlsm%5dC01%20Chart%201" TargetMode="External"/><Relationship Id="rId2" Type="http://schemas.openxmlformats.org/officeDocument/2006/relationships/tags" Target="../tags/tag33.xml"/><Relationship Id="rId1" Type="http://schemas.openxmlformats.org/officeDocument/2006/relationships/vmlDrawing" Target="../drawings/vmlDrawing3.vml"/><Relationship Id="rId6" Type="http://schemas.openxmlformats.org/officeDocument/2006/relationships/notesSlide" Target="../notesSlides/notesSlide7.xml"/><Relationship Id="rId11" Type="http://schemas.openxmlformats.org/officeDocument/2006/relationships/image" Target="../media/image18.emf"/><Relationship Id="rId5" Type="http://schemas.openxmlformats.org/officeDocument/2006/relationships/slideLayout" Target="../slideLayouts/slideLayout7.xml"/><Relationship Id="rId10" Type="http://schemas.openxmlformats.org/officeDocument/2006/relationships/oleObject" Target="file:///\\gfk.com\netherlands\projects\Projecten\756749%20Shopping%20Tomorrow%202020\4.%20Data%20Processing\Graphs\Shopping%20Tomorrow%20Grafieken%202020.xlsm!C01!%5bShopping%20Tomorrow%20Grafieken%202020.xlsm%5dC01%20Chart%203" TargetMode="External"/><Relationship Id="rId4" Type="http://schemas.openxmlformats.org/officeDocument/2006/relationships/tags" Target="../tags/tag35.xml"/><Relationship Id="rId9"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Placeholder 23" descr="A picture containing indoor, sitting, computer, computer&#10;&#10;Description automatically generated">
            <a:extLst>
              <a:ext uri="{FF2B5EF4-FFF2-40B4-BE49-F238E27FC236}">
                <a16:creationId xmlns:a16="http://schemas.microsoft.com/office/drawing/2014/main" xmlns="" id="{9A578A08-9A5C-465D-9FA5-4EB25202672D}"/>
              </a:ext>
            </a:extLst>
          </p:cNvPr>
          <p:cNvPicPr>
            <a:picLocks noGrp="1" noChangeAspect="1"/>
          </p:cNvPicPr>
          <p:nvPr>
            <p:ph type="pic" sz="quarter" idx="13"/>
          </p:nvPr>
        </p:nvPicPr>
        <p:blipFill>
          <a:blip r:embed="rId2">
            <a:extLst>
              <a:ext uri="{28A0092B-C50C-407E-A947-70E740481C1C}">
                <a14:useLocalDpi xmlns:a14="http://schemas.microsoft.com/office/drawing/2010/main" val="0"/>
              </a:ext>
            </a:extLst>
          </a:blip>
          <a:srcRect l="7043" r="7043"/>
          <a:stretch>
            <a:fillRect/>
          </a:stretch>
        </p:blipFill>
        <p:spPr/>
      </p:pic>
      <p:sp>
        <p:nvSpPr>
          <p:cNvPr id="3" name="Footer Placeholder 2"/>
          <p:cNvSpPr>
            <a:spLocks noGrp="1"/>
          </p:cNvSpPr>
          <p:nvPr>
            <p:ph type="ftr" sz="quarter" idx="11"/>
          </p:nvPr>
        </p:nvSpPr>
        <p:spPr/>
        <p:txBody>
          <a:bodyPr/>
          <a:lstStyle/>
          <a:p>
            <a:r>
              <a:rPr lang="en-US"/>
              <a:t>ShoppingTomorrow 2020</a:t>
            </a:r>
            <a:endParaRPr lang="en-US" dirty="0"/>
          </a:p>
        </p:txBody>
      </p:sp>
      <p:sp>
        <p:nvSpPr>
          <p:cNvPr id="4" name="Slide Number Placeholder 3"/>
          <p:cNvSpPr>
            <a:spLocks noGrp="1"/>
          </p:cNvSpPr>
          <p:nvPr>
            <p:ph type="sldNum" sz="quarter" idx="12"/>
          </p:nvPr>
        </p:nvSpPr>
        <p:spPr/>
        <p:txBody>
          <a:bodyPr/>
          <a:lstStyle/>
          <a:p>
            <a:fld id="{8E3B25F7-8D1F-44B5-B485-EE3C438CFD7B}" type="slidenum">
              <a:rPr lang="en-US" smtClean="0"/>
              <a:pPr/>
              <a:t>1</a:t>
            </a:fld>
            <a:endParaRPr lang="en-US"/>
          </a:p>
        </p:txBody>
      </p:sp>
      <p:sp>
        <p:nvSpPr>
          <p:cNvPr id="9" name="Title 8">
            <a:extLst>
              <a:ext uri="{FF2B5EF4-FFF2-40B4-BE49-F238E27FC236}">
                <a16:creationId xmlns:a16="http://schemas.microsoft.com/office/drawing/2014/main" xmlns="" id="{828DE4D8-62A3-4B70-A0AC-CE2E269ED7A1}"/>
              </a:ext>
            </a:extLst>
          </p:cNvPr>
          <p:cNvSpPr>
            <a:spLocks noGrp="1"/>
          </p:cNvSpPr>
          <p:nvPr>
            <p:ph type="ctrTitle"/>
          </p:nvPr>
        </p:nvSpPr>
        <p:spPr/>
        <p:txBody>
          <a:bodyPr/>
          <a:lstStyle/>
          <a:p>
            <a:r>
              <a:rPr lang="en-US" sz="3500" dirty="0" err="1"/>
              <a:t>ShoppingTomorrow</a:t>
            </a:r>
            <a:r>
              <a:rPr lang="en-US" sz="3500" dirty="0"/>
              <a:t> 2020</a:t>
            </a:r>
            <a:endParaRPr lang="nl-NL" sz="3500" dirty="0"/>
          </a:p>
        </p:txBody>
      </p:sp>
      <p:sp>
        <p:nvSpPr>
          <p:cNvPr id="10" name="Subtitle 9">
            <a:extLst>
              <a:ext uri="{FF2B5EF4-FFF2-40B4-BE49-F238E27FC236}">
                <a16:creationId xmlns:a16="http://schemas.microsoft.com/office/drawing/2014/main" xmlns="" id="{B99C67BF-B177-4427-8A71-AA1FFD4427CD}"/>
              </a:ext>
            </a:extLst>
          </p:cNvPr>
          <p:cNvSpPr>
            <a:spLocks noGrp="1"/>
          </p:cNvSpPr>
          <p:nvPr>
            <p:ph type="subTitle" idx="1"/>
          </p:nvPr>
        </p:nvSpPr>
        <p:spPr/>
        <p:txBody>
          <a:bodyPr/>
          <a:lstStyle/>
          <a:p>
            <a:r>
              <a:rPr lang="en-US" dirty="0"/>
              <a:t>The future of retail according to Dutch consumers</a:t>
            </a:r>
          </a:p>
        </p:txBody>
      </p:sp>
      <p:sp>
        <p:nvSpPr>
          <p:cNvPr id="5" name="Text Placeholder 4">
            <a:extLst>
              <a:ext uri="{FF2B5EF4-FFF2-40B4-BE49-F238E27FC236}">
                <a16:creationId xmlns:a16="http://schemas.microsoft.com/office/drawing/2014/main" xmlns="" id="{4840ACAE-AE97-4D78-BB77-5E4E624E9B64}"/>
              </a:ext>
            </a:extLst>
          </p:cNvPr>
          <p:cNvSpPr>
            <a:spLocks noGrp="1"/>
          </p:cNvSpPr>
          <p:nvPr>
            <p:ph type="body" sz="quarter" idx="15"/>
          </p:nvPr>
        </p:nvSpPr>
        <p:spPr>
          <a:xfrm>
            <a:off x="417600" y="6003610"/>
            <a:ext cx="3816000" cy="296332"/>
          </a:xfrm>
        </p:spPr>
        <p:txBody>
          <a:bodyPr/>
          <a:lstStyle/>
          <a:p>
            <a:r>
              <a:rPr lang="nl-NL" dirty="0" err="1"/>
              <a:t>ShoppingTime</a:t>
            </a:r>
            <a:r>
              <a:rPr lang="nl-NL" dirty="0"/>
              <a:t> – 16 September 2020</a:t>
            </a:r>
          </a:p>
        </p:txBody>
      </p:sp>
      <p:pic>
        <p:nvPicPr>
          <p:cNvPr id="20" name="Picture 19">
            <a:extLst>
              <a:ext uri="{FF2B5EF4-FFF2-40B4-BE49-F238E27FC236}">
                <a16:creationId xmlns:a16="http://schemas.microsoft.com/office/drawing/2014/main" xmlns="" id="{4A338E09-C958-4BB2-8DCA-5F0129B6A5F7}"/>
              </a:ext>
            </a:extLst>
          </p:cNvPr>
          <p:cNvPicPr>
            <a:picLocks noChangeAspect="1"/>
          </p:cNvPicPr>
          <p:nvPr/>
        </p:nvPicPr>
        <p:blipFill>
          <a:blip r:embed="rId3"/>
          <a:stretch>
            <a:fillRect/>
          </a:stretch>
        </p:blipFill>
        <p:spPr>
          <a:xfrm>
            <a:off x="2559670" y="371474"/>
            <a:ext cx="706239" cy="706239"/>
          </a:xfrm>
          <a:prstGeom prst="rect">
            <a:avLst/>
          </a:prstGeom>
        </p:spPr>
      </p:pic>
    </p:spTree>
    <p:extLst>
      <p:ext uri="{BB962C8B-B14F-4D97-AF65-F5344CB8AC3E}">
        <p14:creationId xmlns:p14="http://schemas.microsoft.com/office/powerpoint/2010/main" val="168653912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5"/>
          </p:nvPr>
        </p:nvSpPr>
        <p:spPr/>
        <p:txBody>
          <a:bodyPr/>
          <a:lstStyle/>
          <a:p>
            <a:r>
              <a:rPr lang="en-US" dirty="0" err="1"/>
              <a:t>ShoppingTomorrow</a:t>
            </a:r>
            <a:r>
              <a:rPr lang="en-US" dirty="0"/>
              <a:t> 2020</a:t>
            </a:r>
          </a:p>
        </p:txBody>
      </p:sp>
      <p:sp>
        <p:nvSpPr>
          <p:cNvPr id="4" name="Slide Number Placeholder 3"/>
          <p:cNvSpPr>
            <a:spLocks noGrp="1"/>
          </p:cNvSpPr>
          <p:nvPr>
            <p:ph type="sldNum" sz="quarter" idx="16"/>
          </p:nvPr>
        </p:nvSpPr>
        <p:spPr/>
        <p:txBody>
          <a:bodyPr/>
          <a:lstStyle/>
          <a:p>
            <a:fld id="{5F3E29E4-0979-4FCA-B4C5-5FC6044C982A}" type="slidenum">
              <a:rPr lang="en-US" smtClean="0"/>
              <a:pPr/>
              <a:t>10</a:t>
            </a:fld>
            <a:endParaRPr lang="en-US" dirty="0"/>
          </a:p>
        </p:txBody>
      </p:sp>
      <p:sp>
        <p:nvSpPr>
          <p:cNvPr id="8" name="Title 7"/>
          <p:cNvSpPr>
            <a:spLocks noGrp="1"/>
          </p:cNvSpPr>
          <p:nvPr>
            <p:ph type="title"/>
          </p:nvPr>
        </p:nvSpPr>
        <p:spPr>
          <a:xfrm>
            <a:off x="1075063" y="255644"/>
            <a:ext cx="8874157" cy="648000"/>
          </a:xfrm>
        </p:spPr>
        <p:txBody>
          <a:bodyPr/>
          <a:lstStyle/>
          <a:p>
            <a:r>
              <a:rPr lang="en-US" sz="2400" dirty="0"/>
              <a:t>Increasing frequency of the use of smartphones in stores: especially for viewing social media and scanning and payment of products</a:t>
            </a:r>
          </a:p>
        </p:txBody>
      </p:sp>
      <p:sp>
        <p:nvSpPr>
          <p:cNvPr id="15" name="Text Placeholder 14"/>
          <p:cNvSpPr>
            <a:spLocks noGrp="1"/>
          </p:cNvSpPr>
          <p:nvPr>
            <p:ph type="body" sz="quarter" idx="17"/>
          </p:nvPr>
        </p:nvSpPr>
        <p:spPr>
          <a:xfrm>
            <a:off x="1075063" y="6307665"/>
            <a:ext cx="8162717" cy="133200"/>
          </a:xfrm>
        </p:spPr>
        <p:txBody>
          <a:bodyPr/>
          <a:lstStyle/>
          <a:p>
            <a:r>
              <a:rPr lang="en-US" sz="900" dirty="0"/>
              <a:t>C04: Do you use your smartphone in a (physical) store for the following purposes?</a:t>
            </a:r>
          </a:p>
        </p:txBody>
      </p:sp>
      <p:sp>
        <p:nvSpPr>
          <p:cNvPr id="14" name="Title 8">
            <a:extLst>
              <a:ext uri="{FF2B5EF4-FFF2-40B4-BE49-F238E27FC236}">
                <a16:creationId xmlns:a16="http://schemas.microsoft.com/office/drawing/2014/main" xmlns="" id="{336CB63B-7A5A-415F-A5B1-6039ADDE6631}"/>
              </a:ext>
            </a:extLst>
          </p:cNvPr>
          <p:cNvSpPr txBox="1">
            <a:spLocks/>
          </p:cNvSpPr>
          <p:nvPr/>
        </p:nvSpPr>
        <p:spPr bwMode="gray">
          <a:xfrm>
            <a:off x="1167319" y="1340722"/>
            <a:ext cx="10525328"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en-US" sz="1200" b="1" dirty="0">
                <a:latin typeface="+mj-lt"/>
              </a:rPr>
              <a:t>Use of smartphone in a (physical) store</a:t>
            </a:r>
          </a:p>
        </p:txBody>
      </p:sp>
      <p:cxnSp>
        <p:nvCxnSpPr>
          <p:cNvPr id="16" name="Straight Connector 15">
            <a:extLst>
              <a:ext uri="{FF2B5EF4-FFF2-40B4-BE49-F238E27FC236}">
                <a16:creationId xmlns:a16="http://schemas.microsoft.com/office/drawing/2014/main" xmlns="" id="{33F5F090-E00E-4DD8-B328-6CFB70193D9F}"/>
              </a:ext>
            </a:extLst>
          </p:cNvPr>
          <p:cNvCxnSpPr>
            <a:cxnSpLocks/>
          </p:cNvCxnSpPr>
          <p:nvPr/>
        </p:nvCxnSpPr>
        <p:spPr>
          <a:xfrm>
            <a:off x="1167319" y="1628754"/>
            <a:ext cx="10525328"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8" name="Text Placeholder 20">
            <a:extLst>
              <a:ext uri="{FF2B5EF4-FFF2-40B4-BE49-F238E27FC236}">
                <a16:creationId xmlns:a16="http://schemas.microsoft.com/office/drawing/2014/main" xmlns="" id="{69E5DD53-F07E-44D1-A4FF-E36EC346F892}"/>
              </a:ext>
            </a:extLst>
          </p:cNvPr>
          <p:cNvSpPr txBox="1">
            <a:spLocks/>
          </p:cNvSpPr>
          <p:nvPr/>
        </p:nvSpPr>
        <p:spPr bwMode="gray">
          <a:xfrm>
            <a:off x="8839200" y="6441475"/>
            <a:ext cx="2968239" cy="189908"/>
          </a:xfrm>
          <a:prstGeom prst="rect">
            <a:avLst/>
          </a:prstGeom>
        </p:spPr>
        <p:txBody>
          <a:bodyPr vert="horz" lIns="0" tIns="0" rIns="0" bIns="36000" rtlCol="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800" kern="1200" baseline="0" noProof="0" smtClean="0">
                <a:solidFill>
                  <a:schemeClr val="bg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spcAft>
                <a:spcPts val="0"/>
              </a:spcAft>
              <a:buFont typeface="Arial" pitchFamily="34" charset="0"/>
              <a:buNone/>
              <a:defRPr lang="de-DE" sz="800" kern="1200" baseline="0" noProof="0" smtClean="0">
                <a:solidFill>
                  <a:schemeClr val="bg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9pPr>
          </a:lstStyle>
          <a:p>
            <a:pPr algn="r"/>
            <a:r>
              <a:rPr lang="en-US" sz="900" dirty="0">
                <a:solidFill>
                  <a:schemeClr val="tx1"/>
                </a:solidFill>
                <a:latin typeface="+mj-lt"/>
              </a:rPr>
              <a:t>Base: all respondents</a:t>
            </a:r>
          </a:p>
          <a:p>
            <a:pPr algn="r"/>
            <a:endParaRPr lang="en-US" sz="900" dirty="0">
              <a:solidFill>
                <a:schemeClr val="tx1"/>
              </a:solidFill>
              <a:latin typeface="+mj-lt"/>
            </a:endParaRPr>
          </a:p>
        </p:txBody>
      </p:sp>
      <p:grpSp>
        <p:nvGrpSpPr>
          <p:cNvPr id="30" name="Group 29">
            <a:extLst>
              <a:ext uri="{FF2B5EF4-FFF2-40B4-BE49-F238E27FC236}">
                <a16:creationId xmlns:a16="http://schemas.microsoft.com/office/drawing/2014/main" xmlns="" id="{CD83AD53-C3F6-4CDD-AF10-317FDA37F58E}"/>
              </a:ext>
            </a:extLst>
          </p:cNvPr>
          <p:cNvGrpSpPr/>
          <p:nvPr/>
        </p:nvGrpSpPr>
        <p:grpSpPr>
          <a:xfrm>
            <a:off x="1463753" y="2934905"/>
            <a:ext cx="723703" cy="530342"/>
            <a:chOff x="729321" y="4189259"/>
            <a:chExt cx="518858" cy="380228"/>
          </a:xfrm>
          <a:solidFill>
            <a:schemeClr val="tx1">
              <a:lumMod val="40000"/>
              <a:lumOff val="60000"/>
            </a:schemeClr>
          </a:solidFill>
        </p:grpSpPr>
        <p:grpSp>
          <p:nvGrpSpPr>
            <p:cNvPr id="31" name="Group 43">
              <a:extLst>
                <a:ext uri="{FF2B5EF4-FFF2-40B4-BE49-F238E27FC236}">
                  <a16:creationId xmlns:a16="http://schemas.microsoft.com/office/drawing/2014/main" xmlns="" id="{ABB5991D-68C9-4D13-BC25-FC485ABD5AB7}"/>
                </a:ext>
              </a:extLst>
            </p:cNvPr>
            <p:cNvGrpSpPr>
              <a:grpSpLocks noChangeAspect="1"/>
            </p:cNvGrpSpPr>
            <p:nvPr>
              <p:custDataLst>
                <p:tags r:id="rId15"/>
              </p:custDataLst>
            </p:nvPr>
          </p:nvGrpSpPr>
          <p:grpSpPr bwMode="auto">
            <a:xfrm>
              <a:off x="729321" y="4189259"/>
              <a:ext cx="518858" cy="380228"/>
              <a:chOff x="380" y="-403"/>
              <a:chExt cx="4999" cy="5076"/>
            </a:xfrm>
            <a:grpFill/>
          </p:grpSpPr>
          <p:sp>
            <p:nvSpPr>
              <p:cNvPr id="33" name="Freeform 44">
                <a:extLst>
                  <a:ext uri="{FF2B5EF4-FFF2-40B4-BE49-F238E27FC236}">
                    <a16:creationId xmlns:a16="http://schemas.microsoft.com/office/drawing/2014/main" xmlns="" id="{678EA879-6AC1-4144-9B5D-3EDB7BD5A1D3}"/>
                  </a:ext>
                </a:extLst>
              </p:cNvPr>
              <p:cNvSpPr>
                <a:spLocks noEditPoints="1"/>
              </p:cNvSpPr>
              <p:nvPr/>
            </p:nvSpPr>
            <p:spPr bwMode="auto">
              <a:xfrm>
                <a:off x="3094" y="-403"/>
                <a:ext cx="2285" cy="4929"/>
              </a:xfrm>
              <a:custGeom>
                <a:avLst/>
                <a:gdLst>
                  <a:gd name="T0" fmla="*/ 440 w 967"/>
                  <a:gd name="T1" fmla="*/ 464 h 2087"/>
                  <a:gd name="T2" fmla="*/ 654 w 967"/>
                  <a:gd name="T3" fmla="*/ 572 h 2087"/>
                  <a:gd name="T4" fmla="*/ 725 w 967"/>
                  <a:gd name="T5" fmla="*/ 607 h 2087"/>
                  <a:gd name="T6" fmla="*/ 940 w 967"/>
                  <a:gd name="T7" fmla="*/ 715 h 2087"/>
                  <a:gd name="T8" fmla="*/ 958 w 967"/>
                  <a:gd name="T9" fmla="*/ 769 h 2087"/>
                  <a:gd name="T10" fmla="*/ 295 w 967"/>
                  <a:gd name="T11" fmla="*/ 2087 h 2087"/>
                  <a:gd name="T12" fmla="*/ 295 w 967"/>
                  <a:gd name="T13" fmla="*/ 663 h 2087"/>
                  <a:gd name="T14" fmla="*/ 440 w 967"/>
                  <a:gd name="T15" fmla="*/ 464 h 2087"/>
                  <a:gd name="T16" fmla="*/ 654 w 967"/>
                  <a:gd name="T17" fmla="*/ 572 h 2087"/>
                  <a:gd name="T18" fmla="*/ 559 w 967"/>
                  <a:gd name="T19" fmla="*/ 760 h 2087"/>
                  <a:gd name="T20" fmla="*/ 493 w 967"/>
                  <a:gd name="T21" fmla="*/ 804 h 2087"/>
                  <a:gd name="T22" fmla="*/ 528 w 967"/>
                  <a:gd name="T23" fmla="*/ 911 h 2087"/>
                  <a:gd name="T24" fmla="*/ 635 w 967"/>
                  <a:gd name="T25" fmla="*/ 876 h 2087"/>
                  <a:gd name="T26" fmla="*/ 631 w 967"/>
                  <a:gd name="T27" fmla="*/ 796 h 2087"/>
                  <a:gd name="T28" fmla="*/ 725 w 967"/>
                  <a:gd name="T29" fmla="*/ 607 h 2087"/>
                  <a:gd name="T30" fmla="*/ 779 w 967"/>
                  <a:gd name="T31" fmla="*/ 500 h 2087"/>
                  <a:gd name="T32" fmla="*/ 797 w 967"/>
                  <a:gd name="T33" fmla="*/ 465 h 2087"/>
                  <a:gd name="T34" fmla="*/ 827 w 967"/>
                  <a:gd name="T35" fmla="*/ 251 h 2087"/>
                  <a:gd name="T36" fmla="*/ 685 w 967"/>
                  <a:gd name="T37" fmla="*/ 95 h 2087"/>
                  <a:gd name="T38" fmla="*/ 181 w 967"/>
                  <a:gd name="T39" fmla="*/ 303 h 2087"/>
                  <a:gd name="T40" fmla="*/ 0 w 967"/>
                  <a:gd name="T41" fmla="*/ 469 h 2087"/>
                  <a:gd name="T42" fmla="*/ 121 w 967"/>
                  <a:gd name="T43" fmla="*/ 469 h 2087"/>
                  <a:gd name="T44" fmla="*/ 236 w 967"/>
                  <a:gd name="T45" fmla="*/ 361 h 2087"/>
                  <a:gd name="T46" fmla="*/ 526 w 967"/>
                  <a:gd name="T47" fmla="*/ 149 h 2087"/>
                  <a:gd name="T48" fmla="*/ 239 w 967"/>
                  <a:gd name="T49" fmla="*/ 465 h 2087"/>
                  <a:gd name="T50" fmla="*/ 228 w 967"/>
                  <a:gd name="T51" fmla="*/ 481 h 2087"/>
                  <a:gd name="T52" fmla="*/ 284 w 967"/>
                  <a:gd name="T53" fmla="*/ 539 h 2087"/>
                  <a:gd name="T54" fmla="*/ 304 w 967"/>
                  <a:gd name="T55" fmla="*/ 512 h 2087"/>
                  <a:gd name="T56" fmla="*/ 671 w 967"/>
                  <a:gd name="T57" fmla="*/ 222 h 2087"/>
                  <a:gd name="T58" fmla="*/ 708 w 967"/>
                  <a:gd name="T59" fmla="*/ 464 h 2087"/>
                  <a:gd name="T60" fmla="*/ 654 w 967"/>
                  <a:gd name="T61" fmla="*/ 572 h 2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7" h="2087">
                    <a:moveTo>
                      <a:pt x="440" y="464"/>
                    </a:moveTo>
                    <a:cubicBezTo>
                      <a:pt x="654" y="572"/>
                      <a:pt x="654" y="572"/>
                      <a:pt x="654" y="572"/>
                    </a:cubicBezTo>
                    <a:cubicBezTo>
                      <a:pt x="725" y="607"/>
                      <a:pt x="725" y="607"/>
                      <a:pt x="725" y="607"/>
                    </a:cubicBezTo>
                    <a:cubicBezTo>
                      <a:pt x="940" y="715"/>
                      <a:pt x="940" y="715"/>
                      <a:pt x="940" y="715"/>
                    </a:cubicBezTo>
                    <a:cubicBezTo>
                      <a:pt x="960" y="725"/>
                      <a:pt x="967" y="749"/>
                      <a:pt x="958" y="769"/>
                    </a:cubicBezTo>
                    <a:cubicBezTo>
                      <a:pt x="295" y="2087"/>
                      <a:pt x="295" y="2087"/>
                      <a:pt x="295" y="2087"/>
                    </a:cubicBezTo>
                    <a:cubicBezTo>
                      <a:pt x="295" y="663"/>
                      <a:pt x="295" y="663"/>
                      <a:pt x="295" y="663"/>
                    </a:cubicBezTo>
                    <a:lnTo>
                      <a:pt x="440" y="464"/>
                    </a:lnTo>
                    <a:close/>
                    <a:moveTo>
                      <a:pt x="654" y="572"/>
                    </a:moveTo>
                    <a:cubicBezTo>
                      <a:pt x="559" y="760"/>
                      <a:pt x="559" y="760"/>
                      <a:pt x="559" y="760"/>
                    </a:cubicBezTo>
                    <a:cubicBezTo>
                      <a:pt x="532" y="761"/>
                      <a:pt x="506" y="777"/>
                      <a:pt x="493" y="804"/>
                    </a:cubicBezTo>
                    <a:cubicBezTo>
                      <a:pt x="473" y="843"/>
                      <a:pt x="489" y="891"/>
                      <a:pt x="528" y="911"/>
                    </a:cubicBezTo>
                    <a:cubicBezTo>
                      <a:pt x="567" y="931"/>
                      <a:pt x="616" y="915"/>
                      <a:pt x="635" y="876"/>
                    </a:cubicBezTo>
                    <a:cubicBezTo>
                      <a:pt x="649" y="849"/>
                      <a:pt x="646" y="819"/>
                      <a:pt x="631" y="796"/>
                    </a:cubicBezTo>
                    <a:cubicBezTo>
                      <a:pt x="725" y="607"/>
                      <a:pt x="725" y="607"/>
                      <a:pt x="725" y="607"/>
                    </a:cubicBezTo>
                    <a:cubicBezTo>
                      <a:pt x="779" y="500"/>
                      <a:pt x="779" y="500"/>
                      <a:pt x="779" y="500"/>
                    </a:cubicBezTo>
                    <a:cubicBezTo>
                      <a:pt x="797" y="465"/>
                      <a:pt x="797" y="465"/>
                      <a:pt x="797" y="465"/>
                    </a:cubicBezTo>
                    <a:cubicBezTo>
                      <a:pt x="837" y="385"/>
                      <a:pt x="845" y="313"/>
                      <a:pt x="827" y="251"/>
                    </a:cubicBezTo>
                    <a:cubicBezTo>
                      <a:pt x="806" y="184"/>
                      <a:pt x="757" y="131"/>
                      <a:pt x="685" y="95"/>
                    </a:cubicBezTo>
                    <a:cubicBezTo>
                      <a:pt x="497" y="0"/>
                      <a:pt x="365" y="126"/>
                      <a:pt x="181" y="303"/>
                    </a:cubicBezTo>
                    <a:cubicBezTo>
                      <a:pt x="127" y="355"/>
                      <a:pt x="67" y="412"/>
                      <a:pt x="0" y="469"/>
                    </a:cubicBezTo>
                    <a:cubicBezTo>
                      <a:pt x="121" y="469"/>
                      <a:pt x="121" y="469"/>
                      <a:pt x="121" y="469"/>
                    </a:cubicBezTo>
                    <a:cubicBezTo>
                      <a:pt x="162" y="432"/>
                      <a:pt x="200" y="395"/>
                      <a:pt x="236" y="361"/>
                    </a:cubicBezTo>
                    <a:cubicBezTo>
                      <a:pt x="347" y="254"/>
                      <a:pt x="436" y="168"/>
                      <a:pt x="526" y="149"/>
                    </a:cubicBezTo>
                    <a:cubicBezTo>
                      <a:pt x="432" y="197"/>
                      <a:pt x="344" y="319"/>
                      <a:pt x="239" y="465"/>
                    </a:cubicBezTo>
                    <a:cubicBezTo>
                      <a:pt x="228" y="481"/>
                      <a:pt x="228" y="481"/>
                      <a:pt x="228" y="481"/>
                    </a:cubicBezTo>
                    <a:cubicBezTo>
                      <a:pt x="253" y="493"/>
                      <a:pt x="273" y="514"/>
                      <a:pt x="284" y="539"/>
                    </a:cubicBezTo>
                    <a:cubicBezTo>
                      <a:pt x="304" y="512"/>
                      <a:pt x="304" y="512"/>
                      <a:pt x="304" y="512"/>
                    </a:cubicBezTo>
                    <a:cubicBezTo>
                      <a:pt x="449" y="311"/>
                      <a:pt x="554" y="163"/>
                      <a:pt x="671" y="222"/>
                    </a:cubicBezTo>
                    <a:cubicBezTo>
                      <a:pt x="764" y="268"/>
                      <a:pt x="747" y="387"/>
                      <a:pt x="708" y="464"/>
                    </a:cubicBezTo>
                    <a:lnTo>
                      <a:pt x="654" y="572"/>
                    </a:ln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45">
                <a:extLst>
                  <a:ext uri="{FF2B5EF4-FFF2-40B4-BE49-F238E27FC236}">
                    <a16:creationId xmlns:a16="http://schemas.microsoft.com/office/drawing/2014/main" xmlns="" id="{BC1778F2-EC02-4846-8BB2-3F5E0A15BAAF}"/>
                  </a:ext>
                </a:extLst>
              </p:cNvPr>
              <p:cNvSpPr>
                <a:spLocks/>
              </p:cNvSpPr>
              <p:nvPr/>
            </p:nvSpPr>
            <p:spPr bwMode="auto">
              <a:xfrm>
                <a:off x="380" y="-146"/>
                <a:ext cx="3222" cy="4819"/>
              </a:xfrm>
              <a:custGeom>
                <a:avLst/>
                <a:gdLst>
                  <a:gd name="T0" fmla="*/ 1004 w 1364"/>
                  <a:gd name="T1" fmla="*/ 440 h 2040"/>
                  <a:gd name="T2" fmla="*/ 1004 w 1364"/>
                  <a:gd name="T3" fmla="*/ 320 h 2040"/>
                  <a:gd name="T4" fmla="*/ 862 w 1364"/>
                  <a:gd name="T5" fmla="*/ 120 h 2040"/>
                  <a:gd name="T6" fmla="*/ 664 w 1364"/>
                  <a:gd name="T7" fmla="*/ 544 h 2040"/>
                  <a:gd name="T8" fmla="*/ 396 w 1364"/>
                  <a:gd name="T9" fmla="*/ 1382 h 2040"/>
                  <a:gd name="T10" fmla="*/ 340 w 1364"/>
                  <a:gd name="T11" fmla="*/ 1394 h 2040"/>
                  <a:gd name="T12" fmla="*/ 329 w 1364"/>
                  <a:gd name="T13" fmla="*/ 1338 h 2040"/>
                  <a:gd name="T14" fmla="*/ 586 w 1364"/>
                  <a:gd name="T15" fmla="*/ 531 h 2040"/>
                  <a:gd name="T16" fmla="*/ 699 w 1364"/>
                  <a:gd name="T17" fmla="*/ 120 h 2040"/>
                  <a:gd name="T18" fmla="*/ 536 w 1364"/>
                  <a:gd name="T19" fmla="*/ 439 h 2040"/>
                  <a:gd name="T20" fmla="*/ 72 w 1364"/>
                  <a:gd name="T21" fmla="*/ 1229 h 2040"/>
                  <a:gd name="T22" fmla="*/ 15 w 1364"/>
                  <a:gd name="T23" fmla="*/ 1228 h 2040"/>
                  <a:gd name="T24" fmla="*/ 16 w 1364"/>
                  <a:gd name="T25" fmla="*/ 1171 h 2040"/>
                  <a:gd name="T26" fmla="*/ 460 w 1364"/>
                  <a:gd name="T27" fmla="*/ 413 h 2040"/>
                  <a:gd name="T28" fmla="*/ 817 w 1364"/>
                  <a:gd name="T29" fmla="*/ 0 h 2040"/>
                  <a:gd name="T30" fmla="*/ 1014 w 1364"/>
                  <a:gd name="T31" fmla="*/ 76 h 2040"/>
                  <a:gd name="T32" fmla="*/ 1084 w 1364"/>
                  <a:gd name="T33" fmla="*/ 280 h 2040"/>
                  <a:gd name="T34" fmla="*/ 1084 w 1364"/>
                  <a:gd name="T35" fmla="*/ 320 h 2040"/>
                  <a:gd name="T36" fmla="*/ 1084 w 1364"/>
                  <a:gd name="T37" fmla="*/ 440 h 2040"/>
                  <a:gd name="T38" fmla="*/ 1004 w 1364"/>
                  <a:gd name="T39" fmla="*/ 440 h 2040"/>
                  <a:gd name="T40" fmla="*/ 1004 w 1364"/>
                  <a:gd name="T41" fmla="*/ 651 h 2040"/>
                  <a:gd name="T42" fmla="*/ 964 w 1364"/>
                  <a:gd name="T43" fmla="*/ 720 h 2040"/>
                  <a:gd name="T44" fmla="*/ 1044 w 1364"/>
                  <a:gd name="T45" fmla="*/ 800 h 2040"/>
                  <a:gd name="T46" fmla="*/ 1124 w 1364"/>
                  <a:gd name="T47" fmla="*/ 720 h 2040"/>
                  <a:gd name="T48" fmla="*/ 1084 w 1364"/>
                  <a:gd name="T49" fmla="*/ 651 h 2040"/>
                  <a:gd name="T50" fmla="*/ 1084 w 1364"/>
                  <a:gd name="T51" fmla="*/ 440 h 2040"/>
                  <a:gd name="T52" fmla="*/ 1324 w 1364"/>
                  <a:gd name="T53" fmla="*/ 440 h 2040"/>
                  <a:gd name="T54" fmla="*/ 1364 w 1364"/>
                  <a:gd name="T55" fmla="*/ 480 h 2040"/>
                  <a:gd name="T56" fmla="*/ 1364 w 1364"/>
                  <a:gd name="T57" fmla="*/ 2000 h 2040"/>
                  <a:gd name="T58" fmla="*/ 1324 w 1364"/>
                  <a:gd name="T59" fmla="*/ 2040 h 2040"/>
                  <a:gd name="T60" fmla="*/ 764 w 1364"/>
                  <a:gd name="T61" fmla="*/ 2040 h 2040"/>
                  <a:gd name="T62" fmla="*/ 724 w 1364"/>
                  <a:gd name="T63" fmla="*/ 2000 h 2040"/>
                  <a:gd name="T64" fmla="*/ 724 w 1364"/>
                  <a:gd name="T65" fmla="*/ 673 h 2040"/>
                  <a:gd name="T66" fmla="*/ 743 w 1364"/>
                  <a:gd name="T67" fmla="*/ 556 h 2040"/>
                  <a:gd name="T68" fmla="*/ 764 w 1364"/>
                  <a:gd name="T69" fmla="*/ 440 h 2040"/>
                  <a:gd name="T70" fmla="*/ 1004 w 1364"/>
                  <a:gd name="T71" fmla="*/ 440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64" h="2040">
                    <a:moveTo>
                      <a:pt x="1004" y="440"/>
                    </a:moveTo>
                    <a:cubicBezTo>
                      <a:pt x="1004" y="320"/>
                      <a:pt x="1004" y="320"/>
                      <a:pt x="1004" y="320"/>
                    </a:cubicBezTo>
                    <a:cubicBezTo>
                      <a:pt x="1004" y="234"/>
                      <a:pt x="966" y="120"/>
                      <a:pt x="862" y="120"/>
                    </a:cubicBezTo>
                    <a:cubicBezTo>
                      <a:pt x="731" y="120"/>
                      <a:pt x="703" y="299"/>
                      <a:pt x="664" y="544"/>
                    </a:cubicBezTo>
                    <a:cubicBezTo>
                      <a:pt x="625" y="793"/>
                      <a:pt x="576" y="1105"/>
                      <a:pt x="396" y="1382"/>
                    </a:cubicBezTo>
                    <a:cubicBezTo>
                      <a:pt x="384" y="1400"/>
                      <a:pt x="359" y="1406"/>
                      <a:pt x="340" y="1394"/>
                    </a:cubicBezTo>
                    <a:cubicBezTo>
                      <a:pt x="322" y="1382"/>
                      <a:pt x="317" y="1357"/>
                      <a:pt x="329" y="1338"/>
                    </a:cubicBezTo>
                    <a:cubicBezTo>
                      <a:pt x="499" y="1076"/>
                      <a:pt x="547" y="773"/>
                      <a:pt x="586" y="531"/>
                    </a:cubicBezTo>
                    <a:cubicBezTo>
                      <a:pt x="614" y="354"/>
                      <a:pt x="637" y="206"/>
                      <a:pt x="699" y="120"/>
                    </a:cubicBezTo>
                    <a:cubicBezTo>
                      <a:pt x="628" y="178"/>
                      <a:pt x="587" y="294"/>
                      <a:pt x="536" y="439"/>
                    </a:cubicBezTo>
                    <a:cubicBezTo>
                      <a:pt x="455" y="668"/>
                      <a:pt x="351" y="963"/>
                      <a:pt x="72" y="1229"/>
                    </a:cubicBezTo>
                    <a:cubicBezTo>
                      <a:pt x="56" y="1244"/>
                      <a:pt x="30" y="1244"/>
                      <a:pt x="15" y="1228"/>
                    </a:cubicBezTo>
                    <a:cubicBezTo>
                      <a:pt x="0" y="1212"/>
                      <a:pt x="0" y="1186"/>
                      <a:pt x="16" y="1171"/>
                    </a:cubicBezTo>
                    <a:cubicBezTo>
                      <a:pt x="282" y="918"/>
                      <a:pt x="382" y="634"/>
                      <a:pt x="460" y="413"/>
                    </a:cubicBezTo>
                    <a:cubicBezTo>
                      <a:pt x="546" y="172"/>
                      <a:pt x="606" y="0"/>
                      <a:pt x="817" y="0"/>
                    </a:cubicBezTo>
                    <a:cubicBezTo>
                      <a:pt x="898" y="0"/>
                      <a:pt x="966" y="25"/>
                      <a:pt x="1014" y="76"/>
                    </a:cubicBezTo>
                    <a:cubicBezTo>
                      <a:pt x="1058" y="123"/>
                      <a:pt x="1084" y="191"/>
                      <a:pt x="1084" y="280"/>
                    </a:cubicBezTo>
                    <a:cubicBezTo>
                      <a:pt x="1084" y="320"/>
                      <a:pt x="1084" y="320"/>
                      <a:pt x="1084" y="320"/>
                    </a:cubicBezTo>
                    <a:cubicBezTo>
                      <a:pt x="1084" y="440"/>
                      <a:pt x="1084" y="440"/>
                      <a:pt x="1084" y="440"/>
                    </a:cubicBezTo>
                    <a:cubicBezTo>
                      <a:pt x="1004" y="440"/>
                      <a:pt x="1004" y="440"/>
                      <a:pt x="1004" y="440"/>
                    </a:cubicBezTo>
                    <a:cubicBezTo>
                      <a:pt x="1004" y="651"/>
                      <a:pt x="1004" y="651"/>
                      <a:pt x="1004" y="651"/>
                    </a:cubicBezTo>
                    <a:cubicBezTo>
                      <a:pt x="980" y="664"/>
                      <a:pt x="964" y="690"/>
                      <a:pt x="964" y="720"/>
                    </a:cubicBezTo>
                    <a:cubicBezTo>
                      <a:pt x="964" y="764"/>
                      <a:pt x="1000" y="800"/>
                      <a:pt x="1044" y="800"/>
                    </a:cubicBezTo>
                    <a:cubicBezTo>
                      <a:pt x="1088" y="800"/>
                      <a:pt x="1124" y="764"/>
                      <a:pt x="1124" y="720"/>
                    </a:cubicBezTo>
                    <a:cubicBezTo>
                      <a:pt x="1124" y="690"/>
                      <a:pt x="1108" y="664"/>
                      <a:pt x="1084" y="651"/>
                    </a:cubicBezTo>
                    <a:cubicBezTo>
                      <a:pt x="1084" y="440"/>
                      <a:pt x="1084" y="440"/>
                      <a:pt x="1084" y="440"/>
                    </a:cubicBezTo>
                    <a:cubicBezTo>
                      <a:pt x="1324" y="440"/>
                      <a:pt x="1324" y="440"/>
                      <a:pt x="1324" y="440"/>
                    </a:cubicBezTo>
                    <a:cubicBezTo>
                      <a:pt x="1346" y="440"/>
                      <a:pt x="1364" y="458"/>
                      <a:pt x="1364" y="480"/>
                    </a:cubicBezTo>
                    <a:cubicBezTo>
                      <a:pt x="1364" y="2000"/>
                      <a:pt x="1364" y="2000"/>
                      <a:pt x="1364" y="2000"/>
                    </a:cubicBezTo>
                    <a:cubicBezTo>
                      <a:pt x="1364" y="2022"/>
                      <a:pt x="1346" y="2040"/>
                      <a:pt x="1324" y="2040"/>
                    </a:cubicBezTo>
                    <a:cubicBezTo>
                      <a:pt x="764" y="2040"/>
                      <a:pt x="764" y="2040"/>
                      <a:pt x="764" y="2040"/>
                    </a:cubicBezTo>
                    <a:cubicBezTo>
                      <a:pt x="742" y="2040"/>
                      <a:pt x="724" y="2022"/>
                      <a:pt x="724" y="2000"/>
                    </a:cubicBezTo>
                    <a:cubicBezTo>
                      <a:pt x="724" y="673"/>
                      <a:pt x="724" y="673"/>
                      <a:pt x="724" y="673"/>
                    </a:cubicBezTo>
                    <a:cubicBezTo>
                      <a:pt x="731" y="633"/>
                      <a:pt x="737" y="594"/>
                      <a:pt x="743" y="556"/>
                    </a:cubicBezTo>
                    <a:cubicBezTo>
                      <a:pt x="745" y="545"/>
                      <a:pt x="760" y="440"/>
                      <a:pt x="764" y="440"/>
                    </a:cubicBezTo>
                    <a:lnTo>
                      <a:pt x="1004" y="440"/>
                    </a:ln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32" name="Freeform 29">
              <a:extLst>
                <a:ext uri="{FF2B5EF4-FFF2-40B4-BE49-F238E27FC236}">
                  <a16:creationId xmlns:a16="http://schemas.microsoft.com/office/drawing/2014/main" xmlns="" id="{BDF2760E-11A6-4D9B-AED4-8352E007B8D3}"/>
                </a:ext>
              </a:extLst>
            </p:cNvPr>
            <p:cNvSpPr>
              <a:spLocks noEditPoints="1"/>
            </p:cNvSpPr>
            <p:nvPr/>
          </p:nvSpPr>
          <p:spPr bwMode="auto">
            <a:xfrm>
              <a:off x="938249" y="4443958"/>
              <a:ext cx="104911" cy="104910"/>
            </a:xfrm>
            <a:custGeom>
              <a:avLst/>
              <a:gdLst>
                <a:gd name="T0" fmla="*/ 834 w 1667"/>
                <a:gd name="T1" fmla="*/ 0 h 1667"/>
                <a:gd name="T2" fmla="*/ 0 w 1667"/>
                <a:gd name="T3" fmla="*/ 833 h 1667"/>
                <a:gd name="T4" fmla="*/ 834 w 1667"/>
                <a:gd name="T5" fmla="*/ 1667 h 1667"/>
                <a:gd name="T6" fmla="*/ 1667 w 1667"/>
                <a:gd name="T7" fmla="*/ 833 h 1667"/>
                <a:gd name="T8" fmla="*/ 834 w 1667"/>
                <a:gd name="T9" fmla="*/ 0 h 1667"/>
                <a:gd name="T10" fmla="*/ 1095 w 1667"/>
                <a:gd name="T11" fmla="*/ 1311 h 1667"/>
                <a:gd name="T12" fmla="*/ 930 w 1667"/>
                <a:gd name="T13" fmla="*/ 1324 h 1667"/>
                <a:gd name="T14" fmla="*/ 500 w 1667"/>
                <a:gd name="T15" fmla="*/ 958 h 1667"/>
                <a:gd name="T16" fmla="*/ 418 w 1667"/>
                <a:gd name="T17" fmla="*/ 958 h 1667"/>
                <a:gd name="T18" fmla="*/ 384 w 1667"/>
                <a:gd name="T19" fmla="*/ 915 h 1667"/>
                <a:gd name="T20" fmla="*/ 418 w 1667"/>
                <a:gd name="T21" fmla="*/ 869 h 1667"/>
                <a:gd name="T22" fmla="*/ 493 w 1667"/>
                <a:gd name="T23" fmla="*/ 869 h 1667"/>
                <a:gd name="T24" fmla="*/ 493 w 1667"/>
                <a:gd name="T25" fmla="*/ 831 h 1667"/>
                <a:gd name="T26" fmla="*/ 494 w 1667"/>
                <a:gd name="T27" fmla="*/ 752 h 1667"/>
                <a:gd name="T28" fmla="*/ 418 w 1667"/>
                <a:gd name="T29" fmla="*/ 752 h 1667"/>
                <a:gd name="T30" fmla="*/ 384 w 1667"/>
                <a:gd name="T31" fmla="*/ 709 h 1667"/>
                <a:gd name="T32" fmla="*/ 418 w 1667"/>
                <a:gd name="T33" fmla="*/ 663 h 1667"/>
                <a:gd name="T34" fmla="*/ 504 w 1667"/>
                <a:gd name="T35" fmla="*/ 663 h 1667"/>
                <a:gd name="T36" fmla="*/ 945 w 1667"/>
                <a:gd name="T37" fmla="*/ 296 h 1667"/>
                <a:gd name="T38" fmla="*/ 1092 w 1667"/>
                <a:gd name="T39" fmla="*/ 307 h 1667"/>
                <a:gd name="T40" fmla="*/ 1139 w 1667"/>
                <a:gd name="T41" fmla="*/ 345 h 1667"/>
                <a:gd name="T42" fmla="*/ 1124 w 1667"/>
                <a:gd name="T43" fmla="*/ 389 h 1667"/>
                <a:gd name="T44" fmla="*/ 1095 w 1667"/>
                <a:gd name="T45" fmla="*/ 399 h 1667"/>
                <a:gd name="T46" fmla="*/ 1037 w 1667"/>
                <a:gd name="T47" fmla="*/ 395 h 1667"/>
                <a:gd name="T48" fmla="*/ 952 w 1667"/>
                <a:gd name="T49" fmla="*/ 391 h 1667"/>
                <a:gd name="T50" fmla="*/ 620 w 1667"/>
                <a:gd name="T51" fmla="*/ 663 h 1667"/>
                <a:gd name="T52" fmla="*/ 900 w 1667"/>
                <a:gd name="T53" fmla="*/ 663 h 1667"/>
                <a:gd name="T54" fmla="*/ 934 w 1667"/>
                <a:gd name="T55" fmla="*/ 708 h 1667"/>
                <a:gd name="T56" fmla="*/ 900 w 1667"/>
                <a:gd name="T57" fmla="*/ 752 h 1667"/>
                <a:gd name="T58" fmla="*/ 610 w 1667"/>
                <a:gd name="T59" fmla="*/ 752 h 1667"/>
                <a:gd name="T60" fmla="*/ 607 w 1667"/>
                <a:gd name="T61" fmla="*/ 831 h 1667"/>
                <a:gd name="T62" fmla="*/ 607 w 1667"/>
                <a:gd name="T63" fmla="*/ 869 h 1667"/>
                <a:gd name="T64" fmla="*/ 862 w 1667"/>
                <a:gd name="T65" fmla="*/ 869 h 1667"/>
                <a:gd name="T66" fmla="*/ 896 w 1667"/>
                <a:gd name="T67" fmla="*/ 914 h 1667"/>
                <a:gd name="T68" fmla="*/ 862 w 1667"/>
                <a:gd name="T69" fmla="*/ 958 h 1667"/>
                <a:gd name="T70" fmla="*/ 614 w 1667"/>
                <a:gd name="T71" fmla="*/ 958 h 1667"/>
                <a:gd name="T72" fmla="*/ 936 w 1667"/>
                <a:gd name="T73" fmla="*/ 1230 h 1667"/>
                <a:gd name="T74" fmla="*/ 1044 w 1667"/>
                <a:gd name="T75" fmla="*/ 1224 h 1667"/>
                <a:gd name="T76" fmla="*/ 1108 w 1667"/>
                <a:gd name="T77" fmla="*/ 1216 h 1667"/>
                <a:gd name="T78" fmla="*/ 1145 w 1667"/>
                <a:gd name="T79" fmla="*/ 1268 h 1667"/>
                <a:gd name="T80" fmla="*/ 1095 w 1667"/>
                <a:gd name="T81" fmla="*/ 1311 h 1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67" h="1667">
                  <a:moveTo>
                    <a:pt x="834" y="0"/>
                  </a:moveTo>
                  <a:cubicBezTo>
                    <a:pt x="373" y="0"/>
                    <a:pt x="0" y="373"/>
                    <a:pt x="0" y="833"/>
                  </a:cubicBezTo>
                  <a:cubicBezTo>
                    <a:pt x="0" y="1293"/>
                    <a:pt x="373" y="1667"/>
                    <a:pt x="834" y="1667"/>
                  </a:cubicBezTo>
                  <a:cubicBezTo>
                    <a:pt x="1294" y="1667"/>
                    <a:pt x="1667" y="1293"/>
                    <a:pt x="1667" y="833"/>
                  </a:cubicBezTo>
                  <a:cubicBezTo>
                    <a:pt x="1667" y="373"/>
                    <a:pt x="1294" y="0"/>
                    <a:pt x="834" y="0"/>
                  </a:cubicBezTo>
                  <a:close/>
                  <a:moveTo>
                    <a:pt x="1095" y="1311"/>
                  </a:moveTo>
                  <a:cubicBezTo>
                    <a:pt x="1040" y="1321"/>
                    <a:pt x="985" y="1325"/>
                    <a:pt x="930" y="1324"/>
                  </a:cubicBezTo>
                  <a:cubicBezTo>
                    <a:pt x="679" y="1324"/>
                    <a:pt x="533" y="1230"/>
                    <a:pt x="500" y="958"/>
                  </a:cubicBezTo>
                  <a:cubicBezTo>
                    <a:pt x="418" y="958"/>
                    <a:pt x="418" y="958"/>
                    <a:pt x="418" y="958"/>
                  </a:cubicBezTo>
                  <a:cubicBezTo>
                    <a:pt x="393" y="958"/>
                    <a:pt x="384" y="940"/>
                    <a:pt x="384" y="915"/>
                  </a:cubicBezTo>
                  <a:cubicBezTo>
                    <a:pt x="384" y="890"/>
                    <a:pt x="393" y="869"/>
                    <a:pt x="418" y="869"/>
                  </a:cubicBezTo>
                  <a:cubicBezTo>
                    <a:pt x="493" y="869"/>
                    <a:pt x="493" y="869"/>
                    <a:pt x="493" y="869"/>
                  </a:cubicBezTo>
                  <a:cubicBezTo>
                    <a:pt x="493" y="831"/>
                    <a:pt x="493" y="831"/>
                    <a:pt x="493" y="831"/>
                  </a:cubicBezTo>
                  <a:cubicBezTo>
                    <a:pt x="493" y="804"/>
                    <a:pt x="493" y="777"/>
                    <a:pt x="494" y="752"/>
                  </a:cubicBezTo>
                  <a:cubicBezTo>
                    <a:pt x="418" y="752"/>
                    <a:pt x="418" y="752"/>
                    <a:pt x="418" y="752"/>
                  </a:cubicBezTo>
                  <a:cubicBezTo>
                    <a:pt x="393" y="752"/>
                    <a:pt x="384" y="734"/>
                    <a:pt x="384" y="709"/>
                  </a:cubicBezTo>
                  <a:cubicBezTo>
                    <a:pt x="384" y="684"/>
                    <a:pt x="393" y="663"/>
                    <a:pt x="418" y="663"/>
                  </a:cubicBezTo>
                  <a:cubicBezTo>
                    <a:pt x="504" y="663"/>
                    <a:pt x="504" y="663"/>
                    <a:pt x="504" y="663"/>
                  </a:cubicBezTo>
                  <a:cubicBezTo>
                    <a:pt x="549" y="390"/>
                    <a:pt x="711" y="296"/>
                    <a:pt x="945" y="296"/>
                  </a:cubicBezTo>
                  <a:cubicBezTo>
                    <a:pt x="994" y="296"/>
                    <a:pt x="1043" y="300"/>
                    <a:pt x="1092" y="307"/>
                  </a:cubicBezTo>
                  <a:cubicBezTo>
                    <a:pt x="1126" y="313"/>
                    <a:pt x="1139" y="324"/>
                    <a:pt x="1139" y="345"/>
                  </a:cubicBezTo>
                  <a:cubicBezTo>
                    <a:pt x="1139" y="361"/>
                    <a:pt x="1135" y="379"/>
                    <a:pt x="1124" y="389"/>
                  </a:cubicBezTo>
                  <a:cubicBezTo>
                    <a:pt x="1116" y="396"/>
                    <a:pt x="1106" y="400"/>
                    <a:pt x="1095" y="399"/>
                  </a:cubicBezTo>
                  <a:cubicBezTo>
                    <a:pt x="1086" y="399"/>
                    <a:pt x="1062" y="398"/>
                    <a:pt x="1037" y="395"/>
                  </a:cubicBezTo>
                  <a:cubicBezTo>
                    <a:pt x="1013" y="392"/>
                    <a:pt x="970" y="391"/>
                    <a:pt x="952" y="391"/>
                  </a:cubicBezTo>
                  <a:cubicBezTo>
                    <a:pt x="770" y="391"/>
                    <a:pt x="654" y="450"/>
                    <a:pt x="620" y="663"/>
                  </a:cubicBezTo>
                  <a:cubicBezTo>
                    <a:pt x="900" y="663"/>
                    <a:pt x="900" y="663"/>
                    <a:pt x="900" y="663"/>
                  </a:cubicBezTo>
                  <a:cubicBezTo>
                    <a:pt x="927" y="663"/>
                    <a:pt x="934" y="682"/>
                    <a:pt x="934" y="708"/>
                  </a:cubicBezTo>
                  <a:cubicBezTo>
                    <a:pt x="934" y="733"/>
                    <a:pt x="927" y="752"/>
                    <a:pt x="900" y="752"/>
                  </a:cubicBezTo>
                  <a:cubicBezTo>
                    <a:pt x="610" y="752"/>
                    <a:pt x="610" y="752"/>
                    <a:pt x="610" y="752"/>
                  </a:cubicBezTo>
                  <a:cubicBezTo>
                    <a:pt x="608" y="776"/>
                    <a:pt x="607" y="804"/>
                    <a:pt x="607" y="831"/>
                  </a:cubicBezTo>
                  <a:cubicBezTo>
                    <a:pt x="607" y="869"/>
                    <a:pt x="607" y="869"/>
                    <a:pt x="607" y="869"/>
                  </a:cubicBezTo>
                  <a:cubicBezTo>
                    <a:pt x="862" y="869"/>
                    <a:pt x="862" y="869"/>
                    <a:pt x="862" y="869"/>
                  </a:cubicBezTo>
                  <a:cubicBezTo>
                    <a:pt x="889" y="869"/>
                    <a:pt x="896" y="889"/>
                    <a:pt x="896" y="914"/>
                  </a:cubicBezTo>
                  <a:cubicBezTo>
                    <a:pt x="896" y="939"/>
                    <a:pt x="889" y="958"/>
                    <a:pt x="862" y="958"/>
                  </a:cubicBezTo>
                  <a:cubicBezTo>
                    <a:pt x="614" y="958"/>
                    <a:pt x="614" y="958"/>
                    <a:pt x="614" y="958"/>
                  </a:cubicBezTo>
                  <a:cubicBezTo>
                    <a:pt x="639" y="1160"/>
                    <a:pt x="748" y="1230"/>
                    <a:pt x="936" y="1230"/>
                  </a:cubicBezTo>
                  <a:cubicBezTo>
                    <a:pt x="972" y="1230"/>
                    <a:pt x="1008" y="1228"/>
                    <a:pt x="1044" y="1224"/>
                  </a:cubicBezTo>
                  <a:cubicBezTo>
                    <a:pt x="1066" y="1221"/>
                    <a:pt x="1095" y="1216"/>
                    <a:pt x="1108" y="1216"/>
                  </a:cubicBezTo>
                  <a:cubicBezTo>
                    <a:pt x="1133" y="1216"/>
                    <a:pt x="1145" y="1233"/>
                    <a:pt x="1145" y="1268"/>
                  </a:cubicBezTo>
                  <a:cubicBezTo>
                    <a:pt x="1145" y="1296"/>
                    <a:pt x="1129" y="1305"/>
                    <a:pt x="1095" y="1311"/>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35" name="Group 34">
            <a:extLst>
              <a:ext uri="{FF2B5EF4-FFF2-40B4-BE49-F238E27FC236}">
                <a16:creationId xmlns:a16="http://schemas.microsoft.com/office/drawing/2014/main" xmlns="" id="{CF7D54A5-4FC4-475D-9233-9F2B573EB4CD}"/>
              </a:ext>
            </a:extLst>
          </p:cNvPr>
          <p:cNvGrpSpPr/>
          <p:nvPr/>
        </p:nvGrpSpPr>
        <p:grpSpPr>
          <a:xfrm>
            <a:off x="5606681" y="2960250"/>
            <a:ext cx="765997" cy="386295"/>
            <a:chOff x="1763688" y="3913647"/>
            <a:chExt cx="908784" cy="458303"/>
          </a:xfrm>
          <a:solidFill>
            <a:schemeClr val="tx1">
              <a:lumMod val="40000"/>
              <a:lumOff val="60000"/>
            </a:schemeClr>
          </a:solidFill>
        </p:grpSpPr>
        <p:sp>
          <p:nvSpPr>
            <p:cNvPr id="36" name="Freeform 56">
              <a:extLst>
                <a:ext uri="{FF2B5EF4-FFF2-40B4-BE49-F238E27FC236}">
                  <a16:creationId xmlns:a16="http://schemas.microsoft.com/office/drawing/2014/main" xmlns="" id="{1EB1F6AD-9989-4ACA-80D6-3826BF97F841}"/>
                </a:ext>
              </a:extLst>
            </p:cNvPr>
            <p:cNvSpPr>
              <a:spLocks noChangeAspect="1" noEditPoints="1"/>
            </p:cNvSpPr>
            <p:nvPr>
              <p:custDataLst>
                <p:tags r:id="rId13"/>
              </p:custDataLst>
            </p:nvPr>
          </p:nvSpPr>
          <p:spPr bwMode="auto">
            <a:xfrm>
              <a:off x="2221198" y="3913647"/>
              <a:ext cx="286196" cy="286196"/>
            </a:xfrm>
            <a:custGeom>
              <a:avLst/>
              <a:gdLst>
                <a:gd name="T0" fmla="*/ 1040 w 2080"/>
                <a:gd name="T1" fmla="*/ 0 h 2080"/>
                <a:gd name="T2" fmla="*/ 2080 w 2080"/>
                <a:gd name="T3" fmla="*/ 1040 h 2080"/>
                <a:gd name="T4" fmla="*/ 1040 w 2080"/>
                <a:gd name="T5" fmla="*/ 2080 h 2080"/>
                <a:gd name="T6" fmla="*/ 0 w 2080"/>
                <a:gd name="T7" fmla="*/ 1040 h 2080"/>
                <a:gd name="T8" fmla="*/ 1040 w 2080"/>
                <a:gd name="T9" fmla="*/ 0 h 2080"/>
                <a:gd name="T10" fmla="*/ 720 w 2080"/>
                <a:gd name="T11" fmla="*/ 640 h 2080"/>
                <a:gd name="T12" fmla="*/ 560 w 2080"/>
                <a:gd name="T13" fmla="*/ 800 h 2080"/>
                <a:gd name="T14" fmla="*/ 720 w 2080"/>
                <a:gd name="T15" fmla="*/ 960 h 2080"/>
                <a:gd name="T16" fmla="*/ 880 w 2080"/>
                <a:gd name="T17" fmla="*/ 800 h 2080"/>
                <a:gd name="T18" fmla="*/ 720 w 2080"/>
                <a:gd name="T19" fmla="*/ 640 h 2080"/>
                <a:gd name="T20" fmla="*/ 1360 w 2080"/>
                <a:gd name="T21" fmla="*/ 640 h 2080"/>
                <a:gd name="T22" fmla="*/ 1200 w 2080"/>
                <a:gd name="T23" fmla="*/ 800 h 2080"/>
                <a:gd name="T24" fmla="*/ 1360 w 2080"/>
                <a:gd name="T25" fmla="*/ 960 h 2080"/>
                <a:gd name="T26" fmla="*/ 1520 w 2080"/>
                <a:gd name="T27" fmla="*/ 800 h 2080"/>
                <a:gd name="T28" fmla="*/ 1360 w 2080"/>
                <a:gd name="T29" fmla="*/ 640 h 2080"/>
                <a:gd name="T30" fmla="*/ 1565 w 2080"/>
                <a:gd name="T31" fmla="*/ 1668 h 2080"/>
                <a:gd name="T32" fmla="*/ 1634 w 2080"/>
                <a:gd name="T33" fmla="*/ 1630 h 2080"/>
                <a:gd name="T34" fmla="*/ 1040 w 2080"/>
                <a:gd name="T35" fmla="*/ 1280 h 2080"/>
                <a:gd name="T36" fmla="*/ 446 w 2080"/>
                <a:gd name="T37" fmla="*/ 1630 h 2080"/>
                <a:gd name="T38" fmla="*/ 515 w 2080"/>
                <a:gd name="T39" fmla="*/ 1668 h 2080"/>
                <a:gd name="T40" fmla="*/ 1040 w 2080"/>
                <a:gd name="T41" fmla="*/ 1360 h 2080"/>
                <a:gd name="T42" fmla="*/ 1565 w 2080"/>
                <a:gd name="T43" fmla="*/ 1668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80" h="2080">
                  <a:moveTo>
                    <a:pt x="1040" y="0"/>
                  </a:moveTo>
                  <a:cubicBezTo>
                    <a:pt x="1614" y="0"/>
                    <a:pt x="2080" y="466"/>
                    <a:pt x="2080" y="1040"/>
                  </a:cubicBezTo>
                  <a:cubicBezTo>
                    <a:pt x="2080" y="1614"/>
                    <a:pt x="1614" y="2080"/>
                    <a:pt x="1040" y="2080"/>
                  </a:cubicBezTo>
                  <a:cubicBezTo>
                    <a:pt x="466" y="2080"/>
                    <a:pt x="0" y="1614"/>
                    <a:pt x="0" y="1040"/>
                  </a:cubicBezTo>
                  <a:cubicBezTo>
                    <a:pt x="0" y="466"/>
                    <a:pt x="466" y="0"/>
                    <a:pt x="1040" y="0"/>
                  </a:cubicBezTo>
                  <a:close/>
                  <a:moveTo>
                    <a:pt x="720" y="640"/>
                  </a:moveTo>
                  <a:cubicBezTo>
                    <a:pt x="632" y="640"/>
                    <a:pt x="560" y="712"/>
                    <a:pt x="560" y="800"/>
                  </a:cubicBezTo>
                  <a:cubicBezTo>
                    <a:pt x="560" y="888"/>
                    <a:pt x="632" y="960"/>
                    <a:pt x="720" y="960"/>
                  </a:cubicBezTo>
                  <a:cubicBezTo>
                    <a:pt x="808" y="960"/>
                    <a:pt x="880" y="888"/>
                    <a:pt x="880" y="800"/>
                  </a:cubicBezTo>
                  <a:cubicBezTo>
                    <a:pt x="880" y="712"/>
                    <a:pt x="808" y="640"/>
                    <a:pt x="720" y="640"/>
                  </a:cubicBezTo>
                  <a:close/>
                  <a:moveTo>
                    <a:pt x="1360" y="640"/>
                  </a:moveTo>
                  <a:cubicBezTo>
                    <a:pt x="1272" y="640"/>
                    <a:pt x="1200" y="712"/>
                    <a:pt x="1200" y="800"/>
                  </a:cubicBezTo>
                  <a:cubicBezTo>
                    <a:pt x="1200" y="888"/>
                    <a:pt x="1272" y="960"/>
                    <a:pt x="1360" y="960"/>
                  </a:cubicBezTo>
                  <a:cubicBezTo>
                    <a:pt x="1448" y="960"/>
                    <a:pt x="1520" y="888"/>
                    <a:pt x="1520" y="800"/>
                  </a:cubicBezTo>
                  <a:cubicBezTo>
                    <a:pt x="1520" y="712"/>
                    <a:pt x="1448" y="640"/>
                    <a:pt x="1360" y="640"/>
                  </a:cubicBezTo>
                  <a:close/>
                  <a:moveTo>
                    <a:pt x="1565" y="1668"/>
                  </a:moveTo>
                  <a:cubicBezTo>
                    <a:pt x="1634" y="1630"/>
                    <a:pt x="1634" y="1630"/>
                    <a:pt x="1634" y="1630"/>
                  </a:cubicBezTo>
                  <a:cubicBezTo>
                    <a:pt x="1514" y="1414"/>
                    <a:pt x="1287" y="1280"/>
                    <a:pt x="1040" y="1280"/>
                  </a:cubicBezTo>
                  <a:cubicBezTo>
                    <a:pt x="793" y="1280"/>
                    <a:pt x="566" y="1414"/>
                    <a:pt x="446" y="1630"/>
                  </a:cubicBezTo>
                  <a:cubicBezTo>
                    <a:pt x="515" y="1668"/>
                    <a:pt x="515" y="1668"/>
                    <a:pt x="515" y="1668"/>
                  </a:cubicBezTo>
                  <a:cubicBezTo>
                    <a:pt x="622" y="1478"/>
                    <a:pt x="822" y="1360"/>
                    <a:pt x="1040" y="1360"/>
                  </a:cubicBezTo>
                  <a:cubicBezTo>
                    <a:pt x="1258" y="1360"/>
                    <a:pt x="1458" y="1478"/>
                    <a:pt x="1565" y="1668"/>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37" name="Freeform 41">
              <a:extLst>
                <a:ext uri="{FF2B5EF4-FFF2-40B4-BE49-F238E27FC236}">
                  <a16:creationId xmlns:a16="http://schemas.microsoft.com/office/drawing/2014/main" xmlns="" id="{A963D6C1-0DBE-4E6E-B60B-312ED84670AE}"/>
                </a:ext>
              </a:extLst>
            </p:cNvPr>
            <p:cNvSpPr>
              <a:spLocks noChangeAspect="1" noEditPoints="1"/>
            </p:cNvSpPr>
            <p:nvPr>
              <p:custDataLst>
                <p:tags r:id="rId14"/>
              </p:custDataLst>
            </p:nvPr>
          </p:nvSpPr>
          <p:spPr bwMode="auto">
            <a:xfrm>
              <a:off x="1901576" y="3914252"/>
              <a:ext cx="286196" cy="286196"/>
            </a:xfrm>
            <a:custGeom>
              <a:avLst/>
              <a:gdLst>
                <a:gd name="T0" fmla="*/ 1040 w 2080"/>
                <a:gd name="T1" fmla="*/ 0 h 2080"/>
                <a:gd name="T2" fmla="*/ 2080 w 2080"/>
                <a:gd name="T3" fmla="*/ 1040 h 2080"/>
                <a:gd name="T4" fmla="*/ 1040 w 2080"/>
                <a:gd name="T5" fmla="*/ 2080 h 2080"/>
                <a:gd name="T6" fmla="*/ 0 w 2080"/>
                <a:gd name="T7" fmla="*/ 1040 h 2080"/>
                <a:gd name="T8" fmla="*/ 1040 w 2080"/>
                <a:gd name="T9" fmla="*/ 0 h 2080"/>
                <a:gd name="T10" fmla="*/ 720 w 2080"/>
                <a:gd name="T11" fmla="*/ 640 h 2080"/>
                <a:gd name="T12" fmla="*/ 560 w 2080"/>
                <a:gd name="T13" fmla="*/ 800 h 2080"/>
                <a:gd name="T14" fmla="*/ 720 w 2080"/>
                <a:gd name="T15" fmla="*/ 960 h 2080"/>
                <a:gd name="T16" fmla="*/ 880 w 2080"/>
                <a:gd name="T17" fmla="*/ 800 h 2080"/>
                <a:gd name="T18" fmla="*/ 720 w 2080"/>
                <a:gd name="T19" fmla="*/ 640 h 2080"/>
                <a:gd name="T20" fmla="*/ 1360 w 2080"/>
                <a:gd name="T21" fmla="*/ 640 h 2080"/>
                <a:gd name="T22" fmla="*/ 1200 w 2080"/>
                <a:gd name="T23" fmla="*/ 800 h 2080"/>
                <a:gd name="T24" fmla="*/ 1360 w 2080"/>
                <a:gd name="T25" fmla="*/ 960 h 2080"/>
                <a:gd name="T26" fmla="*/ 1520 w 2080"/>
                <a:gd name="T27" fmla="*/ 800 h 2080"/>
                <a:gd name="T28" fmla="*/ 1360 w 2080"/>
                <a:gd name="T29" fmla="*/ 640 h 2080"/>
                <a:gd name="T30" fmla="*/ 1634 w 2080"/>
                <a:gd name="T31" fmla="*/ 1370 h 2080"/>
                <a:gd name="T32" fmla="*/ 1565 w 2080"/>
                <a:gd name="T33" fmla="*/ 1332 h 2080"/>
                <a:gd name="T34" fmla="*/ 1040 w 2080"/>
                <a:gd name="T35" fmla="*/ 1640 h 2080"/>
                <a:gd name="T36" fmla="*/ 515 w 2080"/>
                <a:gd name="T37" fmla="*/ 1332 h 2080"/>
                <a:gd name="T38" fmla="*/ 446 w 2080"/>
                <a:gd name="T39" fmla="*/ 1370 h 2080"/>
                <a:gd name="T40" fmla="*/ 1040 w 2080"/>
                <a:gd name="T41" fmla="*/ 1720 h 2080"/>
                <a:gd name="T42" fmla="*/ 1634 w 2080"/>
                <a:gd name="T43" fmla="*/ 137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080" h="2080">
                  <a:moveTo>
                    <a:pt x="1040" y="0"/>
                  </a:moveTo>
                  <a:cubicBezTo>
                    <a:pt x="1614" y="0"/>
                    <a:pt x="2080" y="466"/>
                    <a:pt x="2080" y="1040"/>
                  </a:cubicBezTo>
                  <a:cubicBezTo>
                    <a:pt x="2080" y="1614"/>
                    <a:pt x="1614" y="2080"/>
                    <a:pt x="1040" y="2080"/>
                  </a:cubicBezTo>
                  <a:cubicBezTo>
                    <a:pt x="466" y="2080"/>
                    <a:pt x="0" y="1614"/>
                    <a:pt x="0" y="1040"/>
                  </a:cubicBezTo>
                  <a:cubicBezTo>
                    <a:pt x="0" y="466"/>
                    <a:pt x="466" y="0"/>
                    <a:pt x="1040" y="0"/>
                  </a:cubicBezTo>
                  <a:close/>
                  <a:moveTo>
                    <a:pt x="720" y="640"/>
                  </a:moveTo>
                  <a:cubicBezTo>
                    <a:pt x="632" y="640"/>
                    <a:pt x="560" y="712"/>
                    <a:pt x="560" y="800"/>
                  </a:cubicBezTo>
                  <a:cubicBezTo>
                    <a:pt x="560" y="888"/>
                    <a:pt x="632" y="960"/>
                    <a:pt x="720" y="960"/>
                  </a:cubicBezTo>
                  <a:cubicBezTo>
                    <a:pt x="808" y="960"/>
                    <a:pt x="880" y="888"/>
                    <a:pt x="880" y="800"/>
                  </a:cubicBezTo>
                  <a:cubicBezTo>
                    <a:pt x="880" y="712"/>
                    <a:pt x="808" y="640"/>
                    <a:pt x="720" y="640"/>
                  </a:cubicBezTo>
                  <a:close/>
                  <a:moveTo>
                    <a:pt x="1360" y="640"/>
                  </a:moveTo>
                  <a:cubicBezTo>
                    <a:pt x="1272" y="640"/>
                    <a:pt x="1200" y="712"/>
                    <a:pt x="1200" y="800"/>
                  </a:cubicBezTo>
                  <a:cubicBezTo>
                    <a:pt x="1200" y="888"/>
                    <a:pt x="1272" y="960"/>
                    <a:pt x="1360" y="960"/>
                  </a:cubicBezTo>
                  <a:cubicBezTo>
                    <a:pt x="1448" y="960"/>
                    <a:pt x="1520" y="888"/>
                    <a:pt x="1520" y="800"/>
                  </a:cubicBezTo>
                  <a:cubicBezTo>
                    <a:pt x="1520" y="712"/>
                    <a:pt x="1448" y="640"/>
                    <a:pt x="1360" y="640"/>
                  </a:cubicBezTo>
                  <a:close/>
                  <a:moveTo>
                    <a:pt x="1634" y="1370"/>
                  </a:moveTo>
                  <a:cubicBezTo>
                    <a:pt x="1565" y="1332"/>
                    <a:pt x="1565" y="1332"/>
                    <a:pt x="1565" y="1332"/>
                  </a:cubicBezTo>
                  <a:cubicBezTo>
                    <a:pt x="1458" y="1522"/>
                    <a:pt x="1258" y="1640"/>
                    <a:pt x="1040" y="1640"/>
                  </a:cubicBezTo>
                  <a:cubicBezTo>
                    <a:pt x="822" y="1640"/>
                    <a:pt x="622" y="1522"/>
                    <a:pt x="515" y="1332"/>
                  </a:cubicBezTo>
                  <a:cubicBezTo>
                    <a:pt x="446" y="1370"/>
                    <a:pt x="446" y="1370"/>
                    <a:pt x="446" y="1370"/>
                  </a:cubicBezTo>
                  <a:cubicBezTo>
                    <a:pt x="566" y="1586"/>
                    <a:pt x="793" y="1720"/>
                    <a:pt x="1040" y="1720"/>
                  </a:cubicBezTo>
                  <a:cubicBezTo>
                    <a:pt x="1287" y="1720"/>
                    <a:pt x="1514" y="1586"/>
                    <a:pt x="1634" y="1370"/>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p>
          </p:txBody>
        </p:sp>
        <p:sp>
          <p:nvSpPr>
            <p:cNvPr id="38" name="5-Point Star 6">
              <a:extLst>
                <a:ext uri="{FF2B5EF4-FFF2-40B4-BE49-F238E27FC236}">
                  <a16:creationId xmlns:a16="http://schemas.microsoft.com/office/drawing/2014/main" xmlns="" id="{B94F168E-F76C-42D3-AE67-53CA5843C017}"/>
                </a:ext>
              </a:extLst>
            </p:cNvPr>
            <p:cNvSpPr/>
            <p:nvPr/>
          </p:nvSpPr>
          <p:spPr bwMode="gray">
            <a:xfrm>
              <a:off x="1763688" y="4213335"/>
              <a:ext cx="188704" cy="158615"/>
            </a:xfrm>
            <a:prstGeom prst="star5">
              <a:avLst/>
            </a:prstGeom>
            <a:grp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sp>
          <p:nvSpPr>
            <p:cNvPr id="39" name="5-Point Star 29">
              <a:extLst>
                <a:ext uri="{FF2B5EF4-FFF2-40B4-BE49-F238E27FC236}">
                  <a16:creationId xmlns:a16="http://schemas.microsoft.com/office/drawing/2014/main" xmlns="" id="{49CAC866-834E-4B46-905A-C6799A33CF17}"/>
                </a:ext>
              </a:extLst>
            </p:cNvPr>
            <p:cNvSpPr/>
            <p:nvPr/>
          </p:nvSpPr>
          <p:spPr bwMode="gray">
            <a:xfrm>
              <a:off x="1935024" y="4213335"/>
              <a:ext cx="188704" cy="158615"/>
            </a:xfrm>
            <a:prstGeom prst="star5">
              <a:avLst/>
            </a:prstGeom>
            <a:grp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sp>
          <p:nvSpPr>
            <p:cNvPr id="40" name="5-Point Star 30">
              <a:extLst>
                <a:ext uri="{FF2B5EF4-FFF2-40B4-BE49-F238E27FC236}">
                  <a16:creationId xmlns:a16="http://schemas.microsoft.com/office/drawing/2014/main" xmlns="" id="{1FA10CF8-C641-44BE-9495-3032164F3D7C}"/>
                </a:ext>
              </a:extLst>
            </p:cNvPr>
            <p:cNvSpPr/>
            <p:nvPr/>
          </p:nvSpPr>
          <p:spPr bwMode="gray">
            <a:xfrm>
              <a:off x="2123728" y="4213335"/>
              <a:ext cx="188704" cy="158615"/>
            </a:xfrm>
            <a:prstGeom prst="star5">
              <a:avLst/>
            </a:prstGeom>
            <a:grp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sp>
          <p:nvSpPr>
            <p:cNvPr id="41" name="5-Point Star 31">
              <a:extLst>
                <a:ext uri="{FF2B5EF4-FFF2-40B4-BE49-F238E27FC236}">
                  <a16:creationId xmlns:a16="http://schemas.microsoft.com/office/drawing/2014/main" xmlns="" id="{306ED049-375C-4016-B469-CC8BD8B982C8}"/>
                </a:ext>
              </a:extLst>
            </p:cNvPr>
            <p:cNvSpPr/>
            <p:nvPr/>
          </p:nvSpPr>
          <p:spPr bwMode="gray">
            <a:xfrm>
              <a:off x="2295064" y="4213335"/>
              <a:ext cx="188704" cy="158615"/>
            </a:xfrm>
            <a:prstGeom prst="star5">
              <a:avLst/>
            </a:prstGeom>
            <a:solidFill>
              <a:schemeClr val="bg1"/>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sp>
          <p:nvSpPr>
            <p:cNvPr id="42" name="5-Point Star 32">
              <a:extLst>
                <a:ext uri="{FF2B5EF4-FFF2-40B4-BE49-F238E27FC236}">
                  <a16:creationId xmlns:a16="http://schemas.microsoft.com/office/drawing/2014/main" xmlns="" id="{6F5E0AA8-5CB6-432B-ABBE-23A74CC00DA6}"/>
                </a:ext>
              </a:extLst>
            </p:cNvPr>
            <p:cNvSpPr/>
            <p:nvPr/>
          </p:nvSpPr>
          <p:spPr bwMode="gray">
            <a:xfrm>
              <a:off x="2483768" y="4213335"/>
              <a:ext cx="188704" cy="158615"/>
            </a:xfrm>
            <a:prstGeom prst="star5">
              <a:avLst/>
            </a:prstGeom>
            <a:solidFill>
              <a:schemeClr val="bg1"/>
            </a:solidFill>
            <a:ln w="9525">
              <a:solidFill>
                <a:schemeClr val="tx1">
                  <a:lumMod val="40000"/>
                  <a:lumOff val="6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grpSp>
      <p:sp>
        <p:nvSpPr>
          <p:cNvPr id="43" name="Freeform 37">
            <a:extLst>
              <a:ext uri="{FF2B5EF4-FFF2-40B4-BE49-F238E27FC236}">
                <a16:creationId xmlns:a16="http://schemas.microsoft.com/office/drawing/2014/main" xmlns="" id="{0017061C-C5A5-4C3C-879B-A23CF5C7FBFE}"/>
              </a:ext>
            </a:extLst>
          </p:cNvPr>
          <p:cNvSpPr>
            <a:spLocks noChangeAspect="1" noEditPoints="1"/>
          </p:cNvSpPr>
          <p:nvPr>
            <p:custDataLst>
              <p:tags r:id="rId1"/>
            </p:custDataLst>
          </p:nvPr>
        </p:nvSpPr>
        <p:spPr bwMode="auto">
          <a:xfrm>
            <a:off x="3115064" y="2983299"/>
            <a:ext cx="354153" cy="460404"/>
          </a:xfrm>
          <a:custGeom>
            <a:avLst/>
            <a:gdLst>
              <a:gd name="T0" fmla="*/ 1040 w 1600"/>
              <a:gd name="T1" fmla="*/ 560 h 2080"/>
              <a:gd name="T2" fmla="*/ 1600 w 1600"/>
              <a:gd name="T3" fmla="*/ 560 h 2080"/>
              <a:gd name="T4" fmla="*/ 1600 w 1600"/>
              <a:gd name="T5" fmla="*/ 2080 h 2080"/>
              <a:gd name="T6" fmla="*/ 0 w 1600"/>
              <a:gd name="T7" fmla="*/ 2080 h 2080"/>
              <a:gd name="T8" fmla="*/ 0 w 1600"/>
              <a:gd name="T9" fmla="*/ 0 h 2080"/>
              <a:gd name="T10" fmla="*/ 1040 w 1600"/>
              <a:gd name="T11" fmla="*/ 0 h 2080"/>
              <a:gd name="T12" fmla="*/ 1040 w 1600"/>
              <a:gd name="T13" fmla="*/ 560 h 2080"/>
              <a:gd name="T14" fmla="*/ 800 w 1600"/>
              <a:gd name="T15" fmla="*/ 940 h 2080"/>
              <a:gd name="T16" fmla="*/ 740 w 1600"/>
              <a:gd name="T17" fmla="*/ 1000 h 2080"/>
              <a:gd name="T18" fmla="*/ 800 w 1600"/>
              <a:gd name="T19" fmla="*/ 1060 h 2080"/>
              <a:gd name="T20" fmla="*/ 860 w 1600"/>
              <a:gd name="T21" fmla="*/ 1000 h 2080"/>
              <a:gd name="T22" fmla="*/ 800 w 1600"/>
              <a:gd name="T23" fmla="*/ 940 h 2080"/>
              <a:gd name="T24" fmla="*/ 680 w 1600"/>
              <a:gd name="T25" fmla="*/ 1120 h 2080"/>
              <a:gd name="T26" fmla="*/ 680 w 1600"/>
              <a:gd name="T27" fmla="*/ 1200 h 2080"/>
              <a:gd name="T28" fmla="*/ 760 w 1600"/>
              <a:gd name="T29" fmla="*/ 1200 h 2080"/>
              <a:gd name="T30" fmla="*/ 760 w 1600"/>
              <a:gd name="T31" fmla="*/ 1520 h 2080"/>
              <a:gd name="T32" fmla="*/ 680 w 1600"/>
              <a:gd name="T33" fmla="*/ 1520 h 2080"/>
              <a:gd name="T34" fmla="*/ 680 w 1600"/>
              <a:gd name="T35" fmla="*/ 1600 h 2080"/>
              <a:gd name="T36" fmla="*/ 920 w 1600"/>
              <a:gd name="T37" fmla="*/ 1600 h 2080"/>
              <a:gd name="T38" fmla="*/ 920 w 1600"/>
              <a:gd name="T39" fmla="*/ 1520 h 2080"/>
              <a:gd name="T40" fmla="*/ 840 w 1600"/>
              <a:gd name="T41" fmla="*/ 1520 h 2080"/>
              <a:gd name="T42" fmla="*/ 840 w 1600"/>
              <a:gd name="T43" fmla="*/ 1120 h 2080"/>
              <a:gd name="T44" fmla="*/ 680 w 1600"/>
              <a:gd name="T45" fmla="*/ 1120 h 2080"/>
              <a:gd name="T46" fmla="*/ 800 w 1600"/>
              <a:gd name="T47" fmla="*/ 720 h 2080"/>
              <a:gd name="T48" fmla="*/ 240 w 1600"/>
              <a:gd name="T49" fmla="*/ 1280 h 2080"/>
              <a:gd name="T50" fmla="*/ 800 w 1600"/>
              <a:gd name="T51" fmla="*/ 1840 h 2080"/>
              <a:gd name="T52" fmla="*/ 1360 w 1600"/>
              <a:gd name="T53" fmla="*/ 1280 h 2080"/>
              <a:gd name="T54" fmla="*/ 800 w 1600"/>
              <a:gd name="T55" fmla="*/ 720 h 2080"/>
              <a:gd name="T56" fmla="*/ 1280 w 1600"/>
              <a:gd name="T57" fmla="*/ 1280 h 2080"/>
              <a:gd name="T58" fmla="*/ 800 w 1600"/>
              <a:gd name="T59" fmla="*/ 1760 h 2080"/>
              <a:gd name="T60" fmla="*/ 320 w 1600"/>
              <a:gd name="T61" fmla="*/ 1280 h 2080"/>
              <a:gd name="T62" fmla="*/ 800 w 1600"/>
              <a:gd name="T63" fmla="*/ 800 h 2080"/>
              <a:gd name="T64" fmla="*/ 1280 w 1600"/>
              <a:gd name="T65" fmla="*/ 1280 h 2080"/>
              <a:gd name="T66" fmla="*/ 1098 w 1600"/>
              <a:gd name="T67" fmla="*/ 5 h 2080"/>
              <a:gd name="T68" fmla="*/ 1159 w 1600"/>
              <a:gd name="T69" fmla="*/ 41 h 2080"/>
              <a:gd name="T70" fmla="*/ 1559 w 1600"/>
              <a:gd name="T71" fmla="*/ 441 h 2080"/>
              <a:gd name="T72" fmla="*/ 1595 w 1600"/>
              <a:gd name="T73" fmla="*/ 502 h 2080"/>
              <a:gd name="T74" fmla="*/ 1540 w 1600"/>
              <a:gd name="T75" fmla="*/ 480 h 2080"/>
              <a:gd name="T76" fmla="*/ 1120 w 1600"/>
              <a:gd name="T77" fmla="*/ 480 h 2080"/>
              <a:gd name="T78" fmla="*/ 1120 w 1600"/>
              <a:gd name="T79" fmla="*/ 60 h 2080"/>
              <a:gd name="T80" fmla="*/ 1098 w 1600"/>
              <a:gd name="T81" fmla="*/ 5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00" h="2080">
                <a:moveTo>
                  <a:pt x="1040" y="560"/>
                </a:moveTo>
                <a:cubicBezTo>
                  <a:pt x="1600" y="560"/>
                  <a:pt x="1600" y="560"/>
                  <a:pt x="1600" y="560"/>
                </a:cubicBezTo>
                <a:cubicBezTo>
                  <a:pt x="1600" y="2080"/>
                  <a:pt x="1600" y="2080"/>
                  <a:pt x="1600" y="2080"/>
                </a:cubicBezTo>
                <a:cubicBezTo>
                  <a:pt x="0" y="2080"/>
                  <a:pt x="0" y="2080"/>
                  <a:pt x="0" y="2080"/>
                </a:cubicBezTo>
                <a:cubicBezTo>
                  <a:pt x="0" y="0"/>
                  <a:pt x="0" y="0"/>
                  <a:pt x="0" y="0"/>
                </a:cubicBezTo>
                <a:cubicBezTo>
                  <a:pt x="1040" y="0"/>
                  <a:pt x="1040" y="0"/>
                  <a:pt x="1040" y="0"/>
                </a:cubicBezTo>
                <a:cubicBezTo>
                  <a:pt x="1040" y="187"/>
                  <a:pt x="1040" y="373"/>
                  <a:pt x="1040" y="560"/>
                </a:cubicBezTo>
                <a:close/>
                <a:moveTo>
                  <a:pt x="800" y="940"/>
                </a:moveTo>
                <a:cubicBezTo>
                  <a:pt x="767" y="940"/>
                  <a:pt x="740" y="967"/>
                  <a:pt x="740" y="1000"/>
                </a:cubicBezTo>
                <a:cubicBezTo>
                  <a:pt x="740" y="1033"/>
                  <a:pt x="767" y="1060"/>
                  <a:pt x="800" y="1060"/>
                </a:cubicBezTo>
                <a:cubicBezTo>
                  <a:pt x="833" y="1060"/>
                  <a:pt x="860" y="1033"/>
                  <a:pt x="860" y="1000"/>
                </a:cubicBezTo>
                <a:cubicBezTo>
                  <a:pt x="860" y="967"/>
                  <a:pt x="833" y="940"/>
                  <a:pt x="800" y="940"/>
                </a:cubicBezTo>
                <a:close/>
                <a:moveTo>
                  <a:pt x="680" y="1120"/>
                </a:moveTo>
                <a:cubicBezTo>
                  <a:pt x="680" y="1200"/>
                  <a:pt x="680" y="1200"/>
                  <a:pt x="680" y="1200"/>
                </a:cubicBezTo>
                <a:cubicBezTo>
                  <a:pt x="760" y="1200"/>
                  <a:pt x="760" y="1200"/>
                  <a:pt x="760" y="1200"/>
                </a:cubicBezTo>
                <a:cubicBezTo>
                  <a:pt x="760" y="1520"/>
                  <a:pt x="760" y="1520"/>
                  <a:pt x="760" y="1520"/>
                </a:cubicBezTo>
                <a:cubicBezTo>
                  <a:pt x="680" y="1520"/>
                  <a:pt x="680" y="1520"/>
                  <a:pt x="680" y="1520"/>
                </a:cubicBezTo>
                <a:cubicBezTo>
                  <a:pt x="680" y="1600"/>
                  <a:pt x="680" y="1600"/>
                  <a:pt x="680" y="1600"/>
                </a:cubicBezTo>
                <a:cubicBezTo>
                  <a:pt x="920" y="1600"/>
                  <a:pt x="920" y="1600"/>
                  <a:pt x="920" y="1600"/>
                </a:cubicBezTo>
                <a:cubicBezTo>
                  <a:pt x="920" y="1520"/>
                  <a:pt x="920" y="1520"/>
                  <a:pt x="920" y="1520"/>
                </a:cubicBezTo>
                <a:cubicBezTo>
                  <a:pt x="840" y="1520"/>
                  <a:pt x="840" y="1520"/>
                  <a:pt x="840" y="1520"/>
                </a:cubicBezTo>
                <a:cubicBezTo>
                  <a:pt x="840" y="1120"/>
                  <a:pt x="840" y="1120"/>
                  <a:pt x="840" y="1120"/>
                </a:cubicBezTo>
                <a:lnTo>
                  <a:pt x="680" y="1120"/>
                </a:lnTo>
                <a:close/>
                <a:moveTo>
                  <a:pt x="800" y="720"/>
                </a:moveTo>
                <a:cubicBezTo>
                  <a:pt x="491" y="720"/>
                  <a:pt x="240" y="971"/>
                  <a:pt x="240" y="1280"/>
                </a:cubicBezTo>
                <a:cubicBezTo>
                  <a:pt x="240" y="1589"/>
                  <a:pt x="491" y="1840"/>
                  <a:pt x="800" y="1840"/>
                </a:cubicBezTo>
                <a:cubicBezTo>
                  <a:pt x="1109" y="1840"/>
                  <a:pt x="1360" y="1589"/>
                  <a:pt x="1360" y="1280"/>
                </a:cubicBezTo>
                <a:cubicBezTo>
                  <a:pt x="1360" y="971"/>
                  <a:pt x="1109" y="720"/>
                  <a:pt x="800" y="720"/>
                </a:cubicBezTo>
                <a:close/>
                <a:moveTo>
                  <a:pt x="1280" y="1280"/>
                </a:moveTo>
                <a:cubicBezTo>
                  <a:pt x="1280" y="1545"/>
                  <a:pt x="1065" y="1760"/>
                  <a:pt x="800" y="1760"/>
                </a:cubicBezTo>
                <a:cubicBezTo>
                  <a:pt x="535" y="1760"/>
                  <a:pt x="320" y="1545"/>
                  <a:pt x="320" y="1280"/>
                </a:cubicBezTo>
                <a:cubicBezTo>
                  <a:pt x="320" y="1015"/>
                  <a:pt x="535" y="800"/>
                  <a:pt x="800" y="800"/>
                </a:cubicBezTo>
                <a:cubicBezTo>
                  <a:pt x="1065" y="800"/>
                  <a:pt x="1280" y="1015"/>
                  <a:pt x="1280" y="1280"/>
                </a:cubicBezTo>
                <a:close/>
                <a:moveTo>
                  <a:pt x="1098" y="5"/>
                </a:moveTo>
                <a:cubicBezTo>
                  <a:pt x="1121" y="12"/>
                  <a:pt x="1142" y="24"/>
                  <a:pt x="1159" y="41"/>
                </a:cubicBezTo>
                <a:cubicBezTo>
                  <a:pt x="1159" y="42"/>
                  <a:pt x="1558" y="441"/>
                  <a:pt x="1559" y="441"/>
                </a:cubicBezTo>
                <a:cubicBezTo>
                  <a:pt x="1576" y="458"/>
                  <a:pt x="1588" y="479"/>
                  <a:pt x="1595" y="502"/>
                </a:cubicBezTo>
                <a:cubicBezTo>
                  <a:pt x="1580" y="489"/>
                  <a:pt x="1561" y="480"/>
                  <a:pt x="1540" y="480"/>
                </a:cubicBezTo>
                <a:cubicBezTo>
                  <a:pt x="1120" y="480"/>
                  <a:pt x="1120" y="480"/>
                  <a:pt x="1120" y="480"/>
                </a:cubicBezTo>
                <a:cubicBezTo>
                  <a:pt x="1120" y="60"/>
                  <a:pt x="1120" y="60"/>
                  <a:pt x="1120" y="60"/>
                </a:cubicBezTo>
                <a:cubicBezTo>
                  <a:pt x="1120" y="40"/>
                  <a:pt x="1112" y="20"/>
                  <a:pt x="1098" y="5"/>
                </a:cubicBezTo>
                <a:close/>
              </a:path>
            </a:pathLst>
          </a:custGeom>
          <a:solidFill>
            <a:schemeClr val="tx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000" dirty="0"/>
          </a:p>
        </p:txBody>
      </p:sp>
      <p:grpSp>
        <p:nvGrpSpPr>
          <p:cNvPr id="44" name="Group 43">
            <a:extLst>
              <a:ext uri="{FF2B5EF4-FFF2-40B4-BE49-F238E27FC236}">
                <a16:creationId xmlns:a16="http://schemas.microsoft.com/office/drawing/2014/main" xmlns="" id="{150FD31E-788B-47E4-83F8-A16188306CC7}"/>
              </a:ext>
            </a:extLst>
          </p:cNvPr>
          <p:cNvGrpSpPr/>
          <p:nvPr/>
        </p:nvGrpSpPr>
        <p:grpSpPr>
          <a:xfrm>
            <a:off x="9680855" y="2918090"/>
            <a:ext cx="556150" cy="498971"/>
            <a:chOff x="6824162" y="3790168"/>
            <a:chExt cx="556150" cy="498971"/>
          </a:xfrm>
        </p:grpSpPr>
        <p:sp>
          <p:nvSpPr>
            <p:cNvPr id="45" name="Freeform 6">
              <a:extLst>
                <a:ext uri="{FF2B5EF4-FFF2-40B4-BE49-F238E27FC236}">
                  <a16:creationId xmlns:a16="http://schemas.microsoft.com/office/drawing/2014/main" xmlns="" id="{5F78B6FD-F2A2-4244-9A18-CCA0C8FE2F9D}"/>
                </a:ext>
              </a:extLst>
            </p:cNvPr>
            <p:cNvSpPr>
              <a:spLocks noChangeAspect="1" noEditPoints="1"/>
            </p:cNvSpPr>
            <p:nvPr>
              <p:custDataLst>
                <p:tags r:id="rId12"/>
              </p:custDataLst>
            </p:nvPr>
          </p:nvSpPr>
          <p:spPr bwMode="auto">
            <a:xfrm>
              <a:off x="6933411" y="3790168"/>
              <a:ext cx="446901" cy="446810"/>
            </a:xfrm>
            <a:custGeom>
              <a:avLst/>
              <a:gdLst>
                <a:gd name="T0" fmla="*/ 1040 w 2080"/>
                <a:gd name="T1" fmla="*/ 1960 h 2080"/>
                <a:gd name="T2" fmla="*/ 280 w 2080"/>
                <a:gd name="T3" fmla="*/ 2080 h 2080"/>
                <a:gd name="T4" fmla="*/ 160 w 2080"/>
                <a:gd name="T5" fmla="*/ 1377 h 2080"/>
                <a:gd name="T6" fmla="*/ 80 w 2080"/>
                <a:gd name="T7" fmla="*/ 560 h 2080"/>
                <a:gd name="T8" fmla="*/ 1120 w 2080"/>
                <a:gd name="T9" fmla="*/ 1297 h 2080"/>
                <a:gd name="T10" fmla="*/ 240 w 2080"/>
                <a:gd name="T11" fmla="*/ 720 h 2080"/>
                <a:gd name="T12" fmla="*/ 960 w 2080"/>
                <a:gd name="T13" fmla="*/ 1200 h 2080"/>
                <a:gd name="T14" fmla="*/ 240 w 2080"/>
                <a:gd name="T15" fmla="*/ 720 h 2080"/>
                <a:gd name="T16" fmla="*/ 880 w 2080"/>
                <a:gd name="T17" fmla="*/ 1120 h 2080"/>
                <a:gd name="T18" fmla="*/ 320 w 2080"/>
                <a:gd name="T19" fmla="*/ 800 h 2080"/>
                <a:gd name="T20" fmla="*/ 320 w 2080"/>
                <a:gd name="T21" fmla="*/ 1360 h 2080"/>
                <a:gd name="T22" fmla="*/ 880 w 2080"/>
                <a:gd name="T23" fmla="*/ 1920 h 2080"/>
                <a:gd name="T24" fmla="*/ 320 w 2080"/>
                <a:gd name="T25" fmla="*/ 1360 h 2080"/>
                <a:gd name="T26" fmla="*/ 800 w 2080"/>
                <a:gd name="T27" fmla="*/ 1520 h 2080"/>
                <a:gd name="T28" fmla="*/ 720 w 2080"/>
                <a:gd name="T29" fmla="*/ 1440 h 2080"/>
                <a:gd name="T30" fmla="*/ 640 w 2080"/>
                <a:gd name="T31" fmla="*/ 1440 h 2080"/>
                <a:gd name="T32" fmla="*/ 560 w 2080"/>
                <a:gd name="T33" fmla="*/ 1520 h 2080"/>
                <a:gd name="T34" fmla="*/ 640 w 2080"/>
                <a:gd name="T35" fmla="*/ 1440 h 2080"/>
                <a:gd name="T36" fmla="*/ 480 w 2080"/>
                <a:gd name="T37" fmla="*/ 1520 h 2080"/>
                <a:gd name="T38" fmla="*/ 400 w 2080"/>
                <a:gd name="T39" fmla="*/ 1440 h 2080"/>
                <a:gd name="T40" fmla="*/ 400 w 2080"/>
                <a:gd name="T41" fmla="*/ 1600 h 2080"/>
                <a:gd name="T42" fmla="*/ 480 w 2080"/>
                <a:gd name="T43" fmla="*/ 1680 h 2080"/>
                <a:gd name="T44" fmla="*/ 400 w 2080"/>
                <a:gd name="T45" fmla="*/ 1600 h 2080"/>
                <a:gd name="T46" fmla="*/ 640 w 2080"/>
                <a:gd name="T47" fmla="*/ 1680 h 2080"/>
                <a:gd name="T48" fmla="*/ 560 w 2080"/>
                <a:gd name="T49" fmla="*/ 1600 h 2080"/>
                <a:gd name="T50" fmla="*/ 720 w 2080"/>
                <a:gd name="T51" fmla="*/ 1680 h 2080"/>
                <a:gd name="T52" fmla="*/ 800 w 2080"/>
                <a:gd name="T53" fmla="*/ 1600 h 2080"/>
                <a:gd name="T54" fmla="*/ 720 w 2080"/>
                <a:gd name="T55" fmla="*/ 1680 h 2080"/>
                <a:gd name="T56" fmla="*/ 400 w 2080"/>
                <a:gd name="T57" fmla="*/ 1840 h 2080"/>
                <a:gd name="T58" fmla="*/ 480 w 2080"/>
                <a:gd name="T59" fmla="*/ 1760 h 2080"/>
                <a:gd name="T60" fmla="*/ 560 w 2080"/>
                <a:gd name="T61" fmla="*/ 1840 h 2080"/>
                <a:gd name="T62" fmla="*/ 640 w 2080"/>
                <a:gd name="T63" fmla="*/ 1760 h 2080"/>
                <a:gd name="T64" fmla="*/ 560 w 2080"/>
                <a:gd name="T65" fmla="*/ 1840 h 2080"/>
                <a:gd name="T66" fmla="*/ 800 w 2080"/>
                <a:gd name="T67" fmla="*/ 1840 h 2080"/>
                <a:gd name="T68" fmla="*/ 720 w 2080"/>
                <a:gd name="T69" fmla="*/ 1760 h 2080"/>
                <a:gd name="T70" fmla="*/ 120 w 2080"/>
                <a:gd name="T71" fmla="*/ 0 h 2080"/>
                <a:gd name="T72" fmla="*/ 2080 w 2080"/>
                <a:gd name="T73" fmla="*/ 120 h 2080"/>
                <a:gd name="T74" fmla="*/ 1960 w 2080"/>
                <a:gd name="T75" fmla="*/ 1600 h 2080"/>
                <a:gd name="T76" fmla="*/ 1160 w 2080"/>
                <a:gd name="T77" fmla="*/ 1440 h 2080"/>
                <a:gd name="T78" fmla="*/ 1200 w 2080"/>
                <a:gd name="T79" fmla="*/ 1386 h 2080"/>
                <a:gd name="T80" fmla="*/ 1240 w 2080"/>
                <a:gd name="T81" fmla="*/ 600 h 2080"/>
                <a:gd name="T82" fmla="*/ 1200 w 2080"/>
                <a:gd name="T83" fmla="*/ 160 h 2080"/>
                <a:gd name="T84" fmla="*/ 1120 w 2080"/>
                <a:gd name="T85" fmla="*/ 445 h 2080"/>
                <a:gd name="T86" fmla="*/ 1040 w 2080"/>
                <a:gd name="T87" fmla="*/ 160 h 2080"/>
                <a:gd name="T88" fmla="*/ 880 w 2080"/>
                <a:gd name="T89" fmla="*/ 440 h 2080"/>
                <a:gd name="T90" fmla="*/ 800 w 2080"/>
                <a:gd name="T91" fmla="*/ 160 h 2080"/>
                <a:gd name="T92" fmla="*/ 720 w 2080"/>
                <a:gd name="T93" fmla="*/ 440 h 2080"/>
                <a:gd name="T94" fmla="*/ 560 w 2080"/>
                <a:gd name="T95" fmla="*/ 160 h 2080"/>
                <a:gd name="T96" fmla="*/ 400 w 2080"/>
                <a:gd name="T97" fmla="*/ 440 h 2080"/>
                <a:gd name="T98" fmla="*/ 320 w 2080"/>
                <a:gd name="T99" fmla="*/ 160 h 2080"/>
                <a:gd name="T100" fmla="*/ 240 w 2080"/>
                <a:gd name="T101" fmla="*/ 440 h 2080"/>
                <a:gd name="T102" fmla="*/ 0 w 2080"/>
                <a:gd name="T103" fmla="*/ 494 h 2080"/>
                <a:gd name="T104" fmla="*/ 120 w 2080"/>
                <a:gd name="T105" fmla="*/ 0 h 2080"/>
                <a:gd name="T106" fmla="*/ 1680 w 2080"/>
                <a:gd name="T107" fmla="*/ 160 h 2080"/>
                <a:gd name="T108" fmla="*/ 1840 w 2080"/>
                <a:gd name="T109" fmla="*/ 1440 h 2080"/>
                <a:gd name="T110" fmla="*/ 1600 w 2080"/>
                <a:gd name="T111" fmla="*/ 160 h 2080"/>
                <a:gd name="T112" fmla="*/ 1520 w 2080"/>
                <a:gd name="T113" fmla="*/ 1440 h 2080"/>
                <a:gd name="T114" fmla="*/ 1600 w 2080"/>
                <a:gd name="T115" fmla="*/ 160 h 2080"/>
                <a:gd name="T116" fmla="*/ 1280 w 2080"/>
                <a:gd name="T117" fmla="*/ 160 h 2080"/>
                <a:gd name="T118" fmla="*/ 1360 w 2080"/>
                <a:gd name="T119" fmla="*/ 144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80" h="2080">
                  <a:moveTo>
                    <a:pt x="1040" y="1377"/>
                  </a:moveTo>
                  <a:cubicBezTo>
                    <a:pt x="1040" y="1960"/>
                    <a:pt x="1040" y="1960"/>
                    <a:pt x="1040" y="1960"/>
                  </a:cubicBezTo>
                  <a:cubicBezTo>
                    <a:pt x="1040" y="2026"/>
                    <a:pt x="986" y="2080"/>
                    <a:pt x="920" y="2080"/>
                  </a:cubicBezTo>
                  <a:cubicBezTo>
                    <a:pt x="280" y="2080"/>
                    <a:pt x="280" y="2080"/>
                    <a:pt x="280" y="2080"/>
                  </a:cubicBezTo>
                  <a:cubicBezTo>
                    <a:pt x="214" y="2080"/>
                    <a:pt x="160" y="2026"/>
                    <a:pt x="160" y="1960"/>
                  </a:cubicBezTo>
                  <a:cubicBezTo>
                    <a:pt x="160" y="1377"/>
                    <a:pt x="160" y="1377"/>
                    <a:pt x="160" y="1377"/>
                  </a:cubicBezTo>
                  <a:cubicBezTo>
                    <a:pt x="80" y="1297"/>
                    <a:pt x="80" y="1297"/>
                    <a:pt x="80" y="1297"/>
                  </a:cubicBezTo>
                  <a:cubicBezTo>
                    <a:pt x="80" y="560"/>
                    <a:pt x="80" y="560"/>
                    <a:pt x="80" y="560"/>
                  </a:cubicBezTo>
                  <a:cubicBezTo>
                    <a:pt x="1120" y="560"/>
                    <a:pt x="1120" y="560"/>
                    <a:pt x="1120" y="560"/>
                  </a:cubicBezTo>
                  <a:cubicBezTo>
                    <a:pt x="1120" y="1297"/>
                    <a:pt x="1120" y="1297"/>
                    <a:pt x="1120" y="1297"/>
                  </a:cubicBezTo>
                  <a:lnTo>
                    <a:pt x="1040" y="1377"/>
                  </a:lnTo>
                  <a:close/>
                  <a:moveTo>
                    <a:pt x="240" y="720"/>
                  </a:moveTo>
                  <a:cubicBezTo>
                    <a:pt x="240" y="1200"/>
                    <a:pt x="240" y="1200"/>
                    <a:pt x="240" y="1200"/>
                  </a:cubicBezTo>
                  <a:cubicBezTo>
                    <a:pt x="960" y="1200"/>
                    <a:pt x="960" y="1200"/>
                    <a:pt x="960" y="1200"/>
                  </a:cubicBezTo>
                  <a:cubicBezTo>
                    <a:pt x="960" y="720"/>
                    <a:pt x="960" y="720"/>
                    <a:pt x="960" y="720"/>
                  </a:cubicBezTo>
                  <a:lnTo>
                    <a:pt x="240" y="720"/>
                  </a:lnTo>
                  <a:close/>
                  <a:moveTo>
                    <a:pt x="880" y="800"/>
                  </a:moveTo>
                  <a:cubicBezTo>
                    <a:pt x="880" y="1120"/>
                    <a:pt x="880" y="1120"/>
                    <a:pt x="880" y="1120"/>
                  </a:cubicBezTo>
                  <a:cubicBezTo>
                    <a:pt x="320" y="1120"/>
                    <a:pt x="320" y="1120"/>
                    <a:pt x="320" y="1120"/>
                  </a:cubicBezTo>
                  <a:cubicBezTo>
                    <a:pt x="320" y="800"/>
                    <a:pt x="320" y="800"/>
                    <a:pt x="320" y="800"/>
                  </a:cubicBezTo>
                  <a:lnTo>
                    <a:pt x="880" y="800"/>
                  </a:lnTo>
                  <a:close/>
                  <a:moveTo>
                    <a:pt x="320" y="1360"/>
                  </a:moveTo>
                  <a:cubicBezTo>
                    <a:pt x="320" y="1920"/>
                    <a:pt x="320" y="1920"/>
                    <a:pt x="320" y="1920"/>
                  </a:cubicBezTo>
                  <a:cubicBezTo>
                    <a:pt x="880" y="1920"/>
                    <a:pt x="880" y="1920"/>
                    <a:pt x="880" y="1920"/>
                  </a:cubicBezTo>
                  <a:cubicBezTo>
                    <a:pt x="880" y="1360"/>
                    <a:pt x="880" y="1360"/>
                    <a:pt x="880" y="1360"/>
                  </a:cubicBezTo>
                  <a:lnTo>
                    <a:pt x="320" y="1360"/>
                  </a:lnTo>
                  <a:close/>
                  <a:moveTo>
                    <a:pt x="800" y="1440"/>
                  </a:moveTo>
                  <a:cubicBezTo>
                    <a:pt x="800" y="1520"/>
                    <a:pt x="800" y="1520"/>
                    <a:pt x="800" y="1520"/>
                  </a:cubicBezTo>
                  <a:cubicBezTo>
                    <a:pt x="720" y="1520"/>
                    <a:pt x="720" y="1520"/>
                    <a:pt x="720" y="1520"/>
                  </a:cubicBezTo>
                  <a:cubicBezTo>
                    <a:pt x="720" y="1440"/>
                    <a:pt x="720" y="1440"/>
                    <a:pt x="720" y="1440"/>
                  </a:cubicBezTo>
                  <a:lnTo>
                    <a:pt x="800" y="1440"/>
                  </a:lnTo>
                  <a:close/>
                  <a:moveTo>
                    <a:pt x="640" y="1440"/>
                  </a:moveTo>
                  <a:cubicBezTo>
                    <a:pt x="640" y="1520"/>
                    <a:pt x="640" y="1520"/>
                    <a:pt x="640" y="1520"/>
                  </a:cubicBezTo>
                  <a:cubicBezTo>
                    <a:pt x="560" y="1520"/>
                    <a:pt x="560" y="1520"/>
                    <a:pt x="560" y="1520"/>
                  </a:cubicBezTo>
                  <a:cubicBezTo>
                    <a:pt x="560" y="1440"/>
                    <a:pt x="560" y="1440"/>
                    <a:pt x="560" y="1440"/>
                  </a:cubicBezTo>
                  <a:lnTo>
                    <a:pt x="640" y="1440"/>
                  </a:lnTo>
                  <a:close/>
                  <a:moveTo>
                    <a:pt x="480" y="1440"/>
                  </a:moveTo>
                  <a:cubicBezTo>
                    <a:pt x="480" y="1520"/>
                    <a:pt x="480" y="1520"/>
                    <a:pt x="480" y="1520"/>
                  </a:cubicBezTo>
                  <a:cubicBezTo>
                    <a:pt x="400" y="1520"/>
                    <a:pt x="400" y="1520"/>
                    <a:pt x="400" y="1520"/>
                  </a:cubicBezTo>
                  <a:cubicBezTo>
                    <a:pt x="400" y="1440"/>
                    <a:pt x="400" y="1440"/>
                    <a:pt x="400" y="1440"/>
                  </a:cubicBezTo>
                  <a:lnTo>
                    <a:pt x="480" y="1440"/>
                  </a:lnTo>
                  <a:close/>
                  <a:moveTo>
                    <a:pt x="400" y="1600"/>
                  </a:moveTo>
                  <a:cubicBezTo>
                    <a:pt x="400" y="1680"/>
                    <a:pt x="400" y="1680"/>
                    <a:pt x="400" y="1680"/>
                  </a:cubicBezTo>
                  <a:cubicBezTo>
                    <a:pt x="480" y="1680"/>
                    <a:pt x="480" y="1680"/>
                    <a:pt x="480" y="1680"/>
                  </a:cubicBezTo>
                  <a:cubicBezTo>
                    <a:pt x="480" y="1600"/>
                    <a:pt x="480" y="1600"/>
                    <a:pt x="480" y="1600"/>
                  </a:cubicBezTo>
                  <a:lnTo>
                    <a:pt x="400" y="1600"/>
                  </a:lnTo>
                  <a:close/>
                  <a:moveTo>
                    <a:pt x="560" y="1680"/>
                  </a:moveTo>
                  <a:cubicBezTo>
                    <a:pt x="640" y="1680"/>
                    <a:pt x="640" y="1680"/>
                    <a:pt x="640" y="1680"/>
                  </a:cubicBezTo>
                  <a:cubicBezTo>
                    <a:pt x="640" y="1600"/>
                    <a:pt x="640" y="1600"/>
                    <a:pt x="640" y="1600"/>
                  </a:cubicBezTo>
                  <a:cubicBezTo>
                    <a:pt x="560" y="1600"/>
                    <a:pt x="560" y="1600"/>
                    <a:pt x="560" y="1600"/>
                  </a:cubicBezTo>
                  <a:lnTo>
                    <a:pt x="560" y="1680"/>
                  </a:lnTo>
                  <a:close/>
                  <a:moveTo>
                    <a:pt x="720" y="1680"/>
                  </a:moveTo>
                  <a:cubicBezTo>
                    <a:pt x="800" y="1680"/>
                    <a:pt x="800" y="1680"/>
                    <a:pt x="800" y="1680"/>
                  </a:cubicBezTo>
                  <a:cubicBezTo>
                    <a:pt x="800" y="1600"/>
                    <a:pt x="800" y="1600"/>
                    <a:pt x="800" y="1600"/>
                  </a:cubicBezTo>
                  <a:cubicBezTo>
                    <a:pt x="720" y="1600"/>
                    <a:pt x="720" y="1600"/>
                    <a:pt x="720" y="1600"/>
                  </a:cubicBezTo>
                  <a:lnTo>
                    <a:pt x="720" y="1680"/>
                  </a:lnTo>
                  <a:close/>
                  <a:moveTo>
                    <a:pt x="400" y="1760"/>
                  </a:moveTo>
                  <a:cubicBezTo>
                    <a:pt x="400" y="1840"/>
                    <a:pt x="400" y="1840"/>
                    <a:pt x="400" y="1840"/>
                  </a:cubicBezTo>
                  <a:cubicBezTo>
                    <a:pt x="480" y="1840"/>
                    <a:pt x="480" y="1840"/>
                    <a:pt x="480" y="1840"/>
                  </a:cubicBezTo>
                  <a:cubicBezTo>
                    <a:pt x="480" y="1760"/>
                    <a:pt x="480" y="1760"/>
                    <a:pt x="480" y="1760"/>
                  </a:cubicBezTo>
                  <a:lnTo>
                    <a:pt x="400" y="1760"/>
                  </a:lnTo>
                  <a:close/>
                  <a:moveTo>
                    <a:pt x="560" y="1840"/>
                  </a:moveTo>
                  <a:cubicBezTo>
                    <a:pt x="640" y="1840"/>
                    <a:pt x="640" y="1840"/>
                    <a:pt x="640" y="1840"/>
                  </a:cubicBezTo>
                  <a:cubicBezTo>
                    <a:pt x="640" y="1760"/>
                    <a:pt x="640" y="1760"/>
                    <a:pt x="640" y="1760"/>
                  </a:cubicBezTo>
                  <a:cubicBezTo>
                    <a:pt x="560" y="1760"/>
                    <a:pt x="560" y="1760"/>
                    <a:pt x="560" y="1760"/>
                  </a:cubicBezTo>
                  <a:lnTo>
                    <a:pt x="560" y="1840"/>
                  </a:lnTo>
                  <a:close/>
                  <a:moveTo>
                    <a:pt x="720" y="1840"/>
                  </a:moveTo>
                  <a:cubicBezTo>
                    <a:pt x="800" y="1840"/>
                    <a:pt x="800" y="1840"/>
                    <a:pt x="800" y="1840"/>
                  </a:cubicBezTo>
                  <a:cubicBezTo>
                    <a:pt x="800" y="1760"/>
                    <a:pt x="800" y="1760"/>
                    <a:pt x="800" y="1760"/>
                  </a:cubicBezTo>
                  <a:cubicBezTo>
                    <a:pt x="720" y="1760"/>
                    <a:pt x="720" y="1760"/>
                    <a:pt x="720" y="1760"/>
                  </a:cubicBezTo>
                  <a:lnTo>
                    <a:pt x="720" y="1840"/>
                  </a:lnTo>
                  <a:close/>
                  <a:moveTo>
                    <a:pt x="120" y="0"/>
                  </a:moveTo>
                  <a:cubicBezTo>
                    <a:pt x="1960" y="0"/>
                    <a:pt x="1960" y="0"/>
                    <a:pt x="1960" y="0"/>
                  </a:cubicBezTo>
                  <a:cubicBezTo>
                    <a:pt x="2026" y="0"/>
                    <a:pt x="2080" y="54"/>
                    <a:pt x="2080" y="120"/>
                  </a:cubicBezTo>
                  <a:cubicBezTo>
                    <a:pt x="2080" y="1480"/>
                    <a:pt x="2080" y="1480"/>
                    <a:pt x="2080" y="1480"/>
                  </a:cubicBezTo>
                  <a:cubicBezTo>
                    <a:pt x="2080" y="1546"/>
                    <a:pt x="2026" y="1600"/>
                    <a:pt x="1960" y="1600"/>
                  </a:cubicBezTo>
                  <a:cubicBezTo>
                    <a:pt x="1160" y="1600"/>
                    <a:pt x="1160" y="1600"/>
                    <a:pt x="1160" y="1600"/>
                  </a:cubicBezTo>
                  <a:cubicBezTo>
                    <a:pt x="1160" y="1440"/>
                    <a:pt x="1160" y="1440"/>
                    <a:pt x="1160" y="1440"/>
                  </a:cubicBezTo>
                  <a:cubicBezTo>
                    <a:pt x="1200" y="1440"/>
                    <a:pt x="1200" y="1440"/>
                    <a:pt x="1200" y="1440"/>
                  </a:cubicBezTo>
                  <a:cubicBezTo>
                    <a:pt x="1200" y="1386"/>
                    <a:pt x="1200" y="1386"/>
                    <a:pt x="1200" y="1386"/>
                  </a:cubicBezTo>
                  <a:cubicBezTo>
                    <a:pt x="1224" y="1358"/>
                    <a:pt x="1240" y="1321"/>
                    <a:pt x="1240" y="1280"/>
                  </a:cubicBezTo>
                  <a:cubicBezTo>
                    <a:pt x="1240" y="600"/>
                    <a:pt x="1240" y="600"/>
                    <a:pt x="1240" y="600"/>
                  </a:cubicBezTo>
                  <a:cubicBezTo>
                    <a:pt x="1240" y="560"/>
                    <a:pt x="1224" y="523"/>
                    <a:pt x="1200" y="494"/>
                  </a:cubicBezTo>
                  <a:cubicBezTo>
                    <a:pt x="1200" y="160"/>
                    <a:pt x="1200" y="160"/>
                    <a:pt x="1200" y="160"/>
                  </a:cubicBezTo>
                  <a:cubicBezTo>
                    <a:pt x="1120" y="160"/>
                    <a:pt x="1120" y="160"/>
                    <a:pt x="1120" y="160"/>
                  </a:cubicBezTo>
                  <a:cubicBezTo>
                    <a:pt x="1120" y="445"/>
                    <a:pt x="1120" y="445"/>
                    <a:pt x="1120" y="445"/>
                  </a:cubicBezTo>
                  <a:cubicBezTo>
                    <a:pt x="1094" y="439"/>
                    <a:pt x="1066" y="440"/>
                    <a:pt x="1040" y="440"/>
                  </a:cubicBezTo>
                  <a:cubicBezTo>
                    <a:pt x="1040" y="160"/>
                    <a:pt x="1040" y="160"/>
                    <a:pt x="1040" y="160"/>
                  </a:cubicBezTo>
                  <a:cubicBezTo>
                    <a:pt x="880" y="160"/>
                    <a:pt x="880" y="160"/>
                    <a:pt x="880" y="160"/>
                  </a:cubicBezTo>
                  <a:cubicBezTo>
                    <a:pt x="880" y="440"/>
                    <a:pt x="880" y="440"/>
                    <a:pt x="880" y="440"/>
                  </a:cubicBezTo>
                  <a:cubicBezTo>
                    <a:pt x="800" y="440"/>
                    <a:pt x="800" y="440"/>
                    <a:pt x="800" y="440"/>
                  </a:cubicBezTo>
                  <a:cubicBezTo>
                    <a:pt x="800" y="160"/>
                    <a:pt x="800" y="160"/>
                    <a:pt x="800" y="160"/>
                  </a:cubicBezTo>
                  <a:cubicBezTo>
                    <a:pt x="720" y="160"/>
                    <a:pt x="720" y="160"/>
                    <a:pt x="720" y="160"/>
                  </a:cubicBezTo>
                  <a:cubicBezTo>
                    <a:pt x="720" y="440"/>
                    <a:pt x="720" y="440"/>
                    <a:pt x="720" y="440"/>
                  </a:cubicBezTo>
                  <a:cubicBezTo>
                    <a:pt x="560" y="440"/>
                    <a:pt x="560" y="440"/>
                    <a:pt x="560" y="440"/>
                  </a:cubicBezTo>
                  <a:cubicBezTo>
                    <a:pt x="560" y="160"/>
                    <a:pt x="560" y="160"/>
                    <a:pt x="560" y="160"/>
                  </a:cubicBezTo>
                  <a:cubicBezTo>
                    <a:pt x="400" y="160"/>
                    <a:pt x="400" y="160"/>
                    <a:pt x="400" y="160"/>
                  </a:cubicBezTo>
                  <a:cubicBezTo>
                    <a:pt x="400" y="440"/>
                    <a:pt x="400" y="440"/>
                    <a:pt x="400" y="440"/>
                  </a:cubicBezTo>
                  <a:cubicBezTo>
                    <a:pt x="320" y="440"/>
                    <a:pt x="320" y="440"/>
                    <a:pt x="320" y="440"/>
                  </a:cubicBezTo>
                  <a:cubicBezTo>
                    <a:pt x="320" y="160"/>
                    <a:pt x="320" y="160"/>
                    <a:pt x="320" y="160"/>
                  </a:cubicBezTo>
                  <a:cubicBezTo>
                    <a:pt x="240" y="160"/>
                    <a:pt x="240" y="160"/>
                    <a:pt x="240" y="160"/>
                  </a:cubicBezTo>
                  <a:cubicBezTo>
                    <a:pt x="240" y="440"/>
                    <a:pt x="240" y="440"/>
                    <a:pt x="240" y="440"/>
                  </a:cubicBezTo>
                  <a:cubicBezTo>
                    <a:pt x="120" y="440"/>
                    <a:pt x="120" y="440"/>
                    <a:pt x="120" y="440"/>
                  </a:cubicBezTo>
                  <a:cubicBezTo>
                    <a:pt x="72" y="440"/>
                    <a:pt x="29" y="461"/>
                    <a:pt x="0" y="494"/>
                  </a:cubicBezTo>
                  <a:cubicBezTo>
                    <a:pt x="0" y="120"/>
                    <a:pt x="0" y="120"/>
                    <a:pt x="0" y="120"/>
                  </a:cubicBezTo>
                  <a:cubicBezTo>
                    <a:pt x="0" y="54"/>
                    <a:pt x="54" y="0"/>
                    <a:pt x="120" y="0"/>
                  </a:cubicBezTo>
                  <a:close/>
                  <a:moveTo>
                    <a:pt x="1840" y="160"/>
                  </a:moveTo>
                  <a:cubicBezTo>
                    <a:pt x="1786" y="160"/>
                    <a:pt x="1733" y="160"/>
                    <a:pt x="1680" y="160"/>
                  </a:cubicBezTo>
                  <a:cubicBezTo>
                    <a:pt x="1680" y="1440"/>
                    <a:pt x="1680" y="1440"/>
                    <a:pt x="1680" y="1440"/>
                  </a:cubicBezTo>
                  <a:cubicBezTo>
                    <a:pt x="1733" y="1440"/>
                    <a:pt x="1786" y="1440"/>
                    <a:pt x="1840" y="1440"/>
                  </a:cubicBezTo>
                  <a:lnTo>
                    <a:pt x="1840" y="160"/>
                  </a:lnTo>
                  <a:close/>
                  <a:moveTo>
                    <a:pt x="1600" y="160"/>
                  </a:moveTo>
                  <a:cubicBezTo>
                    <a:pt x="1520" y="160"/>
                    <a:pt x="1520" y="160"/>
                    <a:pt x="1520" y="160"/>
                  </a:cubicBezTo>
                  <a:cubicBezTo>
                    <a:pt x="1520" y="1440"/>
                    <a:pt x="1520" y="1440"/>
                    <a:pt x="1520" y="1440"/>
                  </a:cubicBezTo>
                  <a:cubicBezTo>
                    <a:pt x="1600" y="1440"/>
                    <a:pt x="1600" y="1440"/>
                    <a:pt x="1600" y="1440"/>
                  </a:cubicBezTo>
                  <a:lnTo>
                    <a:pt x="1600" y="160"/>
                  </a:lnTo>
                  <a:close/>
                  <a:moveTo>
                    <a:pt x="1360" y="160"/>
                  </a:moveTo>
                  <a:cubicBezTo>
                    <a:pt x="1280" y="160"/>
                    <a:pt x="1280" y="160"/>
                    <a:pt x="1280" y="160"/>
                  </a:cubicBezTo>
                  <a:cubicBezTo>
                    <a:pt x="1280" y="1440"/>
                    <a:pt x="1280" y="1440"/>
                    <a:pt x="1280" y="1440"/>
                  </a:cubicBezTo>
                  <a:cubicBezTo>
                    <a:pt x="1360" y="1440"/>
                    <a:pt x="1360" y="1440"/>
                    <a:pt x="1360" y="1440"/>
                  </a:cubicBezTo>
                  <a:lnTo>
                    <a:pt x="1360" y="160"/>
                  </a:lnTo>
                  <a:close/>
                </a:path>
              </a:pathLst>
            </a:custGeom>
            <a:solidFill>
              <a:schemeClr val="tx1">
                <a:lumMod val="40000"/>
                <a:lumOff val="60000"/>
              </a:schemeClr>
            </a:solidFill>
            <a:ln>
              <a:solidFill>
                <a:schemeClr val="tx1">
                  <a:lumMod val="40000"/>
                  <a:lumOff val="60000"/>
                </a:schemeClr>
              </a:solidFill>
            </a:ln>
          </p:spPr>
          <p:txBody>
            <a:bodyPr vert="horz" wrap="square" lIns="91440" tIns="45720" rIns="91440" bIns="45720" numCol="1" anchor="t" anchorCtr="0" compatLnSpc="1">
              <a:prstTxWarp prst="textNoShape">
                <a:avLst/>
              </a:prstTxWarp>
            </a:bodyPr>
            <a:lstStyle/>
            <a:p>
              <a:endParaRPr lang="en-US" dirty="0"/>
            </a:p>
          </p:txBody>
        </p:sp>
        <p:sp>
          <p:nvSpPr>
            <p:cNvPr id="46" name="Rounded Rectangle 39">
              <a:extLst>
                <a:ext uri="{FF2B5EF4-FFF2-40B4-BE49-F238E27FC236}">
                  <a16:creationId xmlns:a16="http://schemas.microsoft.com/office/drawing/2014/main" xmlns="" id="{414A1A3D-3C08-4D52-B103-2ED145941F3C}"/>
                </a:ext>
              </a:extLst>
            </p:cNvPr>
            <p:cNvSpPr/>
            <p:nvPr/>
          </p:nvSpPr>
          <p:spPr bwMode="gray">
            <a:xfrm>
              <a:off x="6922335" y="3897749"/>
              <a:ext cx="295333" cy="344363"/>
            </a:xfrm>
            <a:prstGeom prst="roundRect">
              <a:avLst/>
            </a:prstGeom>
            <a:solidFill>
              <a:schemeClr val="bg1"/>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grpSp>
          <p:nvGrpSpPr>
            <p:cNvPr id="47" name="Group 46">
              <a:extLst>
                <a:ext uri="{FF2B5EF4-FFF2-40B4-BE49-F238E27FC236}">
                  <a16:creationId xmlns:a16="http://schemas.microsoft.com/office/drawing/2014/main" xmlns="" id="{2DCBBCA6-928B-4948-9C79-DB3302A9ECE3}"/>
                </a:ext>
              </a:extLst>
            </p:cNvPr>
            <p:cNvGrpSpPr/>
            <p:nvPr/>
          </p:nvGrpSpPr>
          <p:grpSpPr>
            <a:xfrm>
              <a:off x="6824162" y="3904369"/>
              <a:ext cx="378653" cy="384770"/>
              <a:chOff x="7535258" y="4160501"/>
              <a:chExt cx="378653" cy="384770"/>
            </a:xfrm>
          </p:grpSpPr>
          <p:sp>
            <p:nvSpPr>
              <p:cNvPr id="48" name="Rectangle 47">
                <a:extLst>
                  <a:ext uri="{FF2B5EF4-FFF2-40B4-BE49-F238E27FC236}">
                    <a16:creationId xmlns:a16="http://schemas.microsoft.com/office/drawing/2014/main" xmlns="" id="{44ECED00-4696-47F7-90B9-E80115946074}"/>
                  </a:ext>
                </a:extLst>
              </p:cNvPr>
              <p:cNvSpPr/>
              <p:nvPr/>
            </p:nvSpPr>
            <p:spPr bwMode="gray">
              <a:xfrm>
                <a:off x="7535258" y="4160501"/>
                <a:ext cx="200649" cy="359151"/>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grpSp>
            <p:nvGrpSpPr>
              <p:cNvPr id="49" name="Group 48">
                <a:extLst>
                  <a:ext uri="{FF2B5EF4-FFF2-40B4-BE49-F238E27FC236}">
                    <a16:creationId xmlns:a16="http://schemas.microsoft.com/office/drawing/2014/main" xmlns="" id="{5D937004-988D-4DCD-AFB1-FBACCDD439B2}"/>
                  </a:ext>
                </a:extLst>
              </p:cNvPr>
              <p:cNvGrpSpPr/>
              <p:nvPr/>
            </p:nvGrpSpPr>
            <p:grpSpPr>
              <a:xfrm>
                <a:off x="7654414" y="4160501"/>
                <a:ext cx="259497" cy="384770"/>
                <a:chOff x="3343472" y="3948036"/>
                <a:chExt cx="259497" cy="384770"/>
              </a:xfrm>
            </p:grpSpPr>
            <p:sp>
              <p:nvSpPr>
                <p:cNvPr id="50" name="Freeform 31">
                  <a:extLst>
                    <a:ext uri="{FF2B5EF4-FFF2-40B4-BE49-F238E27FC236}">
                      <a16:creationId xmlns:a16="http://schemas.microsoft.com/office/drawing/2014/main" xmlns="" id="{186339B8-EA6E-4F15-B8C5-381806CFE0C6}"/>
                    </a:ext>
                  </a:extLst>
                </p:cNvPr>
                <p:cNvSpPr>
                  <a:spLocks noEditPoints="1"/>
                </p:cNvSpPr>
                <p:nvPr/>
              </p:nvSpPr>
              <p:spPr bwMode="auto">
                <a:xfrm>
                  <a:off x="3343472" y="3948036"/>
                  <a:ext cx="259497" cy="384770"/>
                </a:xfrm>
                <a:custGeom>
                  <a:avLst/>
                  <a:gdLst>
                    <a:gd name="T0" fmla="*/ 925 w 1074"/>
                    <a:gd name="T1" fmla="*/ 0 h 1582"/>
                    <a:gd name="T2" fmla="*/ 149 w 1074"/>
                    <a:gd name="T3" fmla="*/ 0 h 1582"/>
                    <a:gd name="T4" fmla="*/ 0 w 1074"/>
                    <a:gd name="T5" fmla="*/ 150 h 1582"/>
                    <a:gd name="T6" fmla="*/ 0 w 1074"/>
                    <a:gd name="T7" fmla="*/ 1433 h 1582"/>
                    <a:gd name="T8" fmla="*/ 149 w 1074"/>
                    <a:gd name="T9" fmla="*/ 1582 h 1582"/>
                    <a:gd name="T10" fmla="*/ 925 w 1074"/>
                    <a:gd name="T11" fmla="*/ 1582 h 1582"/>
                    <a:gd name="T12" fmla="*/ 1074 w 1074"/>
                    <a:gd name="T13" fmla="*/ 1433 h 1582"/>
                    <a:gd name="T14" fmla="*/ 1074 w 1074"/>
                    <a:gd name="T15" fmla="*/ 150 h 1582"/>
                    <a:gd name="T16" fmla="*/ 925 w 1074"/>
                    <a:gd name="T17" fmla="*/ 0 h 1582"/>
                    <a:gd name="T18" fmla="*/ 447 w 1074"/>
                    <a:gd name="T19" fmla="*/ 120 h 1582"/>
                    <a:gd name="T20" fmla="*/ 626 w 1074"/>
                    <a:gd name="T21" fmla="*/ 120 h 1582"/>
                    <a:gd name="T22" fmla="*/ 656 w 1074"/>
                    <a:gd name="T23" fmla="*/ 150 h 1582"/>
                    <a:gd name="T24" fmla="*/ 626 w 1074"/>
                    <a:gd name="T25" fmla="*/ 179 h 1582"/>
                    <a:gd name="T26" fmla="*/ 447 w 1074"/>
                    <a:gd name="T27" fmla="*/ 179 h 1582"/>
                    <a:gd name="T28" fmla="*/ 417 w 1074"/>
                    <a:gd name="T29" fmla="*/ 150 h 1582"/>
                    <a:gd name="T30" fmla="*/ 447 w 1074"/>
                    <a:gd name="T31" fmla="*/ 120 h 1582"/>
                    <a:gd name="T32" fmla="*/ 538 w 1074"/>
                    <a:gd name="T33" fmla="*/ 1492 h 1582"/>
                    <a:gd name="T34" fmla="*/ 448 w 1074"/>
                    <a:gd name="T35" fmla="*/ 1402 h 1582"/>
                    <a:gd name="T36" fmla="*/ 538 w 1074"/>
                    <a:gd name="T37" fmla="*/ 1313 h 1582"/>
                    <a:gd name="T38" fmla="*/ 627 w 1074"/>
                    <a:gd name="T39" fmla="*/ 1402 h 1582"/>
                    <a:gd name="T40" fmla="*/ 538 w 1074"/>
                    <a:gd name="T41" fmla="*/ 1492 h 1582"/>
                    <a:gd name="T42" fmla="*/ 925 w 1074"/>
                    <a:gd name="T43" fmla="*/ 1254 h 1582"/>
                    <a:gd name="T44" fmla="*/ 149 w 1074"/>
                    <a:gd name="T45" fmla="*/ 1254 h 1582"/>
                    <a:gd name="T46" fmla="*/ 149 w 1074"/>
                    <a:gd name="T47" fmla="*/ 269 h 1582"/>
                    <a:gd name="T48" fmla="*/ 925 w 1074"/>
                    <a:gd name="T49" fmla="*/ 269 h 1582"/>
                    <a:gd name="T50" fmla="*/ 925 w 1074"/>
                    <a:gd name="T51" fmla="*/ 1254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074" h="1582">
                      <a:moveTo>
                        <a:pt x="925" y="0"/>
                      </a:moveTo>
                      <a:cubicBezTo>
                        <a:pt x="149" y="0"/>
                        <a:pt x="149" y="0"/>
                        <a:pt x="149" y="0"/>
                      </a:cubicBezTo>
                      <a:cubicBezTo>
                        <a:pt x="67" y="0"/>
                        <a:pt x="0" y="67"/>
                        <a:pt x="0" y="150"/>
                      </a:cubicBezTo>
                      <a:cubicBezTo>
                        <a:pt x="0" y="1433"/>
                        <a:pt x="0" y="1433"/>
                        <a:pt x="0" y="1433"/>
                      </a:cubicBezTo>
                      <a:cubicBezTo>
                        <a:pt x="0" y="1515"/>
                        <a:pt x="67" y="1582"/>
                        <a:pt x="149" y="1582"/>
                      </a:cubicBezTo>
                      <a:cubicBezTo>
                        <a:pt x="925" y="1582"/>
                        <a:pt x="925" y="1582"/>
                        <a:pt x="925" y="1582"/>
                      </a:cubicBezTo>
                      <a:cubicBezTo>
                        <a:pt x="1007" y="1582"/>
                        <a:pt x="1074" y="1515"/>
                        <a:pt x="1074" y="1433"/>
                      </a:cubicBezTo>
                      <a:cubicBezTo>
                        <a:pt x="1074" y="150"/>
                        <a:pt x="1074" y="150"/>
                        <a:pt x="1074" y="150"/>
                      </a:cubicBezTo>
                      <a:cubicBezTo>
                        <a:pt x="1074" y="67"/>
                        <a:pt x="1007" y="0"/>
                        <a:pt x="925" y="0"/>
                      </a:cubicBezTo>
                      <a:close/>
                      <a:moveTo>
                        <a:pt x="447" y="120"/>
                      </a:moveTo>
                      <a:cubicBezTo>
                        <a:pt x="626" y="120"/>
                        <a:pt x="626" y="120"/>
                        <a:pt x="626" y="120"/>
                      </a:cubicBezTo>
                      <a:cubicBezTo>
                        <a:pt x="643" y="120"/>
                        <a:pt x="656" y="133"/>
                        <a:pt x="656" y="150"/>
                      </a:cubicBezTo>
                      <a:cubicBezTo>
                        <a:pt x="656" y="166"/>
                        <a:pt x="643" y="179"/>
                        <a:pt x="626" y="179"/>
                      </a:cubicBezTo>
                      <a:cubicBezTo>
                        <a:pt x="447" y="179"/>
                        <a:pt x="447" y="179"/>
                        <a:pt x="447" y="179"/>
                      </a:cubicBezTo>
                      <a:cubicBezTo>
                        <a:pt x="431" y="179"/>
                        <a:pt x="417" y="166"/>
                        <a:pt x="417" y="150"/>
                      </a:cubicBezTo>
                      <a:cubicBezTo>
                        <a:pt x="417" y="133"/>
                        <a:pt x="431" y="120"/>
                        <a:pt x="447" y="120"/>
                      </a:cubicBezTo>
                      <a:close/>
                      <a:moveTo>
                        <a:pt x="538" y="1492"/>
                      </a:moveTo>
                      <a:cubicBezTo>
                        <a:pt x="488" y="1492"/>
                        <a:pt x="448" y="1452"/>
                        <a:pt x="448" y="1402"/>
                      </a:cubicBezTo>
                      <a:cubicBezTo>
                        <a:pt x="448" y="1353"/>
                        <a:pt x="488" y="1313"/>
                        <a:pt x="538" y="1313"/>
                      </a:cubicBezTo>
                      <a:cubicBezTo>
                        <a:pt x="587" y="1313"/>
                        <a:pt x="627" y="1353"/>
                        <a:pt x="627" y="1402"/>
                      </a:cubicBezTo>
                      <a:cubicBezTo>
                        <a:pt x="627" y="1452"/>
                        <a:pt x="587" y="1492"/>
                        <a:pt x="538" y="1492"/>
                      </a:cubicBezTo>
                      <a:close/>
                      <a:moveTo>
                        <a:pt x="925" y="1254"/>
                      </a:moveTo>
                      <a:cubicBezTo>
                        <a:pt x="149" y="1254"/>
                        <a:pt x="149" y="1254"/>
                        <a:pt x="149" y="1254"/>
                      </a:cubicBezTo>
                      <a:cubicBezTo>
                        <a:pt x="149" y="269"/>
                        <a:pt x="149" y="269"/>
                        <a:pt x="149" y="269"/>
                      </a:cubicBezTo>
                      <a:cubicBezTo>
                        <a:pt x="925" y="269"/>
                        <a:pt x="925" y="269"/>
                        <a:pt x="925" y="269"/>
                      </a:cubicBezTo>
                      <a:cubicBezTo>
                        <a:pt x="925" y="1254"/>
                        <a:pt x="925" y="1254"/>
                        <a:pt x="925" y="1254"/>
                      </a:cubicBezTo>
                      <a:close/>
                    </a:path>
                  </a:pathLst>
                </a:cu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1" name="Freeform 29">
                  <a:extLst>
                    <a:ext uri="{FF2B5EF4-FFF2-40B4-BE49-F238E27FC236}">
                      <a16:creationId xmlns:a16="http://schemas.microsoft.com/office/drawing/2014/main" xmlns="" id="{31E41934-D80E-4DDE-9109-200B41E75F44}"/>
                    </a:ext>
                  </a:extLst>
                </p:cNvPr>
                <p:cNvSpPr>
                  <a:spLocks noEditPoints="1"/>
                </p:cNvSpPr>
                <p:nvPr/>
              </p:nvSpPr>
              <p:spPr bwMode="auto">
                <a:xfrm>
                  <a:off x="3414926" y="4105476"/>
                  <a:ext cx="115576" cy="115575"/>
                </a:xfrm>
                <a:custGeom>
                  <a:avLst/>
                  <a:gdLst>
                    <a:gd name="T0" fmla="*/ 834 w 1667"/>
                    <a:gd name="T1" fmla="*/ 0 h 1667"/>
                    <a:gd name="T2" fmla="*/ 0 w 1667"/>
                    <a:gd name="T3" fmla="*/ 833 h 1667"/>
                    <a:gd name="T4" fmla="*/ 834 w 1667"/>
                    <a:gd name="T5" fmla="*/ 1667 h 1667"/>
                    <a:gd name="T6" fmla="*/ 1667 w 1667"/>
                    <a:gd name="T7" fmla="*/ 833 h 1667"/>
                    <a:gd name="T8" fmla="*/ 834 w 1667"/>
                    <a:gd name="T9" fmla="*/ 0 h 1667"/>
                    <a:gd name="T10" fmla="*/ 1095 w 1667"/>
                    <a:gd name="T11" fmla="*/ 1311 h 1667"/>
                    <a:gd name="T12" fmla="*/ 930 w 1667"/>
                    <a:gd name="T13" fmla="*/ 1324 h 1667"/>
                    <a:gd name="T14" fmla="*/ 500 w 1667"/>
                    <a:gd name="T15" fmla="*/ 958 h 1667"/>
                    <a:gd name="T16" fmla="*/ 418 w 1667"/>
                    <a:gd name="T17" fmla="*/ 958 h 1667"/>
                    <a:gd name="T18" fmla="*/ 384 w 1667"/>
                    <a:gd name="T19" fmla="*/ 915 h 1667"/>
                    <a:gd name="T20" fmla="*/ 418 w 1667"/>
                    <a:gd name="T21" fmla="*/ 869 h 1667"/>
                    <a:gd name="T22" fmla="*/ 493 w 1667"/>
                    <a:gd name="T23" fmla="*/ 869 h 1667"/>
                    <a:gd name="T24" fmla="*/ 493 w 1667"/>
                    <a:gd name="T25" fmla="*/ 831 h 1667"/>
                    <a:gd name="T26" fmla="*/ 494 w 1667"/>
                    <a:gd name="T27" fmla="*/ 752 h 1667"/>
                    <a:gd name="T28" fmla="*/ 418 w 1667"/>
                    <a:gd name="T29" fmla="*/ 752 h 1667"/>
                    <a:gd name="T30" fmla="*/ 384 w 1667"/>
                    <a:gd name="T31" fmla="*/ 709 h 1667"/>
                    <a:gd name="T32" fmla="*/ 418 w 1667"/>
                    <a:gd name="T33" fmla="*/ 663 h 1667"/>
                    <a:gd name="T34" fmla="*/ 504 w 1667"/>
                    <a:gd name="T35" fmla="*/ 663 h 1667"/>
                    <a:gd name="T36" fmla="*/ 945 w 1667"/>
                    <a:gd name="T37" fmla="*/ 296 h 1667"/>
                    <a:gd name="T38" fmla="*/ 1092 w 1667"/>
                    <a:gd name="T39" fmla="*/ 307 h 1667"/>
                    <a:gd name="T40" fmla="*/ 1139 w 1667"/>
                    <a:gd name="T41" fmla="*/ 345 h 1667"/>
                    <a:gd name="T42" fmla="*/ 1124 w 1667"/>
                    <a:gd name="T43" fmla="*/ 389 h 1667"/>
                    <a:gd name="T44" fmla="*/ 1095 w 1667"/>
                    <a:gd name="T45" fmla="*/ 399 h 1667"/>
                    <a:gd name="T46" fmla="*/ 1037 w 1667"/>
                    <a:gd name="T47" fmla="*/ 395 h 1667"/>
                    <a:gd name="T48" fmla="*/ 952 w 1667"/>
                    <a:gd name="T49" fmla="*/ 391 h 1667"/>
                    <a:gd name="T50" fmla="*/ 620 w 1667"/>
                    <a:gd name="T51" fmla="*/ 663 h 1667"/>
                    <a:gd name="T52" fmla="*/ 900 w 1667"/>
                    <a:gd name="T53" fmla="*/ 663 h 1667"/>
                    <a:gd name="T54" fmla="*/ 934 w 1667"/>
                    <a:gd name="T55" fmla="*/ 708 h 1667"/>
                    <a:gd name="T56" fmla="*/ 900 w 1667"/>
                    <a:gd name="T57" fmla="*/ 752 h 1667"/>
                    <a:gd name="T58" fmla="*/ 610 w 1667"/>
                    <a:gd name="T59" fmla="*/ 752 h 1667"/>
                    <a:gd name="T60" fmla="*/ 607 w 1667"/>
                    <a:gd name="T61" fmla="*/ 831 h 1667"/>
                    <a:gd name="T62" fmla="*/ 607 w 1667"/>
                    <a:gd name="T63" fmla="*/ 869 h 1667"/>
                    <a:gd name="T64" fmla="*/ 862 w 1667"/>
                    <a:gd name="T65" fmla="*/ 869 h 1667"/>
                    <a:gd name="T66" fmla="*/ 896 w 1667"/>
                    <a:gd name="T67" fmla="*/ 914 h 1667"/>
                    <a:gd name="T68" fmla="*/ 862 w 1667"/>
                    <a:gd name="T69" fmla="*/ 958 h 1667"/>
                    <a:gd name="T70" fmla="*/ 614 w 1667"/>
                    <a:gd name="T71" fmla="*/ 958 h 1667"/>
                    <a:gd name="T72" fmla="*/ 936 w 1667"/>
                    <a:gd name="T73" fmla="*/ 1230 h 1667"/>
                    <a:gd name="T74" fmla="*/ 1044 w 1667"/>
                    <a:gd name="T75" fmla="*/ 1224 h 1667"/>
                    <a:gd name="T76" fmla="*/ 1108 w 1667"/>
                    <a:gd name="T77" fmla="*/ 1216 h 1667"/>
                    <a:gd name="T78" fmla="*/ 1145 w 1667"/>
                    <a:gd name="T79" fmla="*/ 1268 h 1667"/>
                    <a:gd name="T80" fmla="*/ 1095 w 1667"/>
                    <a:gd name="T81" fmla="*/ 1311 h 1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67" h="1667">
                      <a:moveTo>
                        <a:pt x="834" y="0"/>
                      </a:moveTo>
                      <a:cubicBezTo>
                        <a:pt x="373" y="0"/>
                        <a:pt x="0" y="373"/>
                        <a:pt x="0" y="833"/>
                      </a:cubicBezTo>
                      <a:cubicBezTo>
                        <a:pt x="0" y="1293"/>
                        <a:pt x="373" y="1667"/>
                        <a:pt x="834" y="1667"/>
                      </a:cubicBezTo>
                      <a:cubicBezTo>
                        <a:pt x="1294" y="1667"/>
                        <a:pt x="1667" y="1293"/>
                        <a:pt x="1667" y="833"/>
                      </a:cubicBezTo>
                      <a:cubicBezTo>
                        <a:pt x="1667" y="373"/>
                        <a:pt x="1294" y="0"/>
                        <a:pt x="834" y="0"/>
                      </a:cubicBezTo>
                      <a:close/>
                      <a:moveTo>
                        <a:pt x="1095" y="1311"/>
                      </a:moveTo>
                      <a:cubicBezTo>
                        <a:pt x="1040" y="1321"/>
                        <a:pt x="985" y="1325"/>
                        <a:pt x="930" y="1324"/>
                      </a:cubicBezTo>
                      <a:cubicBezTo>
                        <a:pt x="679" y="1324"/>
                        <a:pt x="533" y="1230"/>
                        <a:pt x="500" y="958"/>
                      </a:cubicBezTo>
                      <a:cubicBezTo>
                        <a:pt x="418" y="958"/>
                        <a:pt x="418" y="958"/>
                        <a:pt x="418" y="958"/>
                      </a:cubicBezTo>
                      <a:cubicBezTo>
                        <a:pt x="393" y="958"/>
                        <a:pt x="384" y="940"/>
                        <a:pt x="384" y="915"/>
                      </a:cubicBezTo>
                      <a:cubicBezTo>
                        <a:pt x="384" y="890"/>
                        <a:pt x="393" y="869"/>
                        <a:pt x="418" y="869"/>
                      </a:cubicBezTo>
                      <a:cubicBezTo>
                        <a:pt x="493" y="869"/>
                        <a:pt x="493" y="869"/>
                        <a:pt x="493" y="869"/>
                      </a:cubicBezTo>
                      <a:cubicBezTo>
                        <a:pt x="493" y="831"/>
                        <a:pt x="493" y="831"/>
                        <a:pt x="493" y="831"/>
                      </a:cubicBezTo>
                      <a:cubicBezTo>
                        <a:pt x="493" y="804"/>
                        <a:pt x="493" y="777"/>
                        <a:pt x="494" y="752"/>
                      </a:cubicBezTo>
                      <a:cubicBezTo>
                        <a:pt x="418" y="752"/>
                        <a:pt x="418" y="752"/>
                        <a:pt x="418" y="752"/>
                      </a:cubicBezTo>
                      <a:cubicBezTo>
                        <a:pt x="393" y="752"/>
                        <a:pt x="384" y="734"/>
                        <a:pt x="384" y="709"/>
                      </a:cubicBezTo>
                      <a:cubicBezTo>
                        <a:pt x="384" y="684"/>
                        <a:pt x="393" y="663"/>
                        <a:pt x="418" y="663"/>
                      </a:cubicBezTo>
                      <a:cubicBezTo>
                        <a:pt x="504" y="663"/>
                        <a:pt x="504" y="663"/>
                        <a:pt x="504" y="663"/>
                      </a:cubicBezTo>
                      <a:cubicBezTo>
                        <a:pt x="549" y="390"/>
                        <a:pt x="711" y="296"/>
                        <a:pt x="945" y="296"/>
                      </a:cubicBezTo>
                      <a:cubicBezTo>
                        <a:pt x="994" y="296"/>
                        <a:pt x="1043" y="300"/>
                        <a:pt x="1092" y="307"/>
                      </a:cubicBezTo>
                      <a:cubicBezTo>
                        <a:pt x="1126" y="313"/>
                        <a:pt x="1139" y="324"/>
                        <a:pt x="1139" y="345"/>
                      </a:cubicBezTo>
                      <a:cubicBezTo>
                        <a:pt x="1139" y="361"/>
                        <a:pt x="1135" y="379"/>
                        <a:pt x="1124" y="389"/>
                      </a:cubicBezTo>
                      <a:cubicBezTo>
                        <a:pt x="1116" y="396"/>
                        <a:pt x="1106" y="400"/>
                        <a:pt x="1095" y="399"/>
                      </a:cubicBezTo>
                      <a:cubicBezTo>
                        <a:pt x="1086" y="399"/>
                        <a:pt x="1062" y="398"/>
                        <a:pt x="1037" y="395"/>
                      </a:cubicBezTo>
                      <a:cubicBezTo>
                        <a:pt x="1013" y="392"/>
                        <a:pt x="970" y="391"/>
                        <a:pt x="952" y="391"/>
                      </a:cubicBezTo>
                      <a:cubicBezTo>
                        <a:pt x="770" y="391"/>
                        <a:pt x="654" y="450"/>
                        <a:pt x="620" y="663"/>
                      </a:cubicBezTo>
                      <a:cubicBezTo>
                        <a:pt x="900" y="663"/>
                        <a:pt x="900" y="663"/>
                        <a:pt x="900" y="663"/>
                      </a:cubicBezTo>
                      <a:cubicBezTo>
                        <a:pt x="927" y="663"/>
                        <a:pt x="934" y="682"/>
                        <a:pt x="934" y="708"/>
                      </a:cubicBezTo>
                      <a:cubicBezTo>
                        <a:pt x="934" y="733"/>
                        <a:pt x="927" y="752"/>
                        <a:pt x="900" y="752"/>
                      </a:cubicBezTo>
                      <a:cubicBezTo>
                        <a:pt x="610" y="752"/>
                        <a:pt x="610" y="752"/>
                        <a:pt x="610" y="752"/>
                      </a:cubicBezTo>
                      <a:cubicBezTo>
                        <a:pt x="608" y="776"/>
                        <a:pt x="607" y="804"/>
                        <a:pt x="607" y="831"/>
                      </a:cubicBezTo>
                      <a:cubicBezTo>
                        <a:pt x="607" y="869"/>
                        <a:pt x="607" y="869"/>
                        <a:pt x="607" y="869"/>
                      </a:cubicBezTo>
                      <a:cubicBezTo>
                        <a:pt x="862" y="869"/>
                        <a:pt x="862" y="869"/>
                        <a:pt x="862" y="869"/>
                      </a:cubicBezTo>
                      <a:cubicBezTo>
                        <a:pt x="889" y="869"/>
                        <a:pt x="896" y="889"/>
                        <a:pt x="896" y="914"/>
                      </a:cubicBezTo>
                      <a:cubicBezTo>
                        <a:pt x="896" y="939"/>
                        <a:pt x="889" y="958"/>
                        <a:pt x="862" y="958"/>
                      </a:cubicBezTo>
                      <a:cubicBezTo>
                        <a:pt x="614" y="958"/>
                        <a:pt x="614" y="958"/>
                        <a:pt x="614" y="958"/>
                      </a:cubicBezTo>
                      <a:cubicBezTo>
                        <a:pt x="639" y="1160"/>
                        <a:pt x="748" y="1230"/>
                        <a:pt x="936" y="1230"/>
                      </a:cubicBezTo>
                      <a:cubicBezTo>
                        <a:pt x="972" y="1230"/>
                        <a:pt x="1008" y="1228"/>
                        <a:pt x="1044" y="1224"/>
                      </a:cubicBezTo>
                      <a:cubicBezTo>
                        <a:pt x="1066" y="1221"/>
                        <a:pt x="1095" y="1216"/>
                        <a:pt x="1108" y="1216"/>
                      </a:cubicBezTo>
                      <a:cubicBezTo>
                        <a:pt x="1133" y="1216"/>
                        <a:pt x="1145" y="1233"/>
                        <a:pt x="1145" y="1268"/>
                      </a:cubicBezTo>
                      <a:cubicBezTo>
                        <a:pt x="1145" y="1296"/>
                        <a:pt x="1129" y="1305"/>
                        <a:pt x="1095" y="1311"/>
                      </a:cubicBezTo>
                      <a:close/>
                    </a:path>
                  </a:pathLst>
                </a:custGeom>
                <a:solidFill>
                  <a:schemeClr val="tx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grpSp>
      </p:grpSp>
      <p:sp>
        <p:nvSpPr>
          <p:cNvPr id="52" name="Freeform 99">
            <a:extLst>
              <a:ext uri="{FF2B5EF4-FFF2-40B4-BE49-F238E27FC236}">
                <a16:creationId xmlns:a16="http://schemas.microsoft.com/office/drawing/2014/main" xmlns="" id="{899F51FA-CED7-40C6-ADD2-832E40F41B34}"/>
              </a:ext>
            </a:extLst>
          </p:cNvPr>
          <p:cNvSpPr>
            <a:spLocks noEditPoints="1"/>
          </p:cNvSpPr>
          <p:nvPr/>
        </p:nvSpPr>
        <p:spPr bwMode="auto">
          <a:xfrm>
            <a:off x="8481159" y="2964840"/>
            <a:ext cx="409808" cy="377082"/>
          </a:xfrm>
          <a:custGeom>
            <a:avLst/>
            <a:gdLst>
              <a:gd name="T0" fmla="*/ 103 w 121"/>
              <a:gd name="T1" fmla="*/ 0 h 121"/>
              <a:gd name="T2" fmla="*/ 19 w 121"/>
              <a:gd name="T3" fmla="*/ 0 h 121"/>
              <a:gd name="T4" fmla="*/ 0 w 121"/>
              <a:gd name="T5" fmla="*/ 19 h 121"/>
              <a:gd name="T6" fmla="*/ 0 w 121"/>
              <a:gd name="T7" fmla="*/ 103 h 121"/>
              <a:gd name="T8" fmla="*/ 19 w 121"/>
              <a:gd name="T9" fmla="*/ 121 h 121"/>
              <a:gd name="T10" fmla="*/ 103 w 121"/>
              <a:gd name="T11" fmla="*/ 121 h 121"/>
              <a:gd name="T12" fmla="*/ 121 w 121"/>
              <a:gd name="T13" fmla="*/ 103 h 121"/>
              <a:gd name="T14" fmla="*/ 121 w 121"/>
              <a:gd name="T15" fmla="*/ 19 h 121"/>
              <a:gd name="T16" fmla="*/ 103 w 121"/>
              <a:gd name="T17" fmla="*/ 0 h 121"/>
              <a:gd name="T18" fmla="*/ 28 w 121"/>
              <a:gd name="T19" fmla="*/ 107 h 121"/>
              <a:gd name="T20" fmla="*/ 15 w 121"/>
              <a:gd name="T21" fmla="*/ 94 h 121"/>
              <a:gd name="T22" fmla="*/ 28 w 121"/>
              <a:gd name="T23" fmla="*/ 81 h 121"/>
              <a:gd name="T24" fmla="*/ 40 w 121"/>
              <a:gd name="T25" fmla="*/ 94 h 121"/>
              <a:gd name="T26" fmla="*/ 28 w 121"/>
              <a:gd name="T27" fmla="*/ 107 h 121"/>
              <a:gd name="T28" fmla="*/ 63 w 121"/>
              <a:gd name="T29" fmla="*/ 100 h 121"/>
              <a:gd name="T30" fmla="*/ 56 w 121"/>
              <a:gd name="T31" fmla="*/ 93 h 121"/>
              <a:gd name="T32" fmla="*/ 29 w 121"/>
              <a:gd name="T33" fmla="*/ 66 h 121"/>
              <a:gd name="T34" fmla="*/ 22 w 121"/>
              <a:gd name="T35" fmla="*/ 59 h 121"/>
              <a:gd name="T36" fmla="*/ 29 w 121"/>
              <a:gd name="T37" fmla="*/ 52 h 121"/>
              <a:gd name="T38" fmla="*/ 70 w 121"/>
              <a:gd name="T39" fmla="*/ 93 h 121"/>
              <a:gd name="T40" fmla="*/ 63 w 121"/>
              <a:gd name="T41" fmla="*/ 100 h 121"/>
              <a:gd name="T42" fmla="*/ 93 w 121"/>
              <a:gd name="T43" fmla="*/ 100 h 121"/>
              <a:gd name="T44" fmla="*/ 86 w 121"/>
              <a:gd name="T45" fmla="*/ 93 h 121"/>
              <a:gd name="T46" fmla="*/ 29 w 121"/>
              <a:gd name="T47" fmla="*/ 36 h 121"/>
              <a:gd name="T48" fmla="*/ 22 w 121"/>
              <a:gd name="T49" fmla="*/ 29 h 121"/>
              <a:gd name="T50" fmla="*/ 29 w 121"/>
              <a:gd name="T51" fmla="*/ 22 h 121"/>
              <a:gd name="T52" fmla="*/ 100 w 121"/>
              <a:gd name="T53" fmla="*/ 93 h 121"/>
              <a:gd name="T54" fmla="*/ 93 w 121"/>
              <a:gd name="T55" fmla="*/ 10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1" h="121">
                <a:moveTo>
                  <a:pt x="103" y="0"/>
                </a:moveTo>
                <a:cubicBezTo>
                  <a:pt x="19" y="0"/>
                  <a:pt x="19" y="0"/>
                  <a:pt x="19" y="0"/>
                </a:cubicBezTo>
                <a:cubicBezTo>
                  <a:pt x="9" y="0"/>
                  <a:pt x="0" y="9"/>
                  <a:pt x="0" y="19"/>
                </a:cubicBezTo>
                <a:cubicBezTo>
                  <a:pt x="0" y="103"/>
                  <a:pt x="0" y="103"/>
                  <a:pt x="0" y="103"/>
                </a:cubicBezTo>
                <a:cubicBezTo>
                  <a:pt x="0" y="113"/>
                  <a:pt x="9" y="121"/>
                  <a:pt x="19" y="121"/>
                </a:cubicBezTo>
                <a:cubicBezTo>
                  <a:pt x="103" y="121"/>
                  <a:pt x="103" y="121"/>
                  <a:pt x="103" y="121"/>
                </a:cubicBezTo>
                <a:cubicBezTo>
                  <a:pt x="113" y="121"/>
                  <a:pt x="121" y="113"/>
                  <a:pt x="121" y="103"/>
                </a:cubicBezTo>
                <a:cubicBezTo>
                  <a:pt x="121" y="19"/>
                  <a:pt x="121" y="19"/>
                  <a:pt x="121" y="19"/>
                </a:cubicBezTo>
                <a:cubicBezTo>
                  <a:pt x="121" y="9"/>
                  <a:pt x="113" y="0"/>
                  <a:pt x="103" y="0"/>
                </a:cubicBezTo>
                <a:close/>
                <a:moveTo>
                  <a:pt x="28" y="107"/>
                </a:moveTo>
                <a:cubicBezTo>
                  <a:pt x="21" y="107"/>
                  <a:pt x="15" y="101"/>
                  <a:pt x="15" y="94"/>
                </a:cubicBezTo>
                <a:cubicBezTo>
                  <a:pt x="15" y="87"/>
                  <a:pt x="21" y="81"/>
                  <a:pt x="28" y="81"/>
                </a:cubicBezTo>
                <a:cubicBezTo>
                  <a:pt x="35" y="81"/>
                  <a:pt x="40" y="87"/>
                  <a:pt x="40" y="94"/>
                </a:cubicBezTo>
                <a:cubicBezTo>
                  <a:pt x="40" y="101"/>
                  <a:pt x="35" y="107"/>
                  <a:pt x="28" y="107"/>
                </a:cubicBezTo>
                <a:close/>
                <a:moveTo>
                  <a:pt x="63" y="100"/>
                </a:moveTo>
                <a:cubicBezTo>
                  <a:pt x="59" y="100"/>
                  <a:pt x="56" y="97"/>
                  <a:pt x="56" y="93"/>
                </a:cubicBezTo>
                <a:cubicBezTo>
                  <a:pt x="56" y="78"/>
                  <a:pt x="44" y="66"/>
                  <a:pt x="29" y="66"/>
                </a:cubicBezTo>
                <a:cubicBezTo>
                  <a:pt x="25" y="66"/>
                  <a:pt x="22" y="63"/>
                  <a:pt x="22" y="59"/>
                </a:cubicBezTo>
                <a:cubicBezTo>
                  <a:pt x="22" y="55"/>
                  <a:pt x="25" y="52"/>
                  <a:pt x="29" y="52"/>
                </a:cubicBezTo>
                <a:cubicBezTo>
                  <a:pt x="51" y="52"/>
                  <a:pt x="70" y="70"/>
                  <a:pt x="70" y="93"/>
                </a:cubicBezTo>
                <a:cubicBezTo>
                  <a:pt x="70" y="97"/>
                  <a:pt x="67" y="100"/>
                  <a:pt x="63" y="100"/>
                </a:cubicBezTo>
                <a:close/>
                <a:moveTo>
                  <a:pt x="93" y="100"/>
                </a:moveTo>
                <a:cubicBezTo>
                  <a:pt x="89" y="100"/>
                  <a:pt x="86" y="97"/>
                  <a:pt x="86" y="93"/>
                </a:cubicBezTo>
                <a:cubicBezTo>
                  <a:pt x="86" y="61"/>
                  <a:pt x="60" y="36"/>
                  <a:pt x="29" y="36"/>
                </a:cubicBezTo>
                <a:cubicBezTo>
                  <a:pt x="25" y="36"/>
                  <a:pt x="22" y="33"/>
                  <a:pt x="22" y="29"/>
                </a:cubicBezTo>
                <a:cubicBezTo>
                  <a:pt x="22" y="25"/>
                  <a:pt x="25" y="22"/>
                  <a:pt x="29" y="22"/>
                </a:cubicBezTo>
                <a:cubicBezTo>
                  <a:pt x="68" y="22"/>
                  <a:pt x="100" y="54"/>
                  <a:pt x="100" y="93"/>
                </a:cubicBezTo>
                <a:cubicBezTo>
                  <a:pt x="100" y="97"/>
                  <a:pt x="97" y="100"/>
                  <a:pt x="93" y="100"/>
                </a:cubicBezTo>
                <a:close/>
              </a:path>
            </a:pathLst>
          </a:custGeom>
          <a:solidFill>
            <a:schemeClr val="tx1">
              <a:lumMod val="40000"/>
              <a:lumOff val="60000"/>
            </a:schemeClr>
          </a:solidFill>
          <a:ln>
            <a:solidFill>
              <a:schemeClr val="tx1">
                <a:lumMod val="40000"/>
                <a:lumOff val="60000"/>
              </a:schemeClr>
            </a:solidFill>
          </a:ln>
        </p:spPr>
        <p:txBody>
          <a:bodyPr vert="horz" wrap="square" lIns="91440" tIns="45720" rIns="91440" bIns="45720" numCol="1" anchor="t" anchorCtr="0" compatLnSpc="1">
            <a:prstTxWarp prst="textNoShape">
              <a:avLst/>
            </a:prstTxWarp>
          </a:bodyPr>
          <a:lstStyle/>
          <a:p>
            <a:endParaRPr lang="en-US" dirty="0"/>
          </a:p>
        </p:txBody>
      </p:sp>
      <p:sp>
        <p:nvSpPr>
          <p:cNvPr id="53" name="TextBox 52">
            <a:extLst>
              <a:ext uri="{FF2B5EF4-FFF2-40B4-BE49-F238E27FC236}">
                <a16:creationId xmlns:a16="http://schemas.microsoft.com/office/drawing/2014/main" xmlns="" id="{E7F64A40-7708-4CB1-9246-C47DAE431627}"/>
              </a:ext>
            </a:extLst>
          </p:cNvPr>
          <p:cNvSpPr txBox="1"/>
          <p:nvPr/>
        </p:nvSpPr>
        <p:spPr bwMode="gray">
          <a:xfrm>
            <a:off x="7510829" y="3375648"/>
            <a:ext cx="171732" cy="369332"/>
          </a:xfrm>
          <a:prstGeom prst="rect">
            <a:avLst/>
          </a:prstGeom>
          <a:noFill/>
        </p:spPr>
        <p:txBody>
          <a:bodyPr wrap="square" lIns="0" tIns="0" rIns="0" bIns="0" rtlCol="0">
            <a:spAutoFit/>
          </a:bodyPr>
          <a:lstStyle/>
          <a:p>
            <a:pPr>
              <a:spcBef>
                <a:spcPts val="300"/>
              </a:spcBef>
            </a:pPr>
            <a:r>
              <a:rPr lang="en-US" sz="2400" dirty="0">
                <a:solidFill>
                  <a:schemeClr val="tx1">
                    <a:lumMod val="40000"/>
                    <a:lumOff val="60000"/>
                  </a:schemeClr>
                </a:solidFill>
                <a:latin typeface="Arial" pitchFamily="34" charset="0"/>
                <a:cs typeface="Arial" pitchFamily="34" charset="0"/>
                <a:sym typeface="Wingdings" panose="05000000000000000000" pitchFamily="2" charset="2"/>
              </a:rPr>
              <a:t></a:t>
            </a:r>
            <a:endParaRPr lang="en-US" sz="2400" dirty="0">
              <a:solidFill>
                <a:schemeClr val="tx1">
                  <a:lumMod val="40000"/>
                  <a:lumOff val="60000"/>
                </a:schemeClr>
              </a:solidFill>
              <a:latin typeface="Arial" pitchFamily="34" charset="0"/>
              <a:cs typeface="Arial" pitchFamily="34" charset="0"/>
            </a:endParaRPr>
          </a:p>
        </p:txBody>
      </p:sp>
      <p:grpSp>
        <p:nvGrpSpPr>
          <p:cNvPr id="54" name="Group 53">
            <a:extLst>
              <a:ext uri="{FF2B5EF4-FFF2-40B4-BE49-F238E27FC236}">
                <a16:creationId xmlns:a16="http://schemas.microsoft.com/office/drawing/2014/main" xmlns="" id="{891A6E6A-89C3-4F4D-A807-AEAC2439CE4A}"/>
              </a:ext>
            </a:extLst>
          </p:cNvPr>
          <p:cNvGrpSpPr/>
          <p:nvPr/>
        </p:nvGrpSpPr>
        <p:grpSpPr>
          <a:xfrm>
            <a:off x="7026628" y="2979052"/>
            <a:ext cx="732990" cy="551394"/>
            <a:chOff x="5399484" y="4555086"/>
            <a:chExt cx="793304" cy="631760"/>
          </a:xfrm>
          <a:solidFill>
            <a:schemeClr val="bg2">
              <a:lumMod val="60000"/>
              <a:lumOff val="40000"/>
            </a:schemeClr>
          </a:solidFill>
        </p:grpSpPr>
        <p:grpSp>
          <p:nvGrpSpPr>
            <p:cNvPr id="55" name="Group 54">
              <a:extLst>
                <a:ext uri="{FF2B5EF4-FFF2-40B4-BE49-F238E27FC236}">
                  <a16:creationId xmlns:a16="http://schemas.microsoft.com/office/drawing/2014/main" xmlns="" id="{85C2D263-1CDF-448C-9C62-13CB26519C6F}"/>
                </a:ext>
              </a:extLst>
            </p:cNvPr>
            <p:cNvGrpSpPr/>
            <p:nvPr/>
          </p:nvGrpSpPr>
          <p:grpSpPr>
            <a:xfrm>
              <a:off x="5399484" y="4555086"/>
              <a:ext cx="793304" cy="461555"/>
              <a:chOff x="4828278" y="4774491"/>
              <a:chExt cx="793304" cy="461555"/>
            </a:xfrm>
            <a:grpFill/>
          </p:grpSpPr>
          <p:sp>
            <p:nvSpPr>
              <p:cNvPr id="60" name="Freeform 47">
                <a:extLst>
                  <a:ext uri="{FF2B5EF4-FFF2-40B4-BE49-F238E27FC236}">
                    <a16:creationId xmlns:a16="http://schemas.microsoft.com/office/drawing/2014/main" xmlns="" id="{68C097C3-8A4E-441C-96EB-B2C083408BA8}"/>
                  </a:ext>
                </a:extLst>
              </p:cNvPr>
              <p:cNvSpPr>
                <a:spLocks noChangeAspect="1" noEditPoints="1"/>
              </p:cNvSpPr>
              <p:nvPr>
                <p:custDataLst>
                  <p:tags r:id="rId11"/>
                </p:custDataLst>
              </p:nvPr>
            </p:nvSpPr>
            <p:spPr bwMode="auto">
              <a:xfrm>
                <a:off x="4937568" y="4774491"/>
                <a:ext cx="488463" cy="432003"/>
              </a:xfrm>
              <a:custGeom>
                <a:avLst/>
                <a:gdLst>
                  <a:gd name="T0" fmla="*/ 669 w 4914"/>
                  <a:gd name="T1" fmla="*/ 3401 h 4346"/>
                  <a:gd name="T2" fmla="*/ 567 w 4914"/>
                  <a:gd name="T3" fmla="*/ 2891 h 4346"/>
                  <a:gd name="T4" fmla="*/ 858 w 4914"/>
                  <a:gd name="T5" fmla="*/ 3212 h 4346"/>
                  <a:gd name="T6" fmla="*/ 1755 w 4914"/>
                  <a:gd name="T7" fmla="*/ 0 h 4346"/>
                  <a:gd name="T8" fmla="*/ 1850 w 4914"/>
                  <a:gd name="T9" fmla="*/ 944 h 4346"/>
                  <a:gd name="T10" fmla="*/ 3062 w 4914"/>
                  <a:gd name="T11" fmla="*/ 0 h 4346"/>
                  <a:gd name="T12" fmla="*/ 3078 w 4914"/>
                  <a:gd name="T13" fmla="*/ 944 h 4346"/>
                  <a:gd name="T14" fmla="*/ 3062 w 4914"/>
                  <a:gd name="T15" fmla="*/ 0 h 4346"/>
                  <a:gd name="T16" fmla="*/ 4158 w 4914"/>
                  <a:gd name="T17" fmla="*/ 1946 h 4346"/>
                  <a:gd name="T18" fmla="*/ 3213 w 4914"/>
                  <a:gd name="T19" fmla="*/ 1079 h 4346"/>
                  <a:gd name="T20" fmla="*/ 3024 w 4914"/>
                  <a:gd name="T21" fmla="*/ 3023 h 4346"/>
                  <a:gd name="T22" fmla="*/ 756 w 4914"/>
                  <a:gd name="T23" fmla="*/ 1133 h 4346"/>
                  <a:gd name="T24" fmla="*/ 1796 w 4914"/>
                  <a:gd name="T25" fmla="*/ 1511 h 4346"/>
                  <a:gd name="T26" fmla="*/ 1985 w 4914"/>
                  <a:gd name="T27" fmla="*/ 1133 h 4346"/>
                  <a:gd name="T28" fmla="*/ 3024 w 4914"/>
                  <a:gd name="T29" fmla="*/ 3023 h 4346"/>
                  <a:gd name="T30" fmla="*/ 4779 w 4914"/>
                  <a:gd name="T31" fmla="*/ 1700 h 4346"/>
                  <a:gd name="T32" fmla="*/ 2542 w 4914"/>
                  <a:gd name="T33" fmla="*/ 3401 h 4346"/>
                  <a:gd name="T34" fmla="*/ 3156 w 4914"/>
                  <a:gd name="T35" fmla="*/ 3212 h 4346"/>
                  <a:gd name="T36" fmla="*/ 4347 w 4914"/>
                  <a:gd name="T37" fmla="*/ 1700 h 4346"/>
                  <a:gd name="T38" fmla="*/ 2275 w 4914"/>
                  <a:gd name="T39" fmla="*/ 3401 h 4346"/>
                  <a:gd name="T40" fmla="*/ 1928 w 4914"/>
                  <a:gd name="T41" fmla="*/ 3212 h 4346"/>
                  <a:gd name="T42" fmla="*/ 1661 w 4914"/>
                  <a:gd name="T43" fmla="*/ 3212 h 4346"/>
                  <a:gd name="T44" fmla="*/ 936 w 4914"/>
                  <a:gd name="T45" fmla="*/ 3401 h 4346"/>
                  <a:gd name="T46" fmla="*/ 1661 w 4914"/>
                  <a:gd name="T47" fmla="*/ 3212 h 4346"/>
                  <a:gd name="T48" fmla="*/ 4914 w 4914"/>
                  <a:gd name="T49" fmla="*/ 2591 h 4346"/>
                  <a:gd name="T50" fmla="*/ 3213 w 4914"/>
                  <a:gd name="T51" fmla="*/ 3536 h 4346"/>
                  <a:gd name="T52" fmla="*/ 3024 w 4914"/>
                  <a:gd name="T53" fmla="*/ 4346 h 4346"/>
                  <a:gd name="T54" fmla="*/ 2268 w 4914"/>
                  <a:gd name="T55" fmla="*/ 3590 h 4346"/>
                  <a:gd name="T56" fmla="*/ 3024 w 4914"/>
                  <a:gd name="T57" fmla="*/ 4346 h 4346"/>
                  <a:gd name="T58" fmla="*/ 945 w 4914"/>
                  <a:gd name="T59" fmla="*/ 4292 h 4346"/>
                  <a:gd name="T60" fmla="*/ 1455 w 4914"/>
                  <a:gd name="T61" fmla="*/ 3779 h 4346"/>
                  <a:gd name="T62" fmla="*/ 0 w 4914"/>
                  <a:gd name="T63" fmla="*/ 4346 h 4346"/>
                  <a:gd name="T64" fmla="*/ 756 w 4914"/>
                  <a:gd name="T65" fmla="*/ 3590 h 4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14" h="4346">
                    <a:moveTo>
                      <a:pt x="858" y="3212"/>
                    </a:moveTo>
                    <a:lnTo>
                      <a:pt x="669" y="3401"/>
                    </a:lnTo>
                    <a:lnTo>
                      <a:pt x="55" y="3401"/>
                    </a:lnTo>
                    <a:lnTo>
                      <a:pt x="567" y="2891"/>
                    </a:lnTo>
                    <a:lnTo>
                      <a:pt x="567" y="3212"/>
                    </a:lnTo>
                    <a:lnTo>
                      <a:pt x="858" y="3212"/>
                    </a:lnTo>
                    <a:close/>
                    <a:moveTo>
                      <a:pt x="810" y="944"/>
                    </a:moveTo>
                    <a:lnTo>
                      <a:pt x="1755" y="0"/>
                    </a:lnTo>
                    <a:lnTo>
                      <a:pt x="2795" y="0"/>
                    </a:lnTo>
                    <a:lnTo>
                      <a:pt x="1850" y="944"/>
                    </a:lnTo>
                    <a:lnTo>
                      <a:pt x="810" y="944"/>
                    </a:lnTo>
                    <a:close/>
                    <a:moveTo>
                      <a:pt x="3062" y="0"/>
                    </a:moveTo>
                    <a:lnTo>
                      <a:pt x="4023" y="0"/>
                    </a:lnTo>
                    <a:lnTo>
                      <a:pt x="3078" y="944"/>
                    </a:lnTo>
                    <a:lnTo>
                      <a:pt x="2117" y="944"/>
                    </a:lnTo>
                    <a:lnTo>
                      <a:pt x="3062" y="0"/>
                    </a:lnTo>
                    <a:close/>
                    <a:moveTo>
                      <a:pt x="4158" y="134"/>
                    </a:moveTo>
                    <a:lnTo>
                      <a:pt x="4158" y="1946"/>
                    </a:lnTo>
                    <a:lnTo>
                      <a:pt x="3213" y="2891"/>
                    </a:lnTo>
                    <a:lnTo>
                      <a:pt x="3213" y="1079"/>
                    </a:lnTo>
                    <a:lnTo>
                      <a:pt x="4158" y="134"/>
                    </a:lnTo>
                    <a:close/>
                    <a:moveTo>
                      <a:pt x="3024" y="3023"/>
                    </a:moveTo>
                    <a:lnTo>
                      <a:pt x="756" y="3023"/>
                    </a:lnTo>
                    <a:lnTo>
                      <a:pt x="756" y="1133"/>
                    </a:lnTo>
                    <a:lnTo>
                      <a:pt x="1796" y="1133"/>
                    </a:lnTo>
                    <a:lnTo>
                      <a:pt x="1796" y="1511"/>
                    </a:lnTo>
                    <a:lnTo>
                      <a:pt x="1985" y="1511"/>
                    </a:lnTo>
                    <a:lnTo>
                      <a:pt x="1985" y="1133"/>
                    </a:lnTo>
                    <a:lnTo>
                      <a:pt x="3024" y="1133"/>
                    </a:lnTo>
                    <a:lnTo>
                      <a:pt x="3024" y="3023"/>
                    </a:lnTo>
                    <a:close/>
                    <a:moveTo>
                      <a:pt x="4347" y="1700"/>
                    </a:moveTo>
                    <a:lnTo>
                      <a:pt x="4779" y="1700"/>
                    </a:lnTo>
                    <a:lnTo>
                      <a:pt x="3078" y="3401"/>
                    </a:lnTo>
                    <a:lnTo>
                      <a:pt x="2542" y="3401"/>
                    </a:lnTo>
                    <a:lnTo>
                      <a:pt x="2731" y="3212"/>
                    </a:lnTo>
                    <a:lnTo>
                      <a:pt x="3156" y="3212"/>
                    </a:lnTo>
                    <a:lnTo>
                      <a:pt x="4347" y="2024"/>
                    </a:lnTo>
                    <a:lnTo>
                      <a:pt x="4347" y="1700"/>
                    </a:lnTo>
                    <a:close/>
                    <a:moveTo>
                      <a:pt x="2464" y="3212"/>
                    </a:moveTo>
                    <a:lnTo>
                      <a:pt x="2275" y="3401"/>
                    </a:lnTo>
                    <a:lnTo>
                      <a:pt x="1739" y="3401"/>
                    </a:lnTo>
                    <a:lnTo>
                      <a:pt x="1928" y="3212"/>
                    </a:lnTo>
                    <a:lnTo>
                      <a:pt x="2464" y="3212"/>
                    </a:lnTo>
                    <a:close/>
                    <a:moveTo>
                      <a:pt x="1661" y="3212"/>
                    </a:moveTo>
                    <a:lnTo>
                      <a:pt x="1472" y="3401"/>
                    </a:lnTo>
                    <a:lnTo>
                      <a:pt x="936" y="3401"/>
                    </a:lnTo>
                    <a:lnTo>
                      <a:pt x="1125" y="3212"/>
                    </a:lnTo>
                    <a:lnTo>
                      <a:pt x="1661" y="3212"/>
                    </a:lnTo>
                    <a:close/>
                    <a:moveTo>
                      <a:pt x="4914" y="1835"/>
                    </a:moveTo>
                    <a:lnTo>
                      <a:pt x="4914" y="2591"/>
                    </a:lnTo>
                    <a:lnTo>
                      <a:pt x="3213" y="4292"/>
                    </a:lnTo>
                    <a:lnTo>
                      <a:pt x="3213" y="3536"/>
                    </a:lnTo>
                    <a:lnTo>
                      <a:pt x="4914" y="1835"/>
                    </a:lnTo>
                    <a:close/>
                    <a:moveTo>
                      <a:pt x="3024" y="4346"/>
                    </a:moveTo>
                    <a:lnTo>
                      <a:pt x="2268" y="4346"/>
                    </a:lnTo>
                    <a:lnTo>
                      <a:pt x="2268" y="3590"/>
                    </a:lnTo>
                    <a:lnTo>
                      <a:pt x="3024" y="3590"/>
                    </a:lnTo>
                    <a:lnTo>
                      <a:pt x="3024" y="4346"/>
                    </a:lnTo>
                    <a:close/>
                    <a:moveTo>
                      <a:pt x="1455" y="3779"/>
                    </a:moveTo>
                    <a:lnTo>
                      <a:pt x="945" y="4292"/>
                    </a:lnTo>
                    <a:lnTo>
                      <a:pt x="945" y="3779"/>
                    </a:lnTo>
                    <a:lnTo>
                      <a:pt x="1455" y="3779"/>
                    </a:lnTo>
                    <a:close/>
                    <a:moveTo>
                      <a:pt x="756" y="4346"/>
                    </a:moveTo>
                    <a:lnTo>
                      <a:pt x="0" y="4346"/>
                    </a:lnTo>
                    <a:lnTo>
                      <a:pt x="0" y="3590"/>
                    </a:lnTo>
                    <a:lnTo>
                      <a:pt x="756" y="3590"/>
                    </a:lnTo>
                    <a:lnTo>
                      <a:pt x="756" y="4346"/>
                    </a:lnTo>
                    <a:close/>
                  </a:path>
                </a:pathLst>
              </a:custGeom>
              <a:solidFill>
                <a:schemeClr val="tx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000" noProof="1"/>
              </a:p>
            </p:txBody>
          </p:sp>
          <p:sp>
            <p:nvSpPr>
              <p:cNvPr id="61" name="Rectangle 60">
                <a:extLst>
                  <a:ext uri="{FF2B5EF4-FFF2-40B4-BE49-F238E27FC236}">
                    <a16:creationId xmlns:a16="http://schemas.microsoft.com/office/drawing/2014/main" xmlns="" id="{CA15BCF1-AF54-4EF2-B7BC-F108CEF6BA79}"/>
                  </a:ext>
                </a:extLst>
              </p:cNvPr>
              <p:cNvSpPr/>
              <p:nvPr/>
            </p:nvSpPr>
            <p:spPr bwMode="gray">
              <a:xfrm>
                <a:off x="4860032" y="5092030"/>
                <a:ext cx="595399" cy="14401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sp>
            <p:nvSpPr>
              <p:cNvPr id="62" name="Rectangle 61">
                <a:extLst>
                  <a:ext uri="{FF2B5EF4-FFF2-40B4-BE49-F238E27FC236}">
                    <a16:creationId xmlns:a16="http://schemas.microsoft.com/office/drawing/2014/main" xmlns="" id="{8C4163F4-397E-46FF-B140-EBD0CEBDE1CF}"/>
                  </a:ext>
                </a:extLst>
              </p:cNvPr>
              <p:cNvSpPr/>
              <p:nvPr/>
            </p:nvSpPr>
            <p:spPr bwMode="gray">
              <a:xfrm rot="19112025">
                <a:off x="5026183" y="5037672"/>
                <a:ext cx="595399" cy="14401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sp>
            <p:nvSpPr>
              <p:cNvPr id="63" name="Rectangle 62">
                <a:extLst>
                  <a:ext uri="{FF2B5EF4-FFF2-40B4-BE49-F238E27FC236}">
                    <a16:creationId xmlns:a16="http://schemas.microsoft.com/office/drawing/2014/main" xmlns="" id="{F7795BF4-789F-4309-84DA-E5AF60894440}"/>
                  </a:ext>
                </a:extLst>
              </p:cNvPr>
              <p:cNvSpPr/>
              <p:nvPr/>
            </p:nvSpPr>
            <p:spPr bwMode="gray">
              <a:xfrm>
                <a:off x="5363074" y="4892223"/>
                <a:ext cx="170832" cy="14401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sp>
            <p:nvSpPr>
              <p:cNvPr id="64" name="Rectangle 63">
                <a:extLst>
                  <a:ext uri="{FF2B5EF4-FFF2-40B4-BE49-F238E27FC236}">
                    <a16:creationId xmlns:a16="http://schemas.microsoft.com/office/drawing/2014/main" xmlns="" id="{E22601B2-6638-4FAA-8E6F-D3022BB8F6D9}"/>
                  </a:ext>
                </a:extLst>
              </p:cNvPr>
              <p:cNvSpPr/>
              <p:nvPr/>
            </p:nvSpPr>
            <p:spPr bwMode="gray">
              <a:xfrm>
                <a:off x="4828278" y="5010376"/>
                <a:ext cx="170832" cy="144016"/>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US" sz="1600" dirty="0">
                  <a:solidFill>
                    <a:schemeClr val="tx1"/>
                  </a:solidFill>
                  <a:latin typeface="Arial" pitchFamily="34" charset="0"/>
                  <a:cs typeface="Arial" pitchFamily="34" charset="0"/>
                </a:endParaRPr>
              </a:p>
            </p:txBody>
          </p:sp>
        </p:grpSp>
        <p:grpSp>
          <p:nvGrpSpPr>
            <p:cNvPr id="56" name="Group 55">
              <a:extLst>
                <a:ext uri="{FF2B5EF4-FFF2-40B4-BE49-F238E27FC236}">
                  <a16:creationId xmlns:a16="http://schemas.microsoft.com/office/drawing/2014/main" xmlns="" id="{FA2C3B26-5CC1-4DE6-B343-EC9FD4B42D3B}"/>
                </a:ext>
              </a:extLst>
            </p:cNvPr>
            <p:cNvGrpSpPr/>
            <p:nvPr/>
          </p:nvGrpSpPr>
          <p:grpSpPr>
            <a:xfrm>
              <a:off x="5508104" y="4747579"/>
              <a:ext cx="488463" cy="439267"/>
              <a:chOff x="5486660" y="4747579"/>
              <a:chExt cx="488463" cy="439267"/>
            </a:xfrm>
            <a:grpFill/>
          </p:grpSpPr>
          <p:sp>
            <p:nvSpPr>
              <p:cNvPr id="57" name="Freeform 47">
                <a:extLst>
                  <a:ext uri="{FF2B5EF4-FFF2-40B4-BE49-F238E27FC236}">
                    <a16:creationId xmlns:a16="http://schemas.microsoft.com/office/drawing/2014/main" xmlns="" id="{A2469383-D53B-43D0-ABF2-9DAFC314E82A}"/>
                  </a:ext>
                </a:extLst>
              </p:cNvPr>
              <p:cNvSpPr>
                <a:spLocks noChangeAspect="1" noEditPoints="1"/>
              </p:cNvSpPr>
              <p:nvPr>
                <p:custDataLst>
                  <p:tags r:id="rId10"/>
                </p:custDataLst>
              </p:nvPr>
            </p:nvSpPr>
            <p:spPr bwMode="auto">
              <a:xfrm>
                <a:off x="5486660" y="4754843"/>
                <a:ext cx="488463" cy="432003"/>
              </a:xfrm>
              <a:custGeom>
                <a:avLst/>
                <a:gdLst>
                  <a:gd name="T0" fmla="*/ 669 w 4914"/>
                  <a:gd name="T1" fmla="*/ 3401 h 4346"/>
                  <a:gd name="T2" fmla="*/ 567 w 4914"/>
                  <a:gd name="T3" fmla="*/ 2891 h 4346"/>
                  <a:gd name="T4" fmla="*/ 858 w 4914"/>
                  <a:gd name="T5" fmla="*/ 3212 h 4346"/>
                  <a:gd name="T6" fmla="*/ 1755 w 4914"/>
                  <a:gd name="T7" fmla="*/ 0 h 4346"/>
                  <a:gd name="T8" fmla="*/ 1850 w 4914"/>
                  <a:gd name="T9" fmla="*/ 944 h 4346"/>
                  <a:gd name="T10" fmla="*/ 3062 w 4914"/>
                  <a:gd name="T11" fmla="*/ 0 h 4346"/>
                  <a:gd name="T12" fmla="*/ 3078 w 4914"/>
                  <a:gd name="T13" fmla="*/ 944 h 4346"/>
                  <a:gd name="T14" fmla="*/ 3062 w 4914"/>
                  <a:gd name="T15" fmla="*/ 0 h 4346"/>
                  <a:gd name="T16" fmla="*/ 4158 w 4914"/>
                  <a:gd name="T17" fmla="*/ 1946 h 4346"/>
                  <a:gd name="T18" fmla="*/ 3213 w 4914"/>
                  <a:gd name="T19" fmla="*/ 1079 h 4346"/>
                  <a:gd name="T20" fmla="*/ 3024 w 4914"/>
                  <a:gd name="T21" fmla="*/ 3023 h 4346"/>
                  <a:gd name="T22" fmla="*/ 756 w 4914"/>
                  <a:gd name="T23" fmla="*/ 1133 h 4346"/>
                  <a:gd name="T24" fmla="*/ 1796 w 4914"/>
                  <a:gd name="T25" fmla="*/ 1511 h 4346"/>
                  <a:gd name="T26" fmla="*/ 1985 w 4914"/>
                  <a:gd name="T27" fmla="*/ 1133 h 4346"/>
                  <a:gd name="T28" fmla="*/ 3024 w 4914"/>
                  <a:gd name="T29" fmla="*/ 3023 h 4346"/>
                  <a:gd name="T30" fmla="*/ 4779 w 4914"/>
                  <a:gd name="T31" fmla="*/ 1700 h 4346"/>
                  <a:gd name="T32" fmla="*/ 2542 w 4914"/>
                  <a:gd name="T33" fmla="*/ 3401 h 4346"/>
                  <a:gd name="T34" fmla="*/ 3156 w 4914"/>
                  <a:gd name="T35" fmla="*/ 3212 h 4346"/>
                  <a:gd name="T36" fmla="*/ 4347 w 4914"/>
                  <a:gd name="T37" fmla="*/ 1700 h 4346"/>
                  <a:gd name="T38" fmla="*/ 2275 w 4914"/>
                  <a:gd name="T39" fmla="*/ 3401 h 4346"/>
                  <a:gd name="T40" fmla="*/ 1928 w 4914"/>
                  <a:gd name="T41" fmla="*/ 3212 h 4346"/>
                  <a:gd name="T42" fmla="*/ 1661 w 4914"/>
                  <a:gd name="T43" fmla="*/ 3212 h 4346"/>
                  <a:gd name="T44" fmla="*/ 936 w 4914"/>
                  <a:gd name="T45" fmla="*/ 3401 h 4346"/>
                  <a:gd name="T46" fmla="*/ 1661 w 4914"/>
                  <a:gd name="T47" fmla="*/ 3212 h 4346"/>
                  <a:gd name="T48" fmla="*/ 4914 w 4914"/>
                  <a:gd name="T49" fmla="*/ 2591 h 4346"/>
                  <a:gd name="T50" fmla="*/ 3213 w 4914"/>
                  <a:gd name="T51" fmla="*/ 3536 h 4346"/>
                  <a:gd name="T52" fmla="*/ 3024 w 4914"/>
                  <a:gd name="T53" fmla="*/ 4346 h 4346"/>
                  <a:gd name="T54" fmla="*/ 2268 w 4914"/>
                  <a:gd name="T55" fmla="*/ 3590 h 4346"/>
                  <a:gd name="T56" fmla="*/ 3024 w 4914"/>
                  <a:gd name="T57" fmla="*/ 4346 h 4346"/>
                  <a:gd name="T58" fmla="*/ 945 w 4914"/>
                  <a:gd name="T59" fmla="*/ 4292 h 4346"/>
                  <a:gd name="T60" fmla="*/ 1455 w 4914"/>
                  <a:gd name="T61" fmla="*/ 3779 h 4346"/>
                  <a:gd name="T62" fmla="*/ 0 w 4914"/>
                  <a:gd name="T63" fmla="*/ 4346 h 4346"/>
                  <a:gd name="T64" fmla="*/ 756 w 4914"/>
                  <a:gd name="T65" fmla="*/ 3590 h 4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914" h="4346">
                    <a:moveTo>
                      <a:pt x="858" y="3212"/>
                    </a:moveTo>
                    <a:lnTo>
                      <a:pt x="669" y="3401"/>
                    </a:lnTo>
                    <a:lnTo>
                      <a:pt x="55" y="3401"/>
                    </a:lnTo>
                    <a:lnTo>
                      <a:pt x="567" y="2891"/>
                    </a:lnTo>
                    <a:lnTo>
                      <a:pt x="567" y="3212"/>
                    </a:lnTo>
                    <a:lnTo>
                      <a:pt x="858" y="3212"/>
                    </a:lnTo>
                    <a:close/>
                    <a:moveTo>
                      <a:pt x="810" y="944"/>
                    </a:moveTo>
                    <a:lnTo>
                      <a:pt x="1755" y="0"/>
                    </a:lnTo>
                    <a:lnTo>
                      <a:pt x="2795" y="0"/>
                    </a:lnTo>
                    <a:lnTo>
                      <a:pt x="1850" y="944"/>
                    </a:lnTo>
                    <a:lnTo>
                      <a:pt x="810" y="944"/>
                    </a:lnTo>
                    <a:close/>
                    <a:moveTo>
                      <a:pt x="3062" y="0"/>
                    </a:moveTo>
                    <a:lnTo>
                      <a:pt x="4023" y="0"/>
                    </a:lnTo>
                    <a:lnTo>
                      <a:pt x="3078" y="944"/>
                    </a:lnTo>
                    <a:lnTo>
                      <a:pt x="2117" y="944"/>
                    </a:lnTo>
                    <a:lnTo>
                      <a:pt x="3062" y="0"/>
                    </a:lnTo>
                    <a:close/>
                    <a:moveTo>
                      <a:pt x="4158" y="134"/>
                    </a:moveTo>
                    <a:lnTo>
                      <a:pt x="4158" y="1946"/>
                    </a:lnTo>
                    <a:lnTo>
                      <a:pt x="3213" y="2891"/>
                    </a:lnTo>
                    <a:lnTo>
                      <a:pt x="3213" y="1079"/>
                    </a:lnTo>
                    <a:lnTo>
                      <a:pt x="4158" y="134"/>
                    </a:lnTo>
                    <a:close/>
                    <a:moveTo>
                      <a:pt x="3024" y="3023"/>
                    </a:moveTo>
                    <a:lnTo>
                      <a:pt x="756" y="3023"/>
                    </a:lnTo>
                    <a:lnTo>
                      <a:pt x="756" y="1133"/>
                    </a:lnTo>
                    <a:lnTo>
                      <a:pt x="1796" y="1133"/>
                    </a:lnTo>
                    <a:lnTo>
                      <a:pt x="1796" y="1511"/>
                    </a:lnTo>
                    <a:lnTo>
                      <a:pt x="1985" y="1511"/>
                    </a:lnTo>
                    <a:lnTo>
                      <a:pt x="1985" y="1133"/>
                    </a:lnTo>
                    <a:lnTo>
                      <a:pt x="3024" y="1133"/>
                    </a:lnTo>
                    <a:lnTo>
                      <a:pt x="3024" y="3023"/>
                    </a:lnTo>
                    <a:close/>
                    <a:moveTo>
                      <a:pt x="4347" y="1700"/>
                    </a:moveTo>
                    <a:lnTo>
                      <a:pt x="4779" y="1700"/>
                    </a:lnTo>
                    <a:lnTo>
                      <a:pt x="3078" y="3401"/>
                    </a:lnTo>
                    <a:lnTo>
                      <a:pt x="2542" y="3401"/>
                    </a:lnTo>
                    <a:lnTo>
                      <a:pt x="2731" y="3212"/>
                    </a:lnTo>
                    <a:lnTo>
                      <a:pt x="3156" y="3212"/>
                    </a:lnTo>
                    <a:lnTo>
                      <a:pt x="4347" y="2024"/>
                    </a:lnTo>
                    <a:lnTo>
                      <a:pt x="4347" y="1700"/>
                    </a:lnTo>
                    <a:close/>
                    <a:moveTo>
                      <a:pt x="2464" y="3212"/>
                    </a:moveTo>
                    <a:lnTo>
                      <a:pt x="2275" y="3401"/>
                    </a:lnTo>
                    <a:lnTo>
                      <a:pt x="1739" y="3401"/>
                    </a:lnTo>
                    <a:lnTo>
                      <a:pt x="1928" y="3212"/>
                    </a:lnTo>
                    <a:lnTo>
                      <a:pt x="2464" y="3212"/>
                    </a:lnTo>
                    <a:close/>
                    <a:moveTo>
                      <a:pt x="1661" y="3212"/>
                    </a:moveTo>
                    <a:lnTo>
                      <a:pt x="1472" y="3401"/>
                    </a:lnTo>
                    <a:lnTo>
                      <a:pt x="936" y="3401"/>
                    </a:lnTo>
                    <a:lnTo>
                      <a:pt x="1125" y="3212"/>
                    </a:lnTo>
                    <a:lnTo>
                      <a:pt x="1661" y="3212"/>
                    </a:lnTo>
                    <a:close/>
                    <a:moveTo>
                      <a:pt x="4914" y="1835"/>
                    </a:moveTo>
                    <a:lnTo>
                      <a:pt x="4914" y="2591"/>
                    </a:lnTo>
                    <a:lnTo>
                      <a:pt x="3213" y="4292"/>
                    </a:lnTo>
                    <a:lnTo>
                      <a:pt x="3213" y="3536"/>
                    </a:lnTo>
                    <a:lnTo>
                      <a:pt x="4914" y="1835"/>
                    </a:lnTo>
                    <a:close/>
                    <a:moveTo>
                      <a:pt x="3024" y="4346"/>
                    </a:moveTo>
                    <a:lnTo>
                      <a:pt x="2268" y="4346"/>
                    </a:lnTo>
                    <a:lnTo>
                      <a:pt x="2268" y="3590"/>
                    </a:lnTo>
                    <a:lnTo>
                      <a:pt x="3024" y="3590"/>
                    </a:lnTo>
                    <a:lnTo>
                      <a:pt x="3024" y="4346"/>
                    </a:lnTo>
                    <a:close/>
                    <a:moveTo>
                      <a:pt x="1455" y="3779"/>
                    </a:moveTo>
                    <a:lnTo>
                      <a:pt x="945" y="4292"/>
                    </a:lnTo>
                    <a:lnTo>
                      <a:pt x="945" y="3779"/>
                    </a:lnTo>
                    <a:lnTo>
                      <a:pt x="1455" y="3779"/>
                    </a:lnTo>
                    <a:close/>
                    <a:moveTo>
                      <a:pt x="756" y="4346"/>
                    </a:moveTo>
                    <a:lnTo>
                      <a:pt x="0" y="4346"/>
                    </a:lnTo>
                    <a:lnTo>
                      <a:pt x="0" y="3590"/>
                    </a:lnTo>
                    <a:lnTo>
                      <a:pt x="756" y="3590"/>
                    </a:lnTo>
                    <a:lnTo>
                      <a:pt x="756" y="4346"/>
                    </a:lnTo>
                    <a:close/>
                  </a:path>
                </a:pathLst>
              </a:custGeom>
              <a:solidFill>
                <a:schemeClr val="tx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000" noProof="1"/>
              </a:p>
            </p:txBody>
          </p:sp>
          <p:cxnSp>
            <p:nvCxnSpPr>
              <p:cNvPr id="58" name="Straight Connector 57">
                <a:extLst>
                  <a:ext uri="{FF2B5EF4-FFF2-40B4-BE49-F238E27FC236}">
                    <a16:creationId xmlns:a16="http://schemas.microsoft.com/office/drawing/2014/main" xmlns="" id="{A9E36093-AFC8-4386-A323-A3CCDF15163F}"/>
                  </a:ext>
                </a:extLst>
              </p:cNvPr>
              <p:cNvCxnSpPr/>
              <p:nvPr/>
            </p:nvCxnSpPr>
            <p:spPr>
              <a:xfrm flipV="1">
                <a:off x="5795615" y="4747579"/>
                <a:ext cx="0" cy="132622"/>
              </a:xfrm>
              <a:prstGeom prst="line">
                <a:avLst/>
              </a:prstGeom>
              <a:grpFill/>
              <a:ln w="15875">
                <a:solidFill>
                  <a:schemeClr val="bg1"/>
                </a:solidFill>
                <a:tailEnd type="none"/>
              </a:ln>
            </p:spPr>
            <p:style>
              <a:lnRef idx="1">
                <a:schemeClr val="accent1"/>
              </a:lnRef>
              <a:fillRef idx="0">
                <a:schemeClr val="accent1"/>
              </a:fillRef>
              <a:effectRef idx="0">
                <a:schemeClr val="accent1"/>
              </a:effectRef>
              <a:fontRef idx="minor">
                <a:schemeClr val="tx1"/>
              </a:fontRef>
            </p:style>
          </p:cxnSp>
        </p:grpSp>
      </p:grpSp>
      <p:graphicFrame>
        <p:nvGraphicFramePr>
          <p:cNvPr id="70" name="Table 69">
            <a:extLst>
              <a:ext uri="{FF2B5EF4-FFF2-40B4-BE49-F238E27FC236}">
                <a16:creationId xmlns:a16="http://schemas.microsoft.com/office/drawing/2014/main" xmlns="" id="{E5148369-560E-438F-B950-BAAB51A60F0C}"/>
              </a:ext>
            </a:extLst>
          </p:cNvPr>
          <p:cNvGraphicFramePr>
            <a:graphicFrameLocks noGrp="1"/>
          </p:cNvGraphicFramePr>
          <p:nvPr>
            <p:extLst>
              <p:ext uri="{D42A27DB-BD31-4B8C-83A1-F6EECF244321}">
                <p14:modId xmlns:p14="http://schemas.microsoft.com/office/powerpoint/2010/main" val="3399766453"/>
              </p:ext>
            </p:extLst>
          </p:nvPr>
        </p:nvGraphicFramePr>
        <p:xfrm>
          <a:off x="1219641" y="2407053"/>
          <a:ext cx="9480412" cy="507046"/>
        </p:xfrm>
        <a:graphic>
          <a:graphicData uri="http://schemas.openxmlformats.org/drawingml/2006/table">
            <a:tbl>
              <a:tblPr firstRow="1" bandRow="1">
                <a:tableStyleId>{C115FB49-3FBE-41CF-8DFC-A938FE5134F0}</a:tableStyleId>
              </a:tblPr>
              <a:tblGrid>
                <a:gridCol w="1335117">
                  <a:extLst>
                    <a:ext uri="{9D8B030D-6E8A-4147-A177-3AD203B41FA5}">
                      <a16:colId xmlns:a16="http://schemas.microsoft.com/office/drawing/2014/main" xmlns="" val="1161520263"/>
                    </a:ext>
                  </a:extLst>
                </a:gridCol>
                <a:gridCol w="1472424">
                  <a:extLst>
                    <a:ext uri="{9D8B030D-6E8A-4147-A177-3AD203B41FA5}">
                      <a16:colId xmlns:a16="http://schemas.microsoft.com/office/drawing/2014/main" xmlns="" val="2942909094"/>
                    </a:ext>
                  </a:extLst>
                </a:gridCol>
                <a:gridCol w="1211141">
                  <a:extLst>
                    <a:ext uri="{9D8B030D-6E8A-4147-A177-3AD203B41FA5}">
                      <a16:colId xmlns:a16="http://schemas.microsoft.com/office/drawing/2014/main" xmlns="" val="168446271"/>
                    </a:ext>
                  </a:extLst>
                </a:gridCol>
                <a:gridCol w="1470060">
                  <a:extLst>
                    <a:ext uri="{9D8B030D-6E8A-4147-A177-3AD203B41FA5}">
                      <a16:colId xmlns:a16="http://schemas.microsoft.com/office/drawing/2014/main" xmlns="" val="2548592171"/>
                    </a:ext>
                  </a:extLst>
                </a:gridCol>
                <a:gridCol w="1283079">
                  <a:extLst>
                    <a:ext uri="{9D8B030D-6E8A-4147-A177-3AD203B41FA5}">
                      <a16:colId xmlns:a16="http://schemas.microsoft.com/office/drawing/2014/main" xmlns="" val="202062618"/>
                    </a:ext>
                  </a:extLst>
                </a:gridCol>
                <a:gridCol w="1343011">
                  <a:extLst>
                    <a:ext uri="{9D8B030D-6E8A-4147-A177-3AD203B41FA5}">
                      <a16:colId xmlns:a16="http://schemas.microsoft.com/office/drawing/2014/main" xmlns="" val="3470416852"/>
                    </a:ext>
                  </a:extLst>
                </a:gridCol>
                <a:gridCol w="1365580">
                  <a:extLst>
                    <a:ext uri="{9D8B030D-6E8A-4147-A177-3AD203B41FA5}">
                      <a16:colId xmlns:a16="http://schemas.microsoft.com/office/drawing/2014/main" xmlns="" val="1049844064"/>
                    </a:ext>
                  </a:extLst>
                </a:gridCol>
              </a:tblGrid>
              <a:tr h="507046">
                <a:tc>
                  <a:txBody>
                    <a:bodyPr/>
                    <a:lstStyle/>
                    <a:p>
                      <a:pPr algn="ctr">
                        <a:spcBef>
                          <a:spcPts val="300"/>
                        </a:spcBef>
                      </a:pPr>
                      <a:r>
                        <a:rPr lang="nl-NL" sz="1000">
                          <a:cs typeface="Arial" pitchFamily="34" charset="0"/>
                        </a:rPr>
                        <a:t>To compare</a:t>
                      </a:r>
                    </a:p>
                    <a:p>
                      <a:pPr algn="ctr">
                        <a:spcBef>
                          <a:spcPts val="300"/>
                        </a:spcBef>
                      </a:pPr>
                      <a:r>
                        <a:rPr lang="nl-NL" sz="1000">
                          <a:cs typeface="Arial" pitchFamily="34" charset="0"/>
                        </a:rPr>
                        <a:t>prices</a:t>
                      </a:r>
                      <a:endParaRPr lang="nl-NL" sz="1000" dirty="0">
                        <a:cs typeface="Arial" pitchFamily="34" charset="0"/>
                      </a:endParaRPr>
                    </a:p>
                  </a:txBody>
                  <a:tcPr marL="0" marR="0" marT="0" marB="0" anchor="ctr">
                    <a:lnL>
                      <a:noFill/>
                    </a:lnL>
                    <a:lnR>
                      <a:noFill/>
                    </a:lnR>
                    <a:lnT>
                      <a:noFill/>
                    </a:lnT>
                    <a:lnB w="9525" cmpd="sng">
                      <a:noFill/>
                    </a:lnB>
                    <a:lnTlToBr w="12700" cmpd="sng">
                      <a:noFill/>
                      <a:prstDash val="solid"/>
                    </a:lnTlToBr>
                    <a:lnBlToTr w="12700" cmpd="sng">
                      <a:noFill/>
                      <a:prstDash val="solid"/>
                    </a:lnBlToTr>
                  </a:tcPr>
                </a:tc>
                <a:tc>
                  <a:txBody>
                    <a:bodyPr/>
                    <a:lstStyle/>
                    <a:p>
                      <a:pPr algn="ctr">
                        <a:spcBef>
                          <a:spcPts val="300"/>
                        </a:spcBef>
                      </a:pPr>
                      <a:r>
                        <a:rPr lang="nl-NL" sz="1000">
                          <a:cs typeface="Arial" pitchFamily="34" charset="0"/>
                        </a:rPr>
                        <a:t>Requesting product information </a:t>
                      </a:r>
                      <a:endParaRPr lang="nl-NL" sz="1000" dirty="0">
                        <a:cs typeface="Arial" pitchFamily="34" charset="0"/>
                      </a:endParaRPr>
                    </a:p>
                  </a:txBody>
                  <a:tcPr marL="0" marR="0" marT="0" marB="0" anchor="ctr">
                    <a:lnL>
                      <a:noFill/>
                    </a:lnL>
                    <a:lnR>
                      <a:noFill/>
                    </a:lnR>
                    <a:lnT>
                      <a:noFill/>
                    </a:lnT>
                    <a:lnB w="9525" cmpd="sng">
                      <a:noFill/>
                    </a:lnB>
                    <a:lnTlToBr w="12700" cmpd="sng">
                      <a:noFill/>
                      <a:prstDash val="solid"/>
                    </a:lnTlToBr>
                    <a:lnBlToTr w="12700" cmpd="sng">
                      <a:noFill/>
                      <a:prstDash val="solid"/>
                    </a:lnBlToTr>
                  </a:tcPr>
                </a:tc>
                <a:tc>
                  <a:txBody>
                    <a:bodyPr/>
                    <a:lstStyle/>
                    <a:p>
                      <a:pPr algn="ctr">
                        <a:spcBef>
                          <a:spcPts val="300"/>
                        </a:spcBef>
                      </a:pPr>
                      <a:r>
                        <a:rPr lang="nl-NL" sz="1000" dirty="0" err="1">
                          <a:cs typeface="Arial" pitchFamily="34" charset="0"/>
                        </a:rPr>
                        <a:t>Looking</a:t>
                      </a:r>
                      <a:r>
                        <a:rPr lang="nl-NL" sz="1000" dirty="0">
                          <a:cs typeface="Arial" pitchFamily="34" charset="0"/>
                        </a:rPr>
                        <a:t> </a:t>
                      </a:r>
                      <a:r>
                        <a:rPr lang="nl-NL" sz="1000" dirty="0" err="1">
                          <a:cs typeface="Arial" pitchFamily="34" charset="0"/>
                        </a:rPr>
                        <a:t>for</a:t>
                      </a:r>
                      <a:endParaRPr lang="nl-NL" sz="1000" dirty="0">
                        <a:cs typeface="Arial" pitchFamily="34" charset="0"/>
                      </a:endParaRPr>
                    </a:p>
                    <a:p>
                      <a:pPr algn="ctr">
                        <a:spcBef>
                          <a:spcPts val="300"/>
                        </a:spcBef>
                      </a:pPr>
                      <a:r>
                        <a:rPr lang="nl-NL" sz="1000" dirty="0">
                          <a:cs typeface="Arial" pitchFamily="34" charset="0"/>
                        </a:rPr>
                        <a:t>special offers</a:t>
                      </a:r>
                    </a:p>
                  </a:txBody>
                  <a:tcPr marL="0" marR="0" marT="0" marB="0" anchor="ctr">
                    <a:lnL>
                      <a:noFill/>
                    </a:lnL>
                    <a:lnR>
                      <a:noFill/>
                    </a:lnR>
                    <a:lnT>
                      <a:noFill/>
                    </a:lnT>
                    <a:lnB w="9525" cmpd="sng">
                      <a:noFill/>
                    </a:lnB>
                    <a:lnTlToBr w="12700" cmpd="sng">
                      <a:noFill/>
                      <a:prstDash val="solid"/>
                    </a:lnTlToBr>
                    <a:lnBlToTr w="12700" cmpd="sng">
                      <a:noFill/>
                      <a:prstDash val="solid"/>
                    </a:lnBlToTr>
                  </a:tcPr>
                </a:tc>
                <a:tc>
                  <a:txBody>
                    <a:bodyPr/>
                    <a:lstStyle/>
                    <a:p>
                      <a:pPr algn="ctr">
                        <a:spcBef>
                          <a:spcPts val="300"/>
                        </a:spcBef>
                      </a:pPr>
                      <a:r>
                        <a:rPr lang="nl-NL" sz="1000">
                          <a:cs typeface="Arial" pitchFamily="34" charset="0"/>
                        </a:rPr>
                        <a:t>To read reviews</a:t>
                      </a:r>
                      <a:endParaRPr lang="nl-NL" sz="1000" dirty="0">
                        <a:cs typeface="Arial" pitchFamily="34" charset="0"/>
                      </a:endParaRPr>
                    </a:p>
                  </a:txBody>
                  <a:tcPr marL="0" marR="0" marT="0" marB="0" anchor="ctr">
                    <a:lnL>
                      <a:noFill/>
                    </a:lnL>
                    <a:lnR>
                      <a:noFill/>
                    </a:lnR>
                    <a:lnT>
                      <a:noFill/>
                    </a:lnT>
                    <a:lnB w="9525" cmpd="sng">
                      <a:noFill/>
                    </a:lnB>
                    <a:lnTlToBr w="12700" cmpd="sng">
                      <a:noFill/>
                      <a:prstDash val="solid"/>
                    </a:lnTlToBr>
                    <a:lnBlToTr w="12700" cmpd="sng">
                      <a:noFill/>
                      <a:prstDash val="solid"/>
                    </a:lnBlToTr>
                  </a:tcPr>
                </a:tc>
                <a:tc>
                  <a:txBody>
                    <a:bodyPr/>
                    <a:lstStyle/>
                    <a:p>
                      <a:pPr algn="ctr">
                        <a:spcBef>
                          <a:spcPts val="300"/>
                        </a:spcBef>
                      </a:pPr>
                      <a:r>
                        <a:rPr lang="en-US" sz="1000" dirty="0">
                          <a:cs typeface="Arial" pitchFamily="34" charset="0"/>
                        </a:rPr>
                        <a:t>Availability of a </a:t>
                      </a:r>
                    </a:p>
                    <a:p>
                      <a:pPr algn="ctr">
                        <a:spcBef>
                          <a:spcPts val="300"/>
                        </a:spcBef>
                      </a:pPr>
                      <a:r>
                        <a:rPr lang="en-US" sz="1000" dirty="0">
                          <a:cs typeface="Arial" pitchFamily="34" charset="0"/>
                        </a:rPr>
                        <a:t>specific product</a:t>
                      </a:r>
                      <a:endParaRPr lang="nl-NL" sz="1000" dirty="0">
                        <a:cs typeface="Arial" pitchFamily="34" charset="0"/>
                      </a:endParaRPr>
                    </a:p>
                  </a:txBody>
                  <a:tcPr marL="0" marR="0" marT="0" marB="0" anchor="ctr">
                    <a:lnL>
                      <a:noFill/>
                    </a:lnL>
                    <a:lnR>
                      <a:noFill/>
                    </a:lnR>
                    <a:lnT>
                      <a:noFill/>
                    </a:lnT>
                    <a:lnB w="9525" cmpd="sng">
                      <a:noFill/>
                    </a:lnB>
                    <a:lnTlToBr w="12700" cmpd="sng">
                      <a:noFill/>
                      <a:prstDash val="solid"/>
                    </a:lnTlToBr>
                    <a:lnBlToTr w="12700" cmpd="sng">
                      <a:noFill/>
                      <a:prstDash val="solid"/>
                    </a:lnBlToTr>
                  </a:tcPr>
                </a:tc>
                <a:tc>
                  <a:txBody>
                    <a:bodyPr/>
                    <a:lstStyle/>
                    <a:p>
                      <a:pPr algn="ctr">
                        <a:spcBef>
                          <a:spcPts val="300"/>
                        </a:spcBef>
                      </a:pPr>
                      <a:r>
                        <a:rPr lang="nl-NL" sz="1000">
                          <a:cs typeface="Arial" pitchFamily="34" charset="0"/>
                        </a:rPr>
                        <a:t>To view </a:t>
                      </a:r>
                    </a:p>
                    <a:p>
                      <a:pPr algn="ctr">
                        <a:spcBef>
                          <a:spcPts val="300"/>
                        </a:spcBef>
                      </a:pPr>
                      <a:r>
                        <a:rPr lang="nl-NL" sz="1000">
                          <a:cs typeface="Arial" pitchFamily="34" charset="0"/>
                        </a:rPr>
                        <a:t>Social Media</a:t>
                      </a:r>
                      <a:endParaRPr lang="nl-NL" sz="1000" dirty="0">
                        <a:cs typeface="Arial" pitchFamily="34" charset="0"/>
                      </a:endParaRPr>
                    </a:p>
                  </a:txBody>
                  <a:tcPr marL="0" marR="0" marT="0" marB="0" anchor="ctr">
                    <a:lnL>
                      <a:noFill/>
                    </a:lnL>
                    <a:lnR>
                      <a:noFill/>
                    </a:lnR>
                    <a:lnT>
                      <a:noFill/>
                    </a:lnT>
                    <a:lnB w="9525" cmpd="sng">
                      <a:noFill/>
                    </a:lnB>
                    <a:lnTlToBr w="12700" cmpd="sng">
                      <a:noFill/>
                      <a:prstDash val="solid"/>
                    </a:lnTlToBr>
                    <a:lnBlToTr w="12700" cmpd="sng">
                      <a:noFill/>
                      <a:prstDash val="solid"/>
                    </a:lnBlToTr>
                  </a:tcPr>
                </a:tc>
                <a:tc>
                  <a:txBody>
                    <a:bodyPr/>
                    <a:lstStyle/>
                    <a:p>
                      <a:pPr algn="ctr">
                        <a:spcBef>
                          <a:spcPts val="300"/>
                        </a:spcBef>
                      </a:pPr>
                      <a:r>
                        <a:rPr lang="en-US" sz="1000" dirty="0">
                          <a:cs typeface="Arial" pitchFamily="34" charset="0"/>
                        </a:rPr>
                        <a:t>Scanning and</a:t>
                      </a:r>
                    </a:p>
                    <a:p>
                      <a:pPr algn="ctr">
                        <a:spcBef>
                          <a:spcPts val="300"/>
                        </a:spcBef>
                      </a:pPr>
                      <a:r>
                        <a:rPr lang="en-US" sz="1000" dirty="0">
                          <a:cs typeface="Arial" pitchFamily="34" charset="0"/>
                        </a:rPr>
                        <a:t>payment of products</a:t>
                      </a:r>
                      <a:endParaRPr lang="nl-NL" sz="1000" dirty="0">
                        <a:cs typeface="Arial" pitchFamily="34" charset="0"/>
                      </a:endParaRPr>
                    </a:p>
                  </a:txBody>
                  <a:tcPr marL="0" marR="0" marT="0" marB="0" anchor="ctr">
                    <a:lnL>
                      <a:noFill/>
                    </a:lnL>
                    <a:lnR>
                      <a:noFill/>
                    </a:lnR>
                    <a:lnT>
                      <a:noFill/>
                    </a:lnT>
                    <a:lnB w="9525" cmpd="sng">
                      <a:noFill/>
                    </a:lnB>
                    <a:lnTlToBr w="12700" cmpd="sng">
                      <a:noFill/>
                      <a:prstDash val="solid"/>
                    </a:lnTlToBr>
                    <a:lnBlToTr w="12700" cmpd="sng">
                      <a:noFill/>
                      <a:prstDash val="solid"/>
                    </a:lnBlToTr>
                  </a:tcPr>
                </a:tc>
                <a:extLst>
                  <a:ext uri="{0D108BD9-81ED-4DB2-BD59-A6C34878D82A}">
                    <a16:rowId xmlns:a16="http://schemas.microsoft.com/office/drawing/2014/main" xmlns="" val="565321104"/>
                  </a:ext>
                </a:extLst>
              </a:tr>
            </a:tbl>
          </a:graphicData>
        </a:graphic>
      </p:graphicFrame>
      <p:grpSp>
        <p:nvGrpSpPr>
          <p:cNvPr id="7" name="Group 6">
            <a:extLst>
              <a:ext uri="{FF2B5EF4-FFF2-40B4-BE49-F238E27FC236}">
                <a16:creationId xmlns:a16="http://schemas.microsoft.com/office/drawing/2014/main" xmlns="" id="{5215AB3D-B6B5-4C3A-8DC1-14AD78FDB3D9}"/>
              </a:ext>
            </a:extLst>
          </p:cNvPr>
          <p:cNvGrpSpPr/>
          <p:nvPr/>
        </p:nvGrpSpPr>
        <p:grpSpPr>
          <a:xfrm>
            <a:off x="4188501" y="2902405"/>
            <a:ext cx="723703" cy="530342"/>
            <a:chOff x="7438190" y="4234552"/>
            <a:chExt cx="723703" cy="530342"/>
          </a:xfrm>
        </p:grpSpPr>
        <p:grpSp>
          <p:nvGrpSpPr>
            <p:cNvPr id="72" name="Group 43">
              <a:extLst>
                <a:ext uri="{FF2B5EF4-FFF2-40B4-BE49-F238E27FC236}">
                  <a16:creationId xmlns:a16="http://schemas.microsoft.com/office/drawing/2014/main" xmlns="" id="{424BCBC1-E95A-4ABD-AECA-64C4B89B6EEE}"/>
                </a:ext>
              </a:extLst>
            </p:cNvPr>
            <p:cNvGrpSpPr>
              <a:grpSpLocks noChangeAspect="1"/>
            </p:cNvGrpSpPr>
            <p:nvPr>
              <p:custDataLst>
                <p:tags r:id="rId9"/>
              </p:custDataLst>
            </p:nvPr>
          </p:nvGrpSpPr>
          <p:grpSpPr bwMode="auto">
            <a:xfrm>
              <a:off x="7438190" y="4234552"/>
              <a:ext cx="723703" cy="530342"/>
              <a:chOff x="380" y="-403"/>
              <a:chExt cx="4999" cy="5076"/>
            </a:xfrm>
            <a:solidFill>
              <a:schemeClr val="tx1">
                <a:lumMod val="40000"/>
                <a:lumOff val="60000"/>
              </a:schemeClr>
            </a:solidFill>
          </p:grpSpPr>
          <p:sp>
            <p:nvSpPr>
              <p:cNvPr id="74" name="Freeform 44">
                <a:extLst>
                  <a:ext uri="{FF2B5EF4-FFF2-40B4-BE49-F238E27FC236}">
                    <a16:creationId xmlns:a16="http://schemas.microsoft.com/office/drawing/2014/main" xmlns="" id="{CCEC3513-B87D-4E73-B756-DC5AF1689392}"/>
                  </a:ext>
                </a:extLst>
              </p:cNvPr>
              <p:cNvSpPr>
                <a:spLocks noEditPoints="1"/>
              </p:cNvSpPr>
              <p:nvPr/>
            </p:nvSpPr>
            <p:spPr bwMode="auto">
              <a:xfrm>
                <a:off x="3094" y="-403"/>
                <a:ext cx="2285" cy="4929"/>
              </a:xfrm>
              <a:custGeom>
                <a:avLst/>
                <a:gdLst>
                  <a:gd name="T0" fmla="*/ 440 w 967"/>
                  <a:gd name="T1" fmla="*/ 464 h 2087"/>
                  <a:gd name="T2" fmla="*/ 654 w 967"/>
                  <a:gd name="T3" fmla="*/ 572 h 2087"/>
                  <a:gd name="T4" fmla="*/ 725 w 967"/>
                  <a:gd name="T5" fmla="*/ 607 h 2087"/>
                  <a:gd name="T6" fmla="*/ 940 w 967"/>
                  <a:gd name="T7" fmla="*/ 715 h 2087"/>
                  <a:gd name="T8" fmla="*/ 958 w 967"/>
                  <a:gd name="T9" fmla="*/ 769 h 2087"/>
                  <a:gd name="T10" fmla="*/ 295 w 967"/>
                  <a:gd name="T11" fmla="*/ 2087 h 2087"/>
                  <a:gd name="T12" fmla="*/ 295 w 967"/>
                  <a:gd name="T13" fmla="*/ 663 h 2087"/>
                  <a:gd name="T14" fmla="*/ 440 w 967"/>
                  <a:gd name="T15" fmla="*/ 464 h 2087"/>
                  <a:gd name="T16" fmla="*/ 654 w 967"/>
                  <a:gd name="T17" fmla="*/ 572 h 2087"/>
                  <a:gd name="T18" fmla="*/ 559 w 967"/>
                  <a:gd name="T19" fmla="*/ 760 h 2087"/>
                  <a:gd name="T20" fmla="*/ 493 w 967"/>
                  <a:gd name="T21" fmla="*/ 804 h 2087"/>
                  <a:gd name="T22" fmla="*/ 528 w 967"/>
                  <a:gd name="T23" fmla="*/ 911 h 2087"/>
                  <a:gd name="T24" fmla="*/ 635 w 967"/>
                  <a:gd name="T25" fmla="*/ 876 h 2087"/>
                  <a:gd name="T26" fmla="*/ 631 w 967"/>
                  <a:gd name="T27" fmla="*/ 796 h 2087"/>
                  <a:gd name="T28" fmla="*/ 725 w 967"/>
                  <a:gd name="T29" fmla="*/ 607 h 2087"/>
                  <a:gd name="T30" fmla="*/ 779 w 967"/>
                  <a:gd name="T31" fmla="*/ 500 h 2087"/>
                  <a:gd name="T32" fmla="*/ 797 w 967"/>
                  <a:gd name="T33" fmla="*/ 465 h 2087"/>
                  <a:gd name="T34" fmla="*/ 827 w 967"/>
                  <a:gd name="T35" fmla="*/ 251 h 2087"/>
                  <a:gd name="T36" fmla="*/ 685 w 967"/>
                  <a:gd name="T37" fmla="*/ 95 h 2087"/>
                  <a:gd name="T38" fmla="*/ 181 w 967"/>
                  <a:gd name="T39" fmla="*/ 303 h 2087"/>
                  <a:gd name="T40" fmla="*/ 0 w 967"/>
                  <a:gd name="T41" fmla="*/ 469 h 2087"/>
                  <a:gd name="T42" fmla="*/ 121 w 967"/>
                  <a:gd name="T43" fmla="*/ 469 h 2087"/>
                  <a:gd name="T44" fmla="*/ 236 w 967"/>
                  <a:gd name="T45" fmla="*/ 361 h 2087"/>
                  <a:gd name="T46" fmla="*/ 526 w 967"/>
                  <a:gd name="T47" fmla="*/ 149 h 2087"/>
                  <a:gd name="T48" fmla="*/ 239 w 967"/>
                  <a:gd name="T49" fmla="*/ 465 h 2087"/>
                  <a:gd name="T50" fmla="*/ 228 w 967"/>
                  <a:gd name="T51" fmla="*/ 481 h 2087"/>
                  <a:gd name="T52" fmla="*/ 284 w 967"/>
                  <a:gd name="T53" fmla="*/ 539 h 2087"/>
                  <a:gd name="T54" fmla="*/ 304 w 967"/>
                  <a:gd name="T55" fmla="*/ 512 h 2087"/>
                  <a:gd name="T56" fmla="*/ 671 w 967"/>
                  <a:gd name="T57" fmla="*/ 222 h 2087"/>
                  <a:gd name="T58" fmla="*/ 708 w 967"/>
                  <a:gd name="T59" fmla="*/ 464 h 2087"/>
                  <a:gd name="T60" fmla="*/ 654 w 967"/>
                  <a:gd name="T61" fmla="*/ 572 h 20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967" h="2087">
                    <a:moveTo>
                      <a:pt x="440" y="464"/>
                    </a:moveTo>
                    <a:cubicBezTo>
                      <a:pt x="654" y="572"/>
                      <a:pt x="654" y="572"/>
                      <a:pt x="654" y="572"/>
                    </a:cubicBezTo>
                    <a:cubicBezTo>
                      <a:pt x="725" y="607"/>
                      <a:pt x="725" y="607"/>
                      <a:pt x="725" y="607"/>
                    </a:cubicBezTo>
                    <a:cubicBezTo>
                      <a:pt x="940" y="715"/>
                      <a:pt x="940" y="715"/>
                      <a:pt x="940" y="715"/>
                    </a:cubicBezTo>
                    <a:cubicBezTo>
                      <a:pt x="960" y="725"/>
                      <a:pt x="967" y="749"/>
                      <a:pt x="958" y="769"/>
                    </a:cubicBezTo>
                    <a:cubicBezTo>
                      <a:pt x="295" y="2087"/>
                      <a:pt x="295" y="2087"/>
                      <a:pt x="295" y="2087"/>
                    </a:cubicBezTo>
                    <a:cubicBezTo>
                      <a:pt x="295" y="663"/>
                      <a:pt x="295" y="663"/>
                      <a:pt x="295" y="663"/>
                    </a:cubicBezTo>
                    <a:lnTo>
                      <a:pt x="440" y="464"/>
                    </a:lnTo>
                    <a:close/>
                    <a:moveTo>
                      <a:pt x="654" y="572"/>
                    </a:moveTo>
                    <a:cubicBezTo>
                      <a:pt x="559" y="760"/>
                      <a:pt x="559" y="760"/>
                      <a:pt x="559" y="760"/>
                    </a:cubicBezTo>
                    <a:cubicBezTo>
                      <a:pt x="532" y="761"/>
                      <a:pt x="506" y="777"/>
                      <a:pt x="493" y="804"/>
                    </a:cubicBezTo>
                    <a:cubicBezTo>
                      <a:pt x="473" y="843"/>
                      <a:pt x="489" y="891"/>
                      <a:pt x="528" y="911"/>
                    </a:cubicBezTo>
                    <a:cubicBezTo>
                      <a:pt x="567" y="931"/>
                      <a:pt x="616" y="915"/>
                      <a:pt x="635" y="876"/>
                    </a:cubicBezTo>
                    <a:cubicBezTo>
                      <a:pt x="649" y="849"/>
                      <a:pt x="646" y="819"/>
                      <a:pt x="631" y="796"/>
                    </a:cubicBezTo>
                    <a:cubicBezTo>
                      <a:pt x="725" y="607"/>
                      <a:pt x="725" y="607"/>
                      <a:pt x="725" y="607"/>
                    </a:cubicBezTo>
                    <a:cubicBezTo>
                      <a:pt x="779" y="500"/>
                      <a:pt x="779" y="500"/>
                      <a:pt x="779" y="500"/>
                    </a:cubicBezTo>
                    <a:cubicBezTo>
                      <a:pt x="797" y="465"/>
                      <a:pt x="797" y="465"/>
                      <a:pt x="797" y="465"/>
                    </a:cubicBezTo>
                    <a:cubicBezTo>
                      <a:pt x="837" y="385"/>
                      <a:pt x="845" y="313"/>
                      <a:pt x="827" y="251"/>
                    </a:cubicBezTo>
                    <a:cubicBezTo>
                      <a:pt x="806" y="184"/>
                      <a:pt x="757" y="131"/>
                      <a:pt x="685" y="95"/>
                    </a:cubicBezTo>
                    <a:cubicBezTo>
                      <a:pt x="497" y="0"/>
                      <a:pt x="365" y="126"/>
                      <a:pt x="181" y="303"/>
                    </a:cubicBezTo>
                    <a:cubicBezTo>
                      <a:pt x="127" y="355"/>
                      <a:pt x="67" y="412"/>
                      <a:pt x="0" y="469"/>
                    </a:cubicBezTo>
                    <a:cubicBezTo>
                      <a:pt x="121" y="469"/>
                      <a:pt x="121" y="469"/>
                      <a:pt x="121" y="469"/>
                    </a:cubicBezTo>
                    <a:cubicBezTo>
                      <a:pt x="162" y="432"/>
                      <a:pt x="200" y="395"/>
                      <a:pt x="236" y="361"/>
                    </a:cubicBezTo>
                    <a:cubicBezTo>
                      <a:pt x="347" y="254"/>
                      <a:pt x="436" y="168"/>
                      <a:pt x="526" y="149"/>
                    </a:cubicBezTo>
                    <a:cubicBezTo>
                      <a:pt x="432" y="197"/>
                      <a:pt x="344" y="319"/>
                      <a:pt x="239" y="465"/>
                    </a:cubicBezTo>
                    <a:cubicBezTo>
                      <a:pt x="228" y="481"/>
                      <a:pt x="228" y="481"/>
                      <a:pt x="228" y="481"/>
                    </a:cubicBezTo>
                    <a:cubicBezTo>
                      <a:pt x="253" y="493"/>
                      <a:pt x="273" y="514"/>
                      <a:pt x="284" y="539"/>
                    </a:cubicBezTo>
                    <a:cubicBezTo>
                      <a:pt x="304" y="512"/>
                      <a:pt x="304" y="512"/>
                      <a:pt x="304" y="512"/>
                    </a:cubicBezTo>
                    <a:cubicBezTo>
                      <a:pt x="449" y="311"/>
                      <a:pt x="554" y="163"/>
                      <a:pt x="671" y="222"/>
                    </a:cubicBezTo>
                    <a:cubicBezTo>
                      <a:pt x="764" y="268"/>
                      <a:pt x="747" y="387"/>
                      <a:pt x="708" y="464"/>
                    </a:cubicBezTo>
                    <a:lnTo>
                      <a:pt x="654" y="572"/>
                    </a:ln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75" name="Freeform 45">
                <a:extLst>
                  <a:ext uri="{FF2B5EF4-FFF2-40B4-BE49-F238E27FC236}">
                    <a16:creationId xmlns:a16="http://schemas.microsoft.com/office/drawing/2014/main" xmlns="" id="{CF9ED7B7-A4D3-4BFC-A41F-0FB75149E4B2}"/>
                  </a:ext>
                </a:extLst>
              </p:cNvPr>
              <p:cNvSpPr>
                <a:spLocks/>
              </p:cNvSpPr>
              <p:nvPr/>
            </p:nvSpPr>
            <p:spPr bwMode="auto">
              <a:xfrm>
                <a:off x="380" y="-146"/>
                <a:ext cx="3222" cy="4819"/>
              </a:xfrm>
              <a:custGeom>
                <a:avLst/>
                <a:gdLst>
                  <a:gd name="T0" fmla="*/ 1004 w 1364"/>
                  <a:gd name="T1" fmla="*/ 440 h 2040"/>
                  <a:gd name="T2" fmla="*/ 1004 w 1364"/>
                  <a:gd name="T3" fmla="*/ 320 h 2040"/>
                  <a:gd name="T4" fmla="*/ 862 w 1364"/>
                  <a:gd name="T5" fmla="*/ 120 h 2040"/>
                  <a:gd name="T6" fmla="*/ 664 w 1364"/>
                  <a:gd name="T7" fmla="*/ 544 h 2040"/>
                  <a:gd name="T8" fmla="*/ 396 w 1364"/>
                  <a:gd name="T9" fmla="*/ 1382 h 2040"/>
                  <a:gd name="T10" fmla="*/ 340 w 1364"/>
                  <a:gd name="T11" fmla="*/ 1394 h 2040"/>
                  <a:gd name="T12" fmla="*/ 329 w 1364"/>
                  <a:gd name="T13" fmla="*/ 1338 h 2040"/>
                  <a:gd name="T14" fmla="*/ 586 w 1364"/>
                  <a:gd name="T15" fmla="*/ 531 h 2040"/>
                  <a:gd name="T16" fmla="*/ 699 w 1364"/>
                  <a:gd name="T17" fmla="*/ 120 h 2040"/>
                  <a:gd name="T18" fmla="*/ 536 w 1364"/>
                  <a:gd name="T19" fmla="*/ 439 h 2040"/>
                  <a:gd name="T20" fmla="*/ 72 w 1364"/>
                  <a:gd name="T21" fmla="*/ 1229 h 2040"/>
                  <a:gd name="T22" fmla="*/ 15 w 1364"/>
                  <a:gd name="T23" fmla="*/ 1228 h 2040"/>
                  <a:gd name="T24" fmla="*/ 16 w 1364"/>
                  <a:gd name="T25" fmla="*/ 1171 h 2040"/>
                  <a:gd name="T26" fmla="*/ 460 w 1364"/>
                  <a:gd name="T27" fmla="*/ 413 h 2040"/>
                  <a:gd name="T28" fmla="*/ 817 w 1364"/>
                  <a:gd name="T29" fmla="*/ 0 h 2040"/>
                  <a:gd name="T30" fmla="*/ 1014 w 1364"/>
                  <a:gd name="T31" fmla="*/ 76 h 2040"/>
                  <a:gd name="T32" fmla="*/ 1084 w 1364"/>
                  <a:gd name="T33" fmla="*/ 280 h 2040"/>
                  <a:gd name="T34" fmla="*/ 1084 w 1364"/>
                  <a:gd name="T35" fmla="*/ 320 h 2040"/>
                  <a:gd name="T36" fmla="*/ 1084 w 1364"/>
                  <a:gd name="T37" fmla="*/ 440 h 2040"/>
                  <a:gd name="T38" fmla="*/ 1004 w 1364"/>
                  <a:gd name="T39" fmla="*/ 440 h 2040"/>
                  <a:gd name="T40" fmla="*/ 1004 w 1364"/>
                  <a:gd name="T41" fmla="*/ 651 h 2040"/>
                  <a:gd name="T42" fmla="*/ 964 w 1364"/>
                  <a:gd name="T43" fmla="*/ 720 h 2040"/>
                  <a:gd name="T44" fmla="*/ 1044 w 1364"/>
                  <a:gd name="T45" fmla="*/ 800 h 2040"/>
                  <a:gd name="T46" fmla="*/ 1124 w 1364"/>
                  <a:gd name="T47" fmla="*/ 720 h 2040"/>
                  <a:gd name="T48" fmla="*/ 1084 w 1364"/>
                  <a:gd name="T49" fmla="*/ 651 h 2040"/>
                  <a:gd name="T50" fmla="*/ 1084 w 1364"/>
                  <a:gd name="T51" fmla="*/ 440 h 2040"/>
                  <a:gd name="T52" fmla="*/ 1324 w 1364"/>
                  <a:gd name="T53" fmla="*/ 440 h 2040"/>
                  <a:gd name="T54" fmla="*/ 1364 w 1364"/>
                  <a:gd name="T55" fmla="*/ 480 h 2040"/>
                  <a:gd name="T56" fmla="*/ 1364 w 1364"/>
                  <a:gd name="T57" fmla="*/ 2000 h 2040"/>
                  <a:gd name="T58" fmla="*/ 1324 w 1364"/>
                  <a:gd name="T59" fmla="*/ 2040 h 2040"/>
                  <a:gd name="T60" fmla="*/ 764 w 1364"/>
                  <a:gd name="T61" fmla="*/ 2040 h 2040"/>
                  <a:gd name="T62" fmla="*/ 724 w 1364"/>
                  <a:gd name="T63" fmla="*/ 2000 h 2040"/>
                  <a:gd name="T64" fmla="*/ 724 w 1364"/>
                  <a:gd name="T65" fmla="*/ 673 h 2040"/>
                  <a:gd name="T66" fmla="*/ 743 w 1364"/>
                  <a:gd name="T67" fmla="*/ 556 h 2040"/>
                  <a:gd name="T68" fmla="*/ 764 w 1364"/>
                  <a:gd name="T69" fmla="*/ 440 h 2040"/>
                  <a:gd name="T70" fmla="*/ 1004 w 1364"/>
                  <a:gd name="T71" fmla="*/ 440 h 20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364" h="2040">
                    <a:moveTo>
                      <a:pt x="1004" y="440"/>
                    </a:moveTo>
                    <a:cubicBezTo>
                      <a:pt x="1004" y="320"/>
                      <a:pt x="1004" y="320"/>
                      <a:pt x="1004" y="320"/>
                    </a:cubicBezTo>
                    <a:cubicBezTo>
                      <a:pt x="1004" y="234"/>
                      <a:pt x="966" y="120"/>
                      <a:pt x="862" y="120"/>
                    </a:cubicBezTo>
                    <a:cubicBezTo>
                      <a:pt x="731" y="120"/>
                      <a:pt x="703" y="299"/>
                      <a:pt x="664" y="544"/>
                    </a:cubicBezTo>
                    <a:cubicBezTo>
                      <a:pt x="625" y="793"/>
                      <a:pt x="576" y="1105"/>
                      <a:pt x="396" y="1382"/>
                    </a:cubicBezTo>
                    <a:cubicBezTo>
                      <a:pt x="384" y="1400"/>
                      <a:pt x="359" y="1406"/>
                      <a:pt x="340" y="1394"/>
                    </a:cubicBezTo>
                    <a:cubicBezTo>
                      <a:pt x="322" y="1382"/>
                      <a:pt x="317" y="1357"/>
                      <a:pt x="329" y="1338"/>
                    </a:cubicBezTo>
                    <a:cubicBezTo>
                      <a:pt x="499" y="1076"/>
                      <a:pt x="547" y="773"/>
                      <a:pt x="586" y="531"/>
                    </a:cubicBezTo>
                    <a:cubicBezTo>
                      <a:pt x="614" y="354"/>
                      <a:pt x="637" y="206"/>
                      <a:pt x="699" y="120"/>
                    </a:cubicBezTo>
                    <a:cubicBezTo>
                      <a:pt x="628" y="178"/>
                      <a:pt x="587" y="294"/>
                      <a:pt x="536" y="439"/>
                    </a:cubicBezTo>
                    <a:cubicBezTo>
                      <a:pt x="455" y="668"/>
                      <a:pt x="351" y="963"/>
                      <a:pt x="72" y="1229"/>
                    </a:cubicBezTo>
                    <a:cubicBezTo>
                      <a:pt x="56" y="1244"/>
                      <a:pt x="30" y="1244"/>
                      <a:pt x="15" y="1228"/>
                    </a:cubicBezTo>
                    <a:cubicBezTo>
                      <a:pt x="0" y="1212"/>
                      <a:pt x="0" y="1186"/>
                      <a:pt x="16" y="1171"/>
                    </a:cubicBezTo>
                    <a:cubicBezTo>
                      <a:pt x="282" y="918"/>
                      <a:pt x="382" y="634"/>
                      <a:pt x="460" y="413"/>
                    </a:cubicBezTo>
                    <a:cubicBezTo>
                      <a:pt x="546" y="172"/>
                      <a:pt x="606" y="0"/>
                      <a:pt x="817" y="0"/>
                    </a:cubicBezTo>
                    <a:cubicBezTo>
                      <a:pt x="898" y="0"/>
                      <a:pt x="966" y="25"/>
                      <a:pt x="1014" y="76"/>
                    </a:cubicBezTo>
                    <a:cubicBezTo>
                      <a:pt x="1058" y="123"/>
                      <a:pt x="1084" y="191"/>
                      <a:pt x="1084" y="280"/>
                    </a:cubicBezTo>
                    <a:cubicBezTo>
                      <a:pt x="1084" y="320"/>
                      <a:pt x="1084" y="320"/>
                      <a:pt x="1084" y="320"/>
                    </a:cubicBezTo>
                    <a:cubicBezTo>
                      <a:pt x="1084" y="440"/>
                      <a:pt x="1084" y="440"/>
                      <a:pt x="1084" y="440"/>
                    </a:cubicBezTo>
                    <a:cubicBezTo>
                      <a:pt x="1004" y="440"/>
                      <a:pt x="1004" y="440"/>
                      <a:pt x="1004" y="440"/>
                    </a:cubicBezTo>
                    <a:cubicBezTo>
                      <a:pt x="1004" y="651"/>
                      <a:pt x="1004" y="651"/>
                      <a:pt x="1004" y="651"/>
                    </a:cubicBezTo>
                    <a:cubicBezTo>
                      <a:pt x="980" y="664"/>
                      <a:pt x="964" y="690"/>
                      <a:pt x="964" y="720"/>
                    </a:cubicBezTo>
                    <a:cubicBezTo>
                      <a:pt x="964" y="764"/>
                      <a:pt x="1000" y="800"/>
                      <a:pt x="1044" y="800"/>
                    </a:cubicBezTo>
                    <a:cubicBezTo>
                      <a:pt x="1088" y="800"/>
                      <a:pt x="1124" y="764"/>
                      <a:pt x="1124" y="720"/>
                    </a:cubicBezTo>
                    <a:cubicBezTo>
                      <a:pt x="1124" y="690"/>
                      <a:pt x="1108" y="664"/>
                      <a:pt x="1084" y="651"/>
                    </a:cubicBezTo>
                    <a:cubicBezTo>
                      <a:pt x="1084" y="440"/>
                      <a:pt x="1084" y="440"/>
                      <a:pt x="1084" y="440"/>
                    </a:cubicBezTo>
                    <a:cubicBezTo>
                      <a:pt x="1324" y="440"/>
                      <a:pt x="1324" y="440"/>
                      <a:pt x="1324" y="440"/>
                    </a:cubicBezTo>
                    <a:cubicBezTo>
                      <a:pt x="1346" y="440"/>
                      <a:pt x="1364" y="458"/>
                      <a:pt x="1364" y="480"/>
                    </a:cubicBezTo>
                    <a:cubicBezTo>
                      <a:pt x="1364" y="2000"/>
                      <a:pt x="1364" y="2000"/>
                      <a:pt x="1364" y="2000"/>
                    </a:cubicBezTo>
                    <a:cubicBezTo>
                      <a:pt x="1364" y="2022"/>
                      <a:pt x="1346" y="2040"/>
                      <a:pt x="1324" y="2040"/>
                    </a:cubicBezTo>
                    <a:cubicBezTo>
                      <a:pt x="764" y="2040"/>
                      <a:pt x="764" y="2040"/>
                      <a:pt x="764" y="2040"/>
                    </a:cubicBezTo>
                    <a:cubicBezTo>
                      <a:pt x="742" y="2040"/>
                      <a:pt x="724" y="2022"/>
                      <a:pt x="724" y="2000"/>
                    </a:cubicBezTo>
                    <a:cubicBezTo>
                      <a:pt x="724" y="673"/>
                      <a:pt x="724" y="673"/>
                      <a:pt x="724" y="673"/>
                    </a:cubicBezTo>
                    <a:cubicBezTo>
                      <a:pt x="731" y="633"/>
                      <a:pt x="737" y="594"/>
                      <a:pt x="743" y="556"/>
                    </a:cubicBezTo>
                    <a:cubicBezTo>
                      <a:pt x="745" y="545"/>
                      <a:pt x="760" y="440"/>
                      <a:pt x="764" y="440"/>
                    </a:cubicBezTo>
                    <a:lnTo>
                      <a:pt x="1004" y="440"/>
                    </a:ln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76" name="Text Placeholder 20">
              <a:extLst>
                <a:ext uri="{FF2B5EF4-FFF2-40B4-BE49-F238E27FC236}">
                  <a16:creationId xmlns:a16="http://schemas.microsoft.com/office/drawing/2014/main" xmlns="" id="{97B66DED-6FC6-4AB5-A7A2-1D20F8C84098}"/>
                </a:ext>
              </a:extLst>
            </p:cNvPr>
            <p:cNvSpPr txBox="1">
              <a:spLocks/>
            </p:cNvSpPr>
            <p:nvPr/>
          </p:nvSpPr>
          <p:spPr bwMode="gray">
            <a:xfrm>
              <a:off x="7597245" y="4494948"/>
              <a:ext cx="387426" cy="269219"/>
            </a:xfrm>
            <a:prstGeom prst="rect">
              <a:avLst/>
            </a:prstGeom>
          </p:spPr>
          <p:txBody>
            <a:bodyPr vert="horz" lIns="0" tIns="0" rIns="0" bIns="36000" rtlCol="0" anchor="ctr"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800" kern="1200" baseline="0" noProof="0" smtClean="0">
                  <a:solidFill>
                    <a:schemeClr val="bg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spcAft>
                  <a:spcPts val="0"/>
                </a:spcAft>
                <a:buFont typeface="Arial" pitchFamily="34" charset="0"/>
                <a:buNone/>
                <a:defRPr lang="de-DE" sz="800" kern="1200" baseline="0" noProof="0" smtClean="0">
                  <a:solidFill>
                    <a:schemeClr val="bg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9pPr>
            </a:lstStyle>
            <a:p>
              <a:pPr algn="ctr"/>
              <a:r>
                <a:rPr lang="en-US" sz="900" dirty="0">
                  <a:solidFill>
                    <a:schemeClr val="bg1"/>
                  </a:solidFill>
                  <a:latin typeface="+mj-lt"/>
                </a:rPr>
                <a:t>Sale</a:t>
              </a:r>
            </a:p>
          </p:txBody>
        </p:sp>
      </p:grpSp>
      <p:sp>
        <p:nvSpPr>
          <p:cNvPr id="77" name="Ellipse 70">
            <a:extLst>
              <a:ext uri="{FF2B5EF4-FFF2-40B4-BE49-F238E27FC236}">
                <a16:creationId xmlns:a16="http://schemas.microsoft.com/office/drawing/2014/main" xmlns="" id="{7F138AAB-FE14-4131-8661-47F3360D38D7}"/>
              </a:ext>
            </a:extLst>
          </p:cNvPr>
          <p:cNvSpPr/>
          <p:nvPr>
            <p:custDataLst>
              <p:tags r:id="rId2"/>
            </p:custDataLst>
          </p:nvPr>
        </p:nvSpPr>
        <p:spPr bwMode="gray">
          <a:xfrm>
            <a:off x="1683137" y="3827332"/>
            <a:ext cx="535364" cy="535364"/>
          </a:xfrm>
          <a:prstGeom prst="ellipse">
            <a:avLst/>
          </a:prstGeom>
          <a:solidFill>
            <a:srgbClr val="5776B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600" b="1" dirty="0">
                <a:solidFill>
                  <a:schemeClr val="bg1"/>
                </a:solidFill>
                <a:cs typeface="Arial" pitchFamily="34" charset="0"/>
              </a:rPr>
              <a:t>62</a:t>
            </a:r>
            <a:r>
              <a:rPr lang="en-US" sz="1100" b="1" dirty="0">
                <a:solidFill>
                  <a:schemeClr val="bg1"/>
                </a:solidFill>
                <a:cs typeface="Arial" pitchFamily="34" charset="0"/>
              </a:rPr>
              <a:t>%</a:t>
            </a:r>
          </a:p>
        </p:txBody>
      </p:sp>
      <p:sp>
        <p:nvSpPr>
          <p:cNvPr id="78" name="Ellipse 70">
            <a:extLst>
              <a:ext uri="{FF2B5EF4-FFF2-40B4-BE49-F238E27FC236}">
                <a16:creationId xmlns:a16="http://schemas.microsoft.com/office/drawing/2014/main" xmlns="" id="{FEC79329-BF1C-418A-ACB1-08090E878490}"/>
              </a:ext>
            </a:extLst>
          </p:cNvPr>
          <p:cNvSpPr/>
          <p:nvPr>
            <p:custDataLst>
              <p:tags r:id="rId3"/>
            </p:custDataLst>
          </p:nvPr>
        </p:nvSpPr>
        <p:spPr bwMode="gray">
          <a:xfrm>
            <a:off x="3055108" y="3825582"/>
            <a:ext cx="535364" cy="535364"/>
          </a:xfrm>
          <a:prstGeom prst="ellipse">
            <a:avLst/>
          </a:prstGeom>
          <a:solidFill>
            <a:srgbClr val="5776B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600" b="1" dirty="0">
                <a:solidFill>
                  <a:schemeClr val="bg1"/>
                </a:solidFill>
                <a:cs typeface="Arial" pitchFamily="34" charset="0"/>
              </a:rPr>
              <a:t>60</a:t>
            </a:r>
            <a:r>
              <a:rPr lang="en-US" sz="1100" b="1" dirty="0">
                <a:solidFill>
                  <a:schemeClr val="bg1"/>
                </a:solidFill>
                <a:cs typeface="Arial" pitchFamily="34" charset="0"/>
              </a:rPr>
              <a:t>%</a:t>
            </a:r>
          </a:p>
        </p:txBody>
      </p:sp>
      <p:sp>
        <p:nvSpPr>
          <p:cNvPr id="79" name="Ellipse 70">
            <a:extLst>
              <a:ext uri="{FF2B5EF4-FFF2-40B4-BE49-F238E27FC236}">
                <a16:creationId xmlns:a16="http://schemas.microsoft.com/office/drawing/2014/main" xmlns="" id="{F1191F85-8ECE-4BEE-9D5A-630A983FC47F}"/>
              </a:ext>
            </a:extLst>
          </p:cNvPr>
          <p:cNvSpPr/>
          <p:nvPr>
            <p:custDataLst>
              <p:tags r:id="rId4"/>
            </p:custDataLst>
          </p:nvPr>
        </p:nvSpPr>
        <p:spPr bwMode="gray">
          <a:xfrm>
            <a:off x="5725884" y="3842705"/>
            <a:ext cx="535364" cy="535364"/>
          </a:xfrm>
          <a:prstGeom prst="ellipse">
            <a:avLst/>
          </a:prstGeom>
          <a:solidFill>
            <a:srgbClr val="5776B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600" b="1" dirty="0">
                <a:solidFill>
                  <a:schemeClr val="bg1"/>
                </a:solidFill>
                <a:cs typeface="Arial" pitchFamily="34" charset="0"/>
              </a:rPr>
              <a:t>55</a:t>
            </a:r>
            <a:r>
              <a:rPr lang="en-US" sz="1100" b="1" dirty="0">
                <a:solidFill>
                  <a:schemeClr val="bg1"/>
                </a:solidFill>
                <a:cs typeface="Arial" pitchFamily="34" charset="0"/>
              </a:rPr>
              <a:t>%</a:t>
            </a:r>
          </a:p>
        </p:txBody>
      </p:sp>
      <p:sp>
        <p:nvSpPr>
          <p:cNvPr id="80" name="Ellipse 70">
            <a:extLst>
              <a:ext uri="{FF2B5EF4-FFF2-40B4-BE49-F238E27FC236}">
                <a16:creationId xmlns:a16="http://schemas.microsoft.com/office/drawing/2014/main" xmlns="" id="{89101F51-737F-41A9-A027-A1020B292F9E}"/>
              </a:ext>
            </a:extLst>
          </p:cNvPr>
          <p:cNvSpPr/>
          <p:nvPr>
            <p:custDataLst>
              <p:tags r:id="rId5"/>
            </p:custDataLst>
          </p:nvPr>
        </p:nvSpPr>
        <p:spPr bwMode="gray">
          <a:xfrm>
            <a:off x="7069400" y="3833904"/>
            <a:ext cx="535364" cy="535364"/>
          </a:xfrm>
          <a:prstGeom prst="ellipse">
            <a:avLst/>
          </a:prstGeom>
          <a:solidFill>
            <a:srgbClr val="5776B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600" b="1" dirty="0">
                <a:solidFill>
                  <a:schemeClr val="bg1"/>
                </a:solidFill>
                <a:cs typeface="Arial" pitchFamily="34" charset="0"/>
              </a:rPr>
              <a:t>50</a:t>
            </a:r>
            <a:r>
              <a:rPr lang="en-US" sz="1100" b="1" dirty="0">
                <a:solidFill>
                  <a:schemeClr val="bg1"/>
                </a:solidFill>
                <a:cs typeface="Arial" pitchFamily="34" charset="0"/>
              </a:rPr>
              <a:t>%</a:t>
            </a:r>
          </a:p>
        </p:txBody>
      </p:sp>
      <p:sp>
        <p:nvSpPr>
          <p:cNvPr id="81" name="Ellipse 70">
            <a:extLst>
              <a:ext uri="{FF2B5EF4-FFF2-40B4-BE49-F238E27FC236}">
                <a16:creationId xmlns:a16="http://schemas.microsoft.com/office/drawing/2014/main" xmlns="" id="{9E24DA38-3891-4757-A77F-C229F44A073F}"/>
              </a:ext>
            </a:extLst>
          </p:cNvPr>
          <p:cNvSpPr/>
          <p:nvPr>
            <p:custDataLst>
              <p:tags r:id="rId6"/>
            </p:custDataLst>
          </p:nvPr>
        </p:nvSpPr>
        <p:spPr bwMode="gray">
          <a:xfrm>
            <a:off x="8428901" y="3839480"/>
            <a:ext cx="535364" cy="535364"/>
          </a:xfrm>
          <a:prstGeom prst="ellipse">
            <a:avLst/>
          </a:prstGeom>
          <a:solidFill>
            <a:srgbClr val="00B0F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600" b="1" dirty="0">
                <a:solidFill>
                  <a:schemeClr val="bg1"/>
                </a:solidFill>
                <a:cs typeface="Arial" pitchFamily="34" charset="0"/>
              </a:rPr>
              <a:t>44</a:t>
            </a:r>
            <a:r>
              <a:rPr lang="en-US" sz="1100" b="1" dirty="0">
                <a:solidFill>
                  <a:schemeClr val="bg1"/>
                </a:solidFill>
                <a:cs typeface="Arial" pitchFamily="34" charset="0"/>
              </a:rPr>
              <a:t>%</a:t>
            </a:r>
          </a:p>
        </p:txBody>
      </p:sp>
      <p:sp>
        <p:nvSpPr>
          <p:cNvPr id="82" name="Ellipse 70">
            <a:extLst>
              <a:ext uri="{FF2B5EF4-FFF2-40B4-BE49-F238E27FC236}">
                <a16:creationId xmlns:a16="http://schemas.microsoft.com/office/drawing/2014/main" xmlns="" id="{1725470F-7322-415E-BF8B-9B7EB523028C}"/>
              </a:ext>
            </a:extLst>
          </p:cNvPr>
          <p:cNvSpPr/>
          <p:nvPr>
            <p:custDataLst>
              <p:tags r:id="rId7"/>
            </p:custDataLst>
          </p:nvPr>
        </p:nvSpPr>
        <p:spPr bwMode="gray">
          <a:xfrm>
            <a:off x="9719359" y="3833988"/>
            <a:ext cx="535364" cy="535364"/>
          </a:xfrm>
          <a:prstGeom prst="ellipse">
            <a:avLst/>
          </a:prstGeom>
          <a:solidFill>
            <a:srgbClr val="00B0F0"/>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600" b="1" dirty="0">
                <a:solidFill>
                  <a:schemeClr val="bg1"/>
                </a:solidFill>
                <a:cs typeface="Arial" pitchFamily="34" charset="0"/>
              </a:rPr>
              <a:t>38</a:t>
            </a:r>
            <a:r>
              <a:rPr lang="en-US" sz="1100" b="1" dirty="0">
                <a:solidFill>
                  <a:schemeClr val="bg1"/>
                </a:solidFill>
                <a:cs typeface="Arial" pitchFamily="34" charset="0"/>
              </a:rPr>
              <a:t>%</a:t>
            </a:r>
          </a:p>
        </p:txBody>
      </p:sp>
      <p:sp>
        <p:nvSpPr>
          <p:cNvPr id="83" name="TextBox 82">
            <a:extLst>
              <a:ext uri="{FF2B5EF4-FFF2-40B4-BE49-F238E27FC236}">
                <a16:creationId xmlns:a16="http://schemas.microsoft.com/office/drawing/2014/main" xmlns="" id="{88E5E64C-7B0C-4655-B4C4-87907FFB870A}"/>
              </a:ext>
            </a:extLst>
          </p:cNvPr>
          <p:cNvSpPr txBox="1"/>
          <p:nvPr/>
        </p:nvSpPr>
        <p:spPr bwMode="gray">
          <a:xfrm>
            <a:off x="2161597" y="4153524"/>
            <a:ext cx="720000" cy="315471"/>
          </a:xfrm>
          <a:prstGeom prst="rect">
            <a:avLst/>
          </a:prstGeom>
          <a:noFill/>
        </p:spPr>
        <p:txBody>
          <a:bodyPr wrap="square" lIns="0" tIns="0" rIns="0" bIns="0" rtlCol="0">
            <a:spAutoFit/>
          </a:bodyPr>
          <a:lstStyle/>
          <a:p>
            <a:pPr algn="ctr">
              <a:spcBef>
                <a:spcPts val="300"/>
              </a:spcBef>
            </a:pPr>
            <a:r>
              <a:rPr lang="en-US" sz="900" dirty="0">
                <a:cs typeface="Arial" pitchFamily="34" charset="0"/>
              </a:rPr>
              <a:t>(2019: 62%)</a:t>
            </a:r>
          </a:p>
          <a:p>
            <a:pPr algn="ctr">
              <a:spcBef>
                <a:spcPts val="300"/>
              </a:spcBef>
            </a:pPr>
            <a:r>
              <a:rPr lang="en-US" sz="900" dirty="0">
                <a:cs typeface="Arial" pitchFamily="34" charset="0"/>
              </a:rPr>
              <a:t>(2018: 57%)</a:t>
            </a:r>
          </a:p>
        </p:txBody>
      </p:sp>
      <p:sp>
        <p:nvSpPr>
          <p:cNvPr id="84" name="TextBox 83">
            <a:extLst>
              <a:ext uri="{FF2B5EF4-FFF2-40B4-BE49-F238E27FC236}">
                <a16:creationId xmlns:a16="http://schemas.microsoft.com/office/drawing/2014/main" xmlns="" id="{A378D827-DB9C-4846-807C-B214CD955EDE}"/>
              </a:ext>
            </a:extLst>
          </p:cNvPr>
          <p:cNvSpPr txBox="1"/>
          <p:nvPr/>
        </p:nvSpPr>
        <p:spPr bwMode="gray">
          <a:xfrm>
            <a:off x="3523229" y="4167802"/>
            <a:ext cx="720000" cy="315471"/>
          </a:xfrm>
          <a:prstGeom prst="rect">
            <a:avLst/>
          </a:prstGeom>
          <a:noFill/>
        </p:spPr>
        <p:txBody>
          <a:bodyPr wrap="square" lIns="0" tIns="0" rIns="0" bIns="0" rtlCol="0">
            <a:spAutoFit/>
          </a:bodyPr>
          <a:lstStyle/>
          <a:p>
            <a:pPr algn="ctr">
              <a:spcBef>
                <a:spcPts val="300"/>
              </a:spcBef>
            </a:pPr>
            <a:r>
              <a:rPr lang="en-US" sz="900" dirty="0">
                <a:cs typeface="Arial" pitchFamily="34" charset="0"/>
              </a:rPr>
              <a:t>(2019: 58%)</a:t>
            </a:r>
          </a:p>
          <a:p>
            <a:pPr algn="ctr">
              <a:spcBef>
                <a:spcPts val="300"/>
              </a:spcBef>
            </a:pPr>
            <a:r>
              <a:rPr lang="en-US" sz="900" dirty="0">
                <a:cs typeface="Arial" pitchFamily="34" charset="0"/>
              </a:rPr>
              <a:t>(2018: 54%)</a:t>
            </a:r>
          </a:p>
        </p:txBody>
      </p:sp>
      <p:sp>
        <p:nvSpPr>
          <p:cNvPr id="85" name="TextBox 84">
            <a:extLst>
              <a:ext uri="{FF2B5EF4-FFF2-40B4-BE49-F238E27FC236}">
                <a16:creationId xmlns:a16="http://schemas.microsoft.com/office/drawing/2014/main" xmlns="" id="{162E3ED9-D6B6-4F9C-A9E0-A42B92800194}"/>
              </a:ext>
            </a:extLst>
          </p:cNvPr>
          <p:cNvSpPr txBox="1"/>
          <p:nvPr/>
        </p:nvSpPr>
        <p:spPr bwMode="gray">
          <a:xfrm>
            <a:off x="6202784" y="4178957"/>
            <a:ext cx="720000" cy="315471"/>
          </a:xfrm>
          <a:prstGeom prst="rect">
            <a:avLst/>
          </a:prstGeom>
          <a:noFill/>
        </p:spPr>
        <p:txBody>
          <a:bodyPr wrap="square" lIns="0" tIns="0" rIns="0" bIns="0" rtlCol="0">
            <a:spAutoFit/>
          </a:bodyPr>
          <a:lstStyle/>
          <a:p>
            <a:pPr algn="ctr">
              <a:spcBef>
                <a:spcPts val="300"/>
              </a:spcBef>
            </a:pPr>
            <a:r>
              <a:rPr lang="en-US" sz="900" dirty="0">
                <a:cs typeface="Arial" pitchFamily="34" charset="0"/>
              </a:rPr>
              <a:t>(2019: 52%)</a:t>
            </a:r>
          </a:p>
          <a:p>
            <a:pPr algn="ctr">
              <a:spcBef>
                <a:spcPts val="300"/>
              </a:spcBef>
            </a:pPr>
            <a:r>
              <a:rPr lang="en-US" sz="900" dirty="0">
                <a:cs typeface="Arial" pitchFamily="34" charset="0"/>
              </a:rPr>
              <a:t>(2018: 44%)</a:t>
            </a:r>
          </a:p>
        </p:txBody>
      </p:sp>
      <p:sp>
        <p:nvSpPr>
          <p:cNvPr id="87" name="TextBox 86">
            <a:extLst>
              <a:ext uri="{FF2B5EF4-FFF2-40B4-BE49-F238E27FC236}">
                <a16:creationId xmlns:a16="http://schemas.microsoft.com/office/drawing/2014/main" xmlns="" id="{6D89800C-1E9F-4B6D-A1E0-260CD931DF36}"/>
              </a:ext>
            </a:extLst>
          </p:cNvPr>
          <p:cNvSpPr txBox="1"/>
          <p:nvPr/>
        </p:nvSpPr>
        <p:spPr bwMode="gray">
          <a:xfrm>
            <a:off x="8924330" y="4159538"/>
            <a:ext cx="720000" cy="315471"/>
          </a:xfrm>
          <a:prstGeom prst="rect">
            <a:avLst/>
          </a:prstGeom>
          <a:noFill/>
        </p:spPr>
        <p:txBody>
          <a:bodyPr wrap="square" lIns="0" tIns="0" rIns="0" bIns="0" rtlCol="0">
            <a:spAutoFit/>
          </a:bodyPr>
          <a:lstStyle/>
          <a:p>
            <a:pPr algn="ctr">
              <a:spcBef>
                <a:spcPts val="300"/>
              </a:spcBef>
            </a:pPr>
            <a:r>
              <a:rPr lang="en-US" sz="900" dirty="0">
                <a:cs typeface="Arial" pitchFamily="34" charset="0"/>
              </a:rPr>
              <a:t>(2019: 40%)</a:t>
            </a:r>
          </a:p>
          <a:p>
            <a:pPr algn="ctr">
              <a:spcBef>
                <a:spcPts val="300"/>
              </a:spcBef>
            </a:pPr>
            <a:r>
              <a:rPr lang="en-US" sz="900" dirty="0">
                <a:cs typeface="Arial" pitchFamily="34" charset="0"/>
              </a:rPr>
              <a:t>(2018: 34%)</a:t>
            </a:r>
          </a:p>
        </p:txBody>
      </p:sp>
      <p:sp>
        <p:nvSpPr>
          <p:cNvPr id="88" name="TextBox 87">
            <a:extLst>
              <a:ext uri="{FF2B5EF4-FFF2-40B4-BE49-F238E27FC236}">
                <a16:creationId xmlns:a16="http://schemas.microsoft.com/office/drawing/2014/main" xmlns="" id="{14F1BDAD-9668-4682-97F5-2CFDD7ADDCFC}"/>
              </a:ext>
            </a:extLst>
          </p:cNvPr>
          <p:cNvSpPr txBox="1"/>
          <p:nvPr/>
        </p:nvSpPr>
        <p:spPr bwMode="gray">
          <a:xfrm>
            <a:off x="10207595" y="4168354"/>
            <a:ext cx="720000" cy="315471"/>
          </a:xfrm>
          <a:prstGeom prst="rect">
            <a:avLst/>
          </a:prstGeom>
          <a:noFill/>
        </p:spPr>
        <p:txBody>
          <a:bodyPr wrap="square" lIns="0" tIns="0" rIns="0" bIns="0" rtlCol="0">
            <a:spAutoFit/>
          </a:bodyPr>
          <a:lstStyle/>
          <a:p>
            <a:pPr algn="ctr">
              <a:spcBef>
                <a:spcPts val="300"/>
              </a:spcBef>
            </a:pPr>
            <a:r>
              <a:rPr lang="en-US" sz="900" dirty="0">
                <a:cs typeface="Arial" pitchFamily="34" charset="0"/>
              </a:rPr>
              <a:t>(2019: 31%)</a:t>
            </a:r>
          </a:p>
          <a:p>
            <a:pPr algn="ctr">
              <a:spcBef>
                <a:spcPts val="300"/>
              </a:spcBef>
            </a:pPr>
            <a:r>
              <a:rPr lang="en-US" sz="900" dirty="0">
                <a:cs typeface="Arial" pitchFamily="34" charset="0"/>
              </a:rPr>
              <a:t>(2018: 22%)</a:t>
            </a:r>
          </a:p>
        </p:txBody>
      </p:sp>
      <p:sp>
        <p:nvSpPr>
          <p:cNvPr id="89" name="TextBox 88">
            <a:extLst>
              <a:ext uri="{FF2B5EF4-FFF2-40B4-BE49-F238E27FC236}">
                <a16:creationId xmlns:a16="http://schemas.microsoft.com/office/drawing/2014/main" xmlns="" id="{6EB25DB1-875A-4873-BB1B-6F8F03E4497F}"/>
              </a:ext>
            </a:extLst>
          </p:cNvPr>
          <p:cNvSpPr txBox="1"/>
          <p:nvPr/>
        </p:nvSpPr>
        <p:spPr bwMode="gray">
          <a:xfrm>
            <a:off x="1279214" y="3416916"/>
            <a:ext cx="153888" cy="834143"/>
          </a:xfrm>
          <a:prstGeom prst="rect">
            <a:avLst/>
          </a:prstGeom>
          <a:noFill/>
        </p:spPr>
        <p:txBody>
          <a:bodyPr vert="vert270" wrap="square" lIns="0" tIns="0" rIns="0" bIns="0" rtlCol="0">
            <a:spAutoFit/>
          </a:bodyPr>
          <a:lstStyle/>
          <a:p>
            <a:pPr>
              <a:spcBef>
                <a:spcPts val="300"/>
              </a:spcBef>
            </a:pPr>
            <a:r>
              <a:rPr lang="en-US" sz="1000" dirty="0">
                <a:cs typeface="Arial" pitchFamily="34" charset="0"/>
              </a:rPr>
              <a:t>Total</a:t>
            </a:r>
          </a:p>
        </p:txBody>
      </p:sp>
      <p:cxnSp>
        <p:nvCxnSpPr>
          <p:cNvPr id="90" name="Straight Connector 89">
            <a:extLst>
              <a:ext uri="{FF2B5EF4-FFF2-40B4-BE49-F238E27FC236}">
                <a16:creationId xmlns:a16="http://schemas.microsoft.com/office/drawing/2014/main" xmlns="" id="{3C44425D-E99B-40D2-8C55-89B20A786CC6}"/>
              </a:ext>
            </a:extLst>
          </p:cNvPr>
          <p:cNvCxnSpPr/>
          <p:nvPr/>
        </p:nvCxnSpPr>
        <p:spPr>
          <a:xfrm>
            <a:off x="1467113" y="4086827"/>
            <a:ext cx="180000" cy="0"/>
          </a:xfrm>
          <a:prstGeom prst="line">
            <a:avLst/>
          </a:prstGeom>
          <a:ln>
            <a:solidFill>
              <a:srgbClr val="5776B2"/>
            </a:solidFill>
            <a:tailEnd type="none"/>
          </a:ln>
        </p:spPr>
        <p:style>
          <a:lnRef idx="1">
            <a:schemeClr val="accent1"/>
          </a:lnRef>
          <a:fillRef idx="0">
            <a:schemeClr val="accent1"/>
          </a:fillRef>
          <a:effectRef idx="0">
            <a:schemeClr val="accent1"/>
          </a:effectRef>
          <a:fontRef idx="minor">
            <a:schemeClr val="tx1"/>
          </a:fontRef>
        </p:style>
      </p:cxnSp>
      <p:sp>
        <p:nvSpPr>
          <p:cNvPr id="91" name="Ellipse 70">
            <a:extLst>
              <a:ext uri="{FF2B5EF4-FFF2-40B4-BE49-F238E27FC236}">
                <a16:creationId xmlns:a16="http://schemas.microsoft.com/office/drawing/2014/main" xmlns="" id="{839A870C-2163-4C7B-8FAD-C2E578313F3D}"/>
              </a:ext>
            </a:extLst>
          </p:cNvPr>
          <p:cNvSpPr/>
          <p:nvPr>
            <p:custDataLst>
              <p:tags r:id="rId8"/>
            </p:custDataLst>
          </p:nvPr>
        </p:nvSpPr>
        <p:spPr bwMode="gray">
          <a:xfrm>
            <a:off x="4397611" y="3819924"/>
            <a:ext cx="535364" cy="535364"/>
          </a:xfrm>
          <a:prstGeom prst="ellipse">
            <a:avLst/>
          </a:prstGeom>
          <a:solidFill>
            <a:srgbClr val="5776B2"/>
          </a:solidFill>
          <a:ln w="190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r>
              <a:rPr lang="en-US" sz="1600" b="1" dirty="0">
                <a:solidFill>
                  <a:schemeClr val="bg1"/>
                </a:solidFill>
                <a:cs typeface="Arial" pitchFamily="34" charset="0"/>
              </a:rPr>
              <a:t>59</a:t>
            </a:r>
            <a:r>
              <a:rPr lang="en-US" sz="1100" b="1" dirty="0">
                <a:solidFill>
                  <a:schemeClr val="bg1"/>
                </a:solidFill>
                <a:cs typeface="Arial" pitchFamily="34" charset="0"/>
              </a:rPr>
              <a:t>%</a:t>
            </a:r>
          </a:p>
        </p:txBody>
      </p:sp>
      <p:sp>
        <p:nvSpPr>
          <p:cNvPr id="92" name="TextBox 91">
            <a:extLst>
              <a:ext uri="{FF2B5EF4-FFF2-40B4-BE49-F238E27FC236}">
                <a16:creationId xmlns:a16="http://schemas.microsoft.com/office/drawing/2014/main" xmlns="" id="{201375EF-63EA-489F-91C8-B0EC3D112D3C}"/>
              </a:ext>
            </a:extLst>
          </p:cNvPr>
          <p:cNvSpPr txBox="1"/>
          <p:nvPr/>
        </p:nvSpPr>
        <p:spPr bwMode="gray">
          <a:xfrm>
            <a:off x="7563773" y="4168863"/>
            <a:ext cx="720000" cy="315471"/>
          </a:xfrm>
          <a:prstGeom prst="rect">
            <a:avLst/>
          </a:prstGeom>
          <a:noFill/>
        </p:spPr>
        <p:txBody>
          <a:bodyPr wrap="square" lIns="0" tIns="0" rIns="0" bIns="0" rtlCol="0">
            <a:spAutoFit/>
          </a:bodyPr>
          <a:lstStyle/>
          <a:p>
            <a:pPr algn="ctr">
              <a:spcBef>
                <a:spcPts val="300"/>
              </a:spcBef>
            </a:pPr>
            <a:r>
              <a:rPr lang="en-US" sz="900" dirty="0">
                <a:cs typeface="Arial" pitchFamily="34" charset="0"/>
              </a:rPr>
              <a:t>(2019: 50%)</a:t>
            </a:r>
          </a:p>
          <a:p>
            <a:pPr algn="ctr">
              <a:spcBef>
                <a:spcPts val="300"/>
              </a:spcBef>
            </a:pPr>
            <a:r>
              <a:rPr lang="en-US" sz="900" dirty="0">
                <a:cs typeface="Arial" pitchFamily="34" charset="0"/>
              </a:rPr>
              <a:t>(2018: 41%)</a:t>
            </a:r>
          </a:p>
        </p:txBody>
      </p:sp>
      <p:sp>
        <p:nvSpPr>
          <p:cNvPr id="94" name="TextBox 93">
            <a:extLst>
              <a:ext uri="{FF2B5EF4-FFF2-40B4-BE49-F238E27FC236}">
                <a16:creationId xmlns:a16="http://schemas.microsoft.com/office/drawing/2014/main" xmlns="" id="{BB5A59E5-F9B3-48DE-88E0-C9F315591DEE}"/>
              </a:ext>
            </a:extLst>
          </p:cNvPr>
          <p:cNvSpPr txBox="1"/>
          <p:nvPr/>
        </p:nvSpPr>
        <p:spPr bwMode="gray">
          <a:xfrm>
            <a:off x="4726306" y="4148904"/>
            <a:ext cx="720000" cy="138499"/>
          </a:xfrm>
          <a:prstGeom prst="rect">
            <a:avLst/>
          </a:prstGeom>
          <a:noFill/>
        </p:spPr>
        <p:txBody>
          <a:bodyPr wrap="square" lIns="0" tIns="0" rIns="0" bIns="0" rtlCol="0">
            <a:spAutoFit/>
          </a:bodyPr>
          <a:lstStyle/>
          <a:p>
            <a:pPr algn="ctr">
              <a:spcBef>
                <a:spcPts val="300"/>
              </a:spcBef>
            </a:pPr>
            <a:r>
              <a:rPr lang="en-US" sz="900" dirty="0">
                <a:cs typeface="Arial" pitchFamily="34" charset="0"/>
              </a:rPr>
              <a:t>(new)</a:t>
            </a:r>
          </a:p>
        </p:txBody>
      </p:sp>
    </p:spTree>
    <p:extLst>
      <p:ext uri="{BB962C8B-B14F-4D97-AF65-F5344CB8AC3E}">
        <p14:creationId xmlns:p14="http://schemas.microsoft.com/office/powerpoint/2010/main" val="202041382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xmlns="" id="{3238D135-93BA-4C29-95FA-533ADBC10BE7}"/>
              </a:ext>
            </a:extLst>
          </p:cNvPr>
          <p:cNvGraphicFramePr>
            <a:graphicFrameLocks noChangeAspect="1"/>
          </p:cNvGraphicFramePr>
          <p:nvPr>
            <p:extLst>
              <p:ext uri="{D42A27DB-BD31-4B8C-83A1-F6EECF244321}">
                <p14:modId xmlns:p14="http://schemas.microsoft.com/office/powerpoint/2010/main" val="3393620120"/>
              </p:ext>
            </p:extLst>
          </p:nvPr>
        </p:nvGraphicFramePr>
        <p:xfrm>
          <a:off x="2983216" y="1916787"/>
          <a:ext cx="5888562" cy="4314117"/>
        </p:xfrm>
        <a:graphic>
          <a:graphicData uri="http://schemas.openxmlformats.org/presentationml/2006/ole">
            <mc:AlternateContent xmlns:mc="http://schemas.openxmlformats.org/markup-compatibility/2006">
              <mc:Choice xmlns:v="urn:schemas-microsoft-com:vml" Requires="v">
                <p:oleObj spid="_x0000_s22796" name="Macro-Enabled Worksheet" r:id="rId4" imgW="5391310" imgH="3949891" progId="Excel.SheetMacroEnabled.12">
                  <p:link updateAutomatic="1"/>
                </p:oleObj>
              </mc:Choice>
              <mc:Fallback>
                <p:oleObj name="Macro-Enabled Worksheet" r:id="rId4" imgW="5391310" imgH="3949891" progId="Excel.SheetMacroEnabled.12">
                  <p:link updateAutomatic="1"/>
                  <p:pic>
                    <p:nvPicPr>
                      <p:cNvPr id="0" name=""/>
                      <p:cNvPicPr/>
                      <p:nvPr/>
                    </p:nvPicPr>
                    <p:blipFill>
                      <a:blip r:embed="rId5"/>
                      <a:stretch>
                        <a:fillRect/>
                      </a:stretch>
                    </p:blipFill>
                    <p:spPr>
                      <a:xfrm>
                        <a:off x="2983216" y="1916787"/>
                        <a:ext cx="5888562" cy="4314117"/>
                      </a:xfrm>
                      <a:prstGeom prst="rect">
                        <a:avLst/>
                      </a:prstGeom>
                    </p:spPr>
                  </p:pic>
                </p:oleObj>
              </mc:Fallback>
            </mc:AlternateContent>
          </a:graphicData>
        </a:graphic>
      </p:graphicFrame>
      <p:sp>
        <p:nvSpPr>
          <p:cNvPr id="3" name="Footer Placeholder 2"/>
          <p:cNvSpPr>
            <a:spLocks noGrp="1"/>
          </p:cNvSpPr>
          <p:nvPr>
            <p:ph type="ftr" sz="quarter" idx="15"/>
          </p:nvPr>
        </p:nvSpPr>
        <p:spPr/>
        <p:txBody>
          <a:bodyPr/>
          <a:lstStyle/>
          <a:p>
            <a:r>
              <a:rPr lang="en-US"/>
              <a:t>ShoppingTomorrow 2020</a:t>
            </a:r>
          </a:p>
        </p:txBody>
      </p:sp>
      <p:sp>
        <p:nvSpPr>
          <p:cNvPr id="4" name="Slide Number Placeholder 3"/>
          <p:cNvSpPr>
            <a:spLocks noGrp="1"/>
          </p:cNvSpPr>
          <p:nvPr>
            <p:ph type="sldNum" sz="quarter" idx="16"/>
          </p:nvPr>
        </p:nvSpPr>
        <p:spPr/>
        <p:txBody>
          <a:bodyPr/>
          <a:lstStyle/>
          <a:p>
            <a:fld id="{5F3E29E4-0979-4FCA-B4C5-5FC6044C982A}" type="slidenum">
              <a:rPr lang="en-US" smtClean="0"/>
              <a:pPr/>
              <a:t>11</a:t>
            </a:fld>
            <a:endParaRPr lang="en-US"/>
          </a:p>
        </p:txBody>
      </p:sp>
      <p:sp>
        <p:nvSpPr>
          <p:cNvPr id="8" name="Title 7"/>
          <p:cNvSpPr>
            <a:spLocks noGrp="1"/>
          </p:cNvSpPr>
          <p:nvPr>
            <p:ph type="title"/>
          </p:nvPr>
        </p:nvSpPr>
        <p:spPr>
          <a:xfrm>
            <a:off x="1075063" y="259674"/>
            <a:ext cx="7910158" cy="648000"/>
          </a:xfrm>
        </p:spPr>
        <p:txBody>
          <a:bodyPr/>
          <a:lstStyle/>
          <a:p>
            <a:r>
              <a:rPr lang="en-US" sz="2400" dirty="0"/>
              <a:t>Social commerce: slight increase in online purchases via Facebook, but most consumers haven’t made a purchase via social media yet</a:t>
            </a:r>
          </a:p>
        </p:txBody>
      </p:sp>
      <p:sp>
        <p:nvSpPr>
          <p:cNvPr id="15" name="Text Placeholder 14"/>
          <p:cNvSpPr>
            <a:spLocks noGrp="1"/>
          </p:cNvSpPr>
          <p:nvPr>
            <p:ph type="body" sz="quarter" idx="17"/>
          </p:nvPr>
        </p:nvSpPr>
        <p:spPr>
          <a:xfrm>
            <a:off x="1075063" y="6307665"/>
            <a:ext cx="8162717" cy="133200"/>
          </a:xfrm>
        </p:spPr>
        <p:txBody>
          <a:bodyPr/>
          <a:lstStyle/>
          <a:p>
            <a:r>
              <a:rPr lang="en-US" sz="900"/>
              <a:t>E02: Through which social media have you made purchases in the past?</a:t>
            </a:r>
          </a:p>
        </p:txBody>
      </p:sp>
      <p:sp>
        <p:nvSpPr>
          <p:cNvPr id="14" name="Title 8">
            <a:extLst>
              <a:ext uri="{FF2B5EF4-FFF2-40B4-BE49-F238E27FC236}">
                <a16:creationId xmlns:a16="http://schemas.microsoft.com/office/drawing/2014/main" xmlns="" id="{336CB63B-7A5A-415F-A5B1-6039ADDE6631}"/>
              </a:ext>
            </a:extLst>
          </p:cNvPr>
          <p:cNvSpPr txBox="1">
            <a:spLocks/>
          </p:cNvSpPr>
          <p:nvPr/>
        </p:nvSpPr>
        <p:spPr bwMode="gray">
          <a:xfrm>
            <a:off x="1167319" y="1340722"/>
            <a:ext cx="10525328"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en-US" sz="1200" b="1">
                <a:latin typeface="+mj-lt"/>
              </a:rPr>
              <a:t>Purchases through social media</a:t>
            </a:r>
          </a:p>
        </p:txBody>
      </p:sp>
      <p:cxnSp>
        <p:nvCxnSpPr>
          <p:cNvPr id="16" name="Straight Connector 15">
            <a:extLst>
              <a:ext uri="{FF2B5EF4-FFF2-40B4-BE49-F238E27FC236}">
                <a16:creationId xmlns:a16="http://schemas.microsoft.com/office/drawing/2014/main" xmlns="" id="{33F5F090-E00E-4DD8-B328-6CFB70193D9F}"/>
              </a:ext>
            </a:extLst>
          </p:cNvPr>
          <p:cNvCxnSpPr>
            <a:cxnSpLocks/>
          </p:cNvCxnSpPr>
          <p:nvPr/>
        </p:nvCxnSpPr>
        <p:spPr>
          <a:xfrm>
            <a:off x="1167319" y="1628754"/>
            <a:ext cx="10525328"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8" name="Text Placeholder 20">
            <a:extLst>
              <a:ext uri="{FF2B5EF4-FFF2-40B4-BE49-F238E27FC236}">
                <a16:creationId xmlns:a16="http://schemas.microsoft.com/office/drawing/2014/main" xmlns="" id="{69E5DD53-F07E-44D1-A4FF-E36EC346F892}"/>
              </a:ext>
            </a:extLst>
          </p:cNvPr>
          <p:cNvSpPr txBox="1">
            <a:spLocks/>
          </p:cNvSpPr>
          <p:nvPr/>
        </p:nvSpPr>
        <p:spPr bwMode="gray">
          <a:xfrm>
            <a:off x="10127226" y="6307665"/>
            <a:ext cx="1707443" cy="153986"/>
          </a:xfrm>
          <a:prstGeom prst="rect">
            <a:avLst/>
          </a:prstGeom>
        </p:spPr>
        <p:txBody>
          <a:bodyPr vert="horz" lIns="0" tIns="0" rIns="0" bIns="36000" rtlCol="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800" kern="1200" baseline="0" noProof="0" smtClean="0">
                <a:solidFill>
                  <a:schemeClr val="bg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spcAft>
                <a:spcPts val="0"/>
              </a:spcAft>
              <a:buFont typeface="Arial" pitchFamily="34" charset="0"/>
              <a:buNone/>
              <a:defRPr lang="de-DE" sz="800" kern="1200" baseline="0" noProof="0" smtClean="0">
                <a:solidFill>
                  <a:schemeClr val="bg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9pPr>
          </a:lstStyle>
          <a:p>
            <a:pPr algn="r"/>
            <a:r>
              <a:rPr lang="en-US" sz="900">
                <a:solidFill>
                  <a:schemeClr val="tx1"/>
                </a:solidFill>
                <a:latin typeface="+mj-lt"/>
              </a:rPr>
              <a:t>Base: all respondents that purchased online</a:t>
            </a:r>
          </a:p>
        </p:txBody>
      </p:sp>
      <p:pic>
        <p:nvPicPr>
          <p:cNvPr id="97" name="Picture 96">
            <a:extLst>
              <a:ext uri="{FF2B5EF4-FFF2-40B4-BE49-F238E27FC236}">
                <a16:creationId xmlns:a16="http://schemas.microsoft.com/office/drawing/2014/main" xmlns="" id="{3527EAF3-1DE8-47B9-B579-A8877F26807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t="21391" b="21760"/>
          <a:stretch/>
        </p:blipFill>
        <p:spPr>
          <a:xfrm>
            <a:off x="3219208" y="2098171"/>
            <a:ext cx="1080000" cy="216025"/>
          </a:xfrm>
          <a:prstGeom prst="rect">
            <a:avLst/>
          </a:prstGeom>
        </p:spPr>
      </p:pic>
      <p:pic>
        <p:nvPicPr>
          <p:cNvPr id="98" name="Picture 97">
            <a:extLst>
              <a:ext uri="{FF2B5EF4-FFF2-40B4-BE49-F238E27FC236}">
                <a16:creationId xmlns:a16="http://schemas.microsoft.com/office/drawing/2014/main" xmlns="" id="{95870D95-9230-4705-9FEF-095EAC728C2D}"/>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3219208" y="3071047"/>
            <a:ext cx="1080000" cy="278552"/>
          </a:xfrm>
          <a:prstGeom prst="rect">
            <a:avLst/>
          </a:prstGeom>
        </p:spPr>
      </p:pic>
      <p:pic>
        <p:nvPicPr>
          <p:cNvPr id="99" name="Picture 98">
            <a:extLst>
              <a:ext uri="{FF2B5EF4-FFF2-40B4-BE49-F238E27FC236}">
                <a16:creationId xmlns:a16="http://schemas.microsoft.com/office/drawing/2014/main" xmlns="" id="{BB00099B-E2A7-4C97-821E-8F07CDA1B4B1}"/>
              </a:ext>
            </a:extLst>
          </p:cNvPr>
          <p:cNvPicPr>
            <a:picLocks noChangeAspect="1"/>
          </p:cNvPicPr>
          <p:nvPr/>
        </p:nvPicPr>
        <p:blipFill rotWithShape="1">
          <a:blip r:embed="rId8" cstate="print">
            <a:extLst>
              <a:ext uri="{28A0092B-C50C-407E-A947-70E740481C1C}">
                <a14:useLocalDpi xmlns:a14="http://schemas.microsoft.com/office/drawing/2010/main" val="0"/>
              </a:ext>
            </a:extLst>
          </a:blip>
          <a:srcRect t="21457" b="22520"/>
          <a:stretch/>
        </p:blipFill>
        <p:spPr>
          <a:xfrm>
            <a:off x="3206815" y="4088680"/>
            <a:ext cx="1080000" cy="339961"/>
          </a:xfrm>
          <a:prstGeom prst="rect">
            <a:avLst/>
          </a:prstGeom>
        </p:spPr>
      </p:pic>
      <p:pic>
        <p:nvPicPr>
          <p:cNvPr id="100" name="Picture 99">
            <a:extLst>
              <a:ext uri="{FF2B5EF4-FFF2-40B4-BE49-F238E27FC236}">
                <a16:creationId xmlns:a16="http://schemas.microsoft.com/office/drawing/2014/main" xmlns="" id="{817C4EBC-30F5-4212-92EA-42A2790E059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3206815" y="4621757"/>
            <a:ext cx="1080000" cy="294545"/>
          </a:xfrm>
          <a:prstGeom prst="rect">
            <a:avLst/>
          </a:prstGeom>
        </p:spPr>
      </p:pic>
      <p:pic>
        <p:nvPicPr>
          <p:cNvPr id="101" name="Picture 100">
            <a:extLst>
              <a:ext uri="{FF2B5EF4-FFF2-40B4-BE49-F238E27FC236}">
                <a16:creationId xmlns:a16="http://schemas.microsoft.com/office/drawing/2014/main" xmlns="" id="{1C763C8C-BD11-4397-AFF5-455DE82785E3}"/>
              </a:ext>
            </a:extLst>
          </p:cNvPr>
          <p:cNvPicPr>
            <a:picLocks noChangeAspect="1"/>
          </p:cNvPicPr>
          <p:nvPr/>
        </p:nvPicPr>
        <p:blipFill>
          <a:blip r:embed="rId10"/>
          <a:stretch>
            <a:fillRect/>
          </a:stretch>
        </p:blipFill>
        <p:spPr>
          <a:xfrm>
            <a:off x="3219208" y="3575931"/>
            <a:ext cx="1069207" cy="288975"/>
          </a:xfrm>
          <a:prstGeom prst="rect">
            <a:avLst/>
          </a:prstGeom>
        </p:spPr>
      </p:pic>
      <p:pic>
        <p:nvPicPr>
          <p:cNvPr id="102" name="Picture 101">
            <a:extLst>
              <a:ext uri="{FF2B5EF4-FFF2-40B4-BE49-F238E27FC236}">
                <a16:creationId xmlns:a16="http://schemas.microsoft.com/office/drawing/2014/main" xmlns="" id="{1E90A035-DC8C-40A8-9271-45408308E7AB}"/>
              </a:ext>
            </a:extLst>
          </p:cNvPr>
          <p:cNvPicPr>
            <a:picLocks noChangeAspect="1"/>
          </p:cNvPicPr>
          <p:nvPr/>
        </p:nvPicPr>
        <p:blipFill>
          <a:blip r:embed="rId11"/>
          <a:stretch>
            <a:fillRect/>
          </a:stretch>
        </p:blipFill>
        <p:spPr>
          <a:xfrm>
            <a:off x="3351674" y="2579128"/>
            <a:ext cx="790281" cy="286864"/>
          </a:xfrm>
          <a:prstGeom prst="rect">
            <a:avLst/>
          </a:prstGeom>
        </p:spPr>
      </p:pic>
    </p:spTree>
    <p:extLst>
      <p:ext uri="{BB962C8B-B14F-4D97-AF65-F5344CB8AC3E}">
        <p14:creationId xmlns:p14="http://schemas.microsoft.com/office/powerpoint/2010/main" val="33826099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4"/>
          <p:cNvSpPr>
            <a:spLocks noChangeAspect="1" noChangeArrowheads="1"/>
          </p:cNvSpPr>
          <p:nvPr/>
        </p:nvSpPr>
        <p:spPr bwMode="auto">
          <a:xfrm>
            <a:off x="-115487" y="-315415"/>
            <a:ext cx="12450828" cy="829728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nl-NL" sz="2400"/>
          </a:p>
        </p:txBody>
      </p:sp>
      <p:grpSp>
        <p:nvGrpSpPr>
          <p:cNvPr id="15" name="Gruppieren 92">
            <a:extLst>
              <a:ext uri="{FF2B5EF4-FFF2-40B4-BE49-F238E27FC236}">
                <a16:creationId xmlns:a16="http://schemas.microsoft.com/office/drawing/2014/main" xmlns="" id="{9C0A49A4-AC3A-4896-B94A-617917C1B779}"/>
              </a:ext>
            </a:extLst>
          </p:cNvPr>
          <p:cNvGrpSpPr/>
          <p:nvPr>
            <p:custDataLst>
              <p:tags r:id="rId1"/>
            </p:custDataLst>
          </p:nvPr>
        </p:nvGrpSpPr>
        <p:grpSpPr bwMode="gray">
          <a:xfrm>
            <a:off x="697418" y="3577701"/>
            <a:ext cx="6354637" cy="2520077"/>
            <a:chOff x="479376" y="1989059"/>
            <a:chExt cx="11233198" cy="3384042"/>
          </a:xfrm>
        </p:grpSpPr>
        <p:sp>
          <p:nvSpPr>
            <p:cNvPr id="16" name="Eingekerbter Richtungspfeil 38">
              <a:extLst>
                <a:ext uri="{FF2B5EF4-FFF2-40B4-BE49-F238E27FC236}">
                  <a16:creationId xmlns:a16="http://schemas.microsoft.com/office/drawing/2014/main" xmlns="" id="{7F8F1BDD-4AC3-4C46-A17E-8433E5FE9607}"/>
                </a:ext>
              </a:extLst>
            </p:cNvPr>
            <p:cNvSpPr/>
            <p:nvPr/>
          </p:nvSpPr>
          <p:spPr bwMode="gray">
            <a:xfrm>
              <a:off x="479376" y="4035269"/>
              <a:ext cx="3283662" cy="314617"/>
            </a:xfrm>
            <a:prstGeom prst="chevron">
              <a:avLst/>
            </a:prstGeom>
            <a:solidFill>
              <a:schemeClr val="accent2"/>
            </a:solid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latin typeface="+mj-lt"/>
              </a:endParaRPr>
            </a:p>
          </p:txBody>
        </p:sp>
        <p:sp>
          <p:nvSpPr>
            <p:cNvPr id="17" name="Rechteck 52">
              <a:extLst>
                <a:ext uri="{FF2B5EF4-FFF2-40B4-BE49-F238E27FC236}">
                  <a16:creationId xmlns:a16="http://schemas.microsoft.com/office/drawing/2014/main" xmlns="" id="{84C1C3F4-A142-4DB7-A13B-DF16E4DD7957}"/>
                </a:ext>
              </a:extLst>
            </p:cNvPr>
            <p:cNvSpPr/>
            <p:nvPr/>
          </p:nvSpPr>
          <p:spPr bwMode="gray">
            <a:xfrm>
              <a:off x="5337666" y="3563017"/>
              <a:ext cx="314835" cy="1022996"/>
            </a:xfrm>
            <a:prstGeom prst="rect">
              <a:avLst/>
            </a:prstGeom>
            <a:solidFill>
              <a:schemeClr val="accent3">
                <a:lumMod val="75000"/>
              </a:schemeClr>
            </a:solidFill>
            <a:ln w="127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latin typeface="+mj-lt"/>
              </a:endParaRPr>
            </a:p>
          </p:txBody>
        </p:sp>
        <p:sp>
          <p:nvSpPr>
            <p:cNvPr id="18" name="Halbbogen 53">
              <a:extLst>
                <a:ext uri="{FF2B5EF4-FFF2-40B4-BE49-F238E27FC236}">
                  <a16:creationId xmlns:a16="http://schemas.microsoft.com/office/drawing/2014/main" xmlns="" id="{A3B93085-9F9F-4C82-8DE8-D32323A5CBCA}"/>
                </a:ext>
              </a:extLst>
            </p:cNvPr>
            <p:cNvSpPr/>
            <p:nvPr/>
          </p:nvSpPr>
          <p:spPr bwMode="gray">
            <a:xfrm rot="10800000">
              <a:off x="2818983" y="2775928"/>
              <a:ext cx="1573959" cy="1573958"/>
            </a:xfrm>
            <a:prstGeom prst="blockArc">
              <a:avLst>
                <a:gd name="adj1" fmla="val 10800000"/>
                <a:gd name="adj2" fmla="val 16200000"/>
                <a:gd name="adj3" fmla="val 20000"/>
              </a:avLst>
            </a:prstGeom>
            <a:solidFill>
              <a:schemeClr val="accent2"/>
            </a:solidFill>
            <a:ln w="12700">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latin typeface="+mj-lt"/>
              </a:endParaRPr>
            </a:p>
          </p:txBody>
        </p:sp>
        <p:sp>
          <p:nvSpPr>
            <p:cNvPr id="19" name="Rechteck 59">
              <a:extLst>
                <a:ext uri="{FF2B5EF4-FFF2-40B4-BE49-F238E27FC236}">
                  <a16:creationId xmlns:a16="http://schemas.microsoft.com/office/drawing/2014/main" xmlns="" id="{1CFBEFBD-8DDA-4DCB-AB64-DDDA3EEEFB65}"/>
                </a:ext>
              </a:extLst>
            </p:cNvPr>
            <p:cNvSpPr/>
            <p:nvPr/>
          </p:nvSpPr>
          <p:spPr bwMode="gray">
            <a:xfrm>
              <a:off x="6597008" y="2775928"/>
              <a:ext cx="314835" cy="1809986"/>
            </a:xfrm>
            <a:prstGeom prst="rect">
              <a:avLst/>
            </a:prstGeom>
            <a:solidFill>
              <a:schemeClr val="tx2"/>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latin typeface="+mj-lt"/>
              </a:endParaRPr>
            </a:p>
          </p:txBody>
        </p:sp>
        <p:sp>
          <p:nvSpPr>
            <p:cNvPr id="20" name="Pfeil nach rechts 60">
              <a:extLst>
                <a:ext uri="{FF2B5EF4-FFF2-40B4-BE49-F238E27FC236}">
                  <a16:creationId xmlns:a16="http://schemas.microsoft.com/office/drawing/2014/main" xmlns="" id="{320B1520-9FB0-47D4-BCFB-39B3F4E1A14D}"/>
                </a:ext>
              </a:extLst>
            </p:cNvPr>
            <p:cNvSpPr/>
            <p:nvPr/>
          </p:nvSpPr>
          <p:spPr bwMode="gray">
            <a:xfrm>
              <a:off x="8643438" y="3729417"/>
              <a:ext cx="3069136" cy="629671"/>
            </a:xfrm>
            <a:prstGeom prst="rightArrow">
              <a:avLst/>
            </a:prstGeom>
            <a:solidFill>
              <a:schemeClr val="accent1"/>
            </a:solidFill>
            <a:ln w="127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latin typeface="+mj-lt"/>
              </a:endParaRPr>
            </a:p>
          </p:txBody>
        </p:sp>
        <p:sp>
          <p:nvSpPr>
            <p:cNvPr id="22" name="Halbbogen 61">
              <a:extLst>
                <a:ext uri="{FF2B5EF4-FFF2-40B4-BE49-F238E27FC236}">
                  <a16:creationId xmlns:a16="http://schemas.microsoft.com/office/drawing/2014/main" xmlns="" id="{653470B6-513C-4D88-AD06-94614DE93EA0}"/>
                </a:ext>
              </a:extLst>
            </p:cNvPr>
            <p:cNvSpPr/>
            <p:nvPr/>
          </p:nvSpPr>
          <p:spPr bwMode="gray">
            <a:xfrm rot="10800000" flipV="1">
              <a:off x="4078324" y="2776146"/>
              <a:ext cx="1573959" cy="1573958"/>
            </a:xfrm>
            <a:prstGeom prst="blockArc">
              <a:avLst>
                <a:gd name="adj1" fmla="val 10800000"/>
                <a:gd name="adj2" fmla="val 0"/>
                <a:gd name="adj3" fmla="val 20000"/>
              </a:avLst>
            </a:prstGeom>
            <a:solidFill>
              <a:schemeClr val="accent3">
                <a:lumMod val="75000"/>
              </a:schemeClr>
            </a:solidFill>
            <a:ln w="127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latin typeface="+mj-lt"/>
              </a:endParaRPr>
            </a:p>
          </p:txBody>
        </p:sp>
        <p:sp>
          <p:nvSpPr>
            <p:cNvPr id="23" name="Halbbogen 62">
              <a:extLst>
                <a:ext uri="{FF2B5EF4-FFF2-40B4-BE49-F238E27FC236}">
                  <a16:creationId xmlns:a16="http://schemas.microsoft.com/office/drawing/2014/main" xmlns="" id="{71B76020-1762-4B44-B61B-734676598F34}"/>
                </a:ext>
              </a:extLst>
            </p:cNvPr>
            <p:cNvSpPr/>
            <p:nvPr/>
          </p:nvSpPr>
          <p:spPr bwMode="gray">
            <a:xfrm rot="10800000">
              <a:off x="5337666" y="3799143"/>
              <a:ext cx="1573959" cy="1573958"/>
            </a:xfrm>
            <a:prstGeom prst="blockArc">
              <a:avLst>
                <a:gd name="adj1" fmla="val 10800000"/>
                <a:gd name="adj2" fmla="val 0"/>
                <a:gd name="adj3" fmla="val 20000"/>
              </a:avLst>
            </a:prstGeom>
            <a:solidFill>
              <a:schemeClr val="accent3">
                <a:lumMod val="75000"/>
              </a:schemeClr>
            </a:solidFill>
            <a:ln w="12700">
              <a:solidFill>
                <a:schemeClr val="accent3">
                  <a:lumMod val="7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latin typeface="+mj-lt"/>
              </a:endParaRPr>
            </a:p>
          </p:txBody>
        </p:sp>
        <p:sp>
          <p:nvSpPr>
            <p:cNvPr id="24" name="Halbbogen 63">
              <a:extLst>
                <a:ext uri="{FF2B5EF4-FFF2-40B4-BE49-F238E27FC236}">
                  <a16:creationId xmlns:a16="http://schemas.microsoft.com/office/drawing/2014/main" xmlns="" id="{76E1FA7F-DDD3-4D48-9525-BA0A30E9EA32}"/>
                </a:ext>
              </a:extLst>
            </p:cNvPr>
            <p:cNvSpPr/>
            <p:nvPr>
              <p:custDataLst>
                <p:tags r:id="rId2"/>
              </p:custDataLst>
            </p:nvPr>
          </p:nvSpPr>
          <p:spPr bwMode="gray">
            <a:xfrm rot="10800000" flipV="1">
              <a:off x="6597226" y="1989059"/>
              <a:ext cx="1573959" cy="1573958"/>
            </a:xfrm>
            <a:prstGeom prst="blockArc">
              <a:avLst>
                <a:gd name="adj1" fmla="val 10800000"/>
                <a:gd name="adj2" fmla="val 0"/>
                <a:gd name="adj3" fmla="val 20000"/>
              </a:avLst>
            </a:prstGeom>
            <a:solidFill>
              <a:schemeClr val="tx2"/>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latin typeface="+mj-lt"/>
              </a:endParaRPr>
            </a:p>
          </p:txBody>
        </p:sp>
        <p:sp>
          <p:nvSpPr>
            <p:cNvPr id="25" name="Halbbogen 64">
              <a:extLst>
                <a:ext uri="{FF2B5EF4-FFF2-40B4-BE49-F238E27FC236}">
                  <a16:creationId xmlns:a16="http://schemas.microsoft.com/office/drawing/2014/main" xmlns="" id="{C6BF8081-5D15-4598-B601-B4636C011882}"/>
                </a:ext>
              </a:extLst>
            </p:cNvPr>
            <p:cNvSpPr/>
            <p:nvPr/>
          </p:nvSpPr>
          <p:spPr bwMode="gray">
            <a:xfrm rot="10800000">
              <a:off x="7856349" y="2626407"/>
              <a:ext cx="1573959" cy="1573958"/>
            </a:xfrm>
            <a:prstGeom prst="blockArc">
              <a:avLst>
                <a:gd name="adj1" fmla="val 16200000"/>
                <a:gd name="adj2" fmla="val 0"/>
                <a:gd name="adj3" fmla="val 20000"/>
              </a:avLst>
            </a:prstGeom>
            <a:solidFill>
              <a:schemeClr val="tx2"/>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latin typeface="+mj-lt"/>
              </a:endParaRPr>
            </a:p>
          </p:txBody>
        </p:sp>
        <p:sp>
          <p:nvSpPr>
            <p:cNvPr id="26" name="Rechteck 59">
              <a:extLst>
                <a:ext uri="{FF2B5EF4-FFF2-40B4-BE49-F238E27FC236}">
                  <a16:creationId xmlns:a16="http://schemas.microsoft.com/office/drawing/2014/main" xmlns="" id="{04F5613D-6969-400C-8950-F9DDCB6C1762}"/>
                </a:ext>
              </a:extLst>
            </p:cNvPr>
            <p:cNvSpPr/>
            <p:nvPr/>
          </p:nvSpPr>
          <p:spPr bwMode="gray">
            <a:xfrm>
              <a:off x="7855913" y="2784450"/>
              <a:ext cx="314835" cy="626948"/>
            </a:xfrm>
            <a:prstGeom prst="rect">
              <a:avLst/>
            </a:prstGeom>
            <a:solidFill>
              <a:schemeClr val="tx2"/>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600" dirty="0">
                <a:solidFill>
                  <a:schemeClr val="tx1"/>
                </a:solidFill>
                <a:latin typeface="+mj-lt"/>
              </a:endParaRPr>
            </a:p>
          </p:txBody>
        </p:sp>
      </p:grpSp>
      <p:sp>
        <p:nvSpPr>
          <p:cNvPr id="27" name="Rectangle 26">
            <a:extLst>
              <a:ext uri="{FF2B5EF4-FFF2-40B4-BE49-F238E27FC236}">
                <a16:creationId xmlns:a16="http://schemas.microsoft.com/office/drawing/2014/main" xmlns="" id="{321CF464-4D75-438B-9A0C-5E6644671BB3}"/>
              </a:ext>
            </a:extLst>
          </p:cNvPr>
          <p:cNvSpPr/>
          <p:nvPr/>
        </p:nvSpPr>
        <p:spPr bwMode="gray">
          <a:xfrm>
            <a:off x="4430453" y="5838150"/>
            <a:ext cx="2947625" cy="823876"/>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r">
              <a:spcBef>
                <a:spcPts val="400"/>
              </a:spcBef>
            </a:pPr>
            <a:r>
              <a:rPr lang="en-GB" sz="1867" b="1" dirty="0">
                <a:solidFill>
                  <a:schemeClr val="accent3">
                    <a:lumMod val="75000"/>
                  </a:schemeClr>
                </a:solidFill>
                <a:latin typeface="+mj-lt"/>
                <a:cs typeface="Arial" pitchFamily="34" charset="0"/>
              </a:rPr>
              <a:t>Orientation</a:t>
            </a:r>
            <a:endParaRPr lang="en-GB" sz="1467" dirty="0">
              <a:solidFill>
                <a:schemeClr val="accent3">
                  <a:lumMod val="75000"/>
                </a:schemeClr>
              </a:solidFill>
              <a:latin typeface="+mj-lt"/>
              <a:cs typeface="Arial" pitchFamily="34" charset="0"/>
            </a:endParaRPr>
          </a:p>
        </p:txBody>
      </p:sp>
      <p:sp>
        <p:nvSpPr>
          <p:cNvPr id="28" name="Rectangle 27">
            <a:extLst>
              <a:ext uri="{FF2B5EF4-FFF2-40B4-BE49-F238E27FC236}">
                <a16:creationId xmlns:a16="http://schemas.microsoft.com/office/drawing/2014/main" xmlns="" id="{390B415D-30AC-4EE4-9FF3-327D2F1A3F62}"/>
              </a:ext>
            </a:extLst>
          </p:cNvPr>
          <p:cNvSpPr/>
          <p:nvPr/>
        </p:nvSpPr>
        <p:spPr bwMode="gray">
          <a:xfrm>
            <a:off x="1490227" y="3013574"/>
            <a:ext cx="3498552" cy="8038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spcBef>
                <a:spcPts val="400"/>
              </a:spcBef>
            </a:pPr>
            <a:r>
              <a:rPr lang="en-GB" sz="1867" b="1" dirty="0">
                <a:solidFill>
                  <a:schemeClr val="accent2"/>
                </a:solidFill>
                <a:latin typeface="Insight print" panose="02010605030100020000" pitchFamily="50" charset="0"/>
                <a:cs typeface="Arial" pitchFamily="34" charset="0"/>
              </a:rPr>
              <a:t>Trigger</a:t>
            </a:r>
            <a:endParaRPr lang="en-GB" sz="1467" dirty="0">
              <a:solidFill>
                <a:schemeClr val="tx1"/>
              </a:solidFill>
              <a:latin typeface="Insight print" panose="02010605030100020000" pitchFamily="50" charset="0"/>
              <a:cs typeface="Arial" pitchFamily="34" charset="0"/>
            </a:endParaRPr>
          </a:p>
        </p:txBody>
      </p:sp>
      <p:grpSp>
        <p:nvGrpSpPr>
          <p:cNvPr id="31" name="logo">
            <a:extLst>
              <a:ext uri="{FF2B5EF4-FFF2-40B4-BE49-F238E27FC236}">
                <a16:creationId xmlns:a16="http://schemas.microsoft.com/office/drawing/2014/main" xmlns="" id="{02446A27-FA5D-424E-B1DD-009C355D67C2}"/>
              </a:ext>
            </a:extLst>
          </p:cNvPr>
          <p:cNvGrpSpPr>
            <a:grpSpLocks noChangeAspect="1"/>
          </p:cNvGrpSpPr>
          <p:nvPr/>
        </p:nvGrpSpPr>
        <p:grpSpPr bwMode="gray">
          <a:xfrm>
            <a:off x="11174018" y="401441"/>
            <a:ext cx="644225" cy="646507"/>
            <a:chOff x="2711" y="1027"/>
            <a:chExt cx="2258" cy="2266"/>
          </a:xfrm>
        </p:grpSpPr>
        <p:sp>
          <p:nvSpPr>
            <p:cNvPr id="32" name="AutoShape 3">
              <a:extLst>
                <a:ext uri="{FF2B5EF4-FFF2-40B4-BE49-F238E27FC236}">
                  <a16:creationId xmlns:a16="http://schemas.microsoft.com/office/drawing/2014/main" xmlns="" id="{B25CAEBE-B3C2-4311-B8B6-191BFD3DDA1B}"/>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33" name="Freeform 5">
              <a:extLst>
                <a:ext uri="{FF2B5EF4-FFF2-40B4-BE49-F238E27FC236}">
                  <a16:creationId xmlns:a16="http://schemas.microsoft.com/office/drawing/2014/main" xmlns="" id="{AC657DD4-A857-4BB3-8D28-D30B406C1EFE}"/>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34" name="Freeform 6">
              <a:extLst>
                <a:ext uri="{FF2B5EF4-FFF2-40B4-BE49-F238E27FC236}">
                  <a16:creationId xmlns:a16="http://schemas.microsoft.com/office/drawing/2014/main" xmlns="" id="{C544984B-8704-4EA2-A5A1-D386E9B5B582}"/>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35" name="Freeform 7">
              <a:extLst>
                <a:ext uri="{FF2B5EF4-FFF2-40B4-BE49-F238E27FC236}">
                  <a16:creationId xmlns:a16="http://schemas.microsoft.com/office/drawing/2014/main" xmlns="" id="{8B2F8F7B-92AD-42C4-90BA-64F39D811BB3}"/>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36" name="Oval 8">
              <a:extLst>
                <a:ext uri="{FF2B5EF4-FFF2-40B4-BE49-F238E27FC236}">
                  <a16:creationId xmlns:a16="http://schemas.microsoft.com/office/drawing/2014/main" xmlns="" id="{F2A7366C-F35C-4928-B56D-9D967A0BE12D}"/>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37" name="Freeform 9">
              <a:extLst>
                <a:ext uri="{FF2B5EF4-FFF2-40B4-BE49-F238E27FC236}">
                  <a16:creationId xmlns:a16="http://schemas.microsoft.com/office/drawing/2014/main" xmlns="" id="{1C6E37ED-960E-4410-8D7D-652BC347FD0F}"/>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38" name="Freeform 10">
              <a:extLst>
                <a:ext uri="{FF2B5EF4-FFF2-40B4-BE49-F238E27FC236}">
                  <a16:creationId xmlns:a16="http://schemas.microsoft.com/office/drawing/2014/main" xmlns="" id="{06712FAA-AFBF-4807-B6EF-9DC9D8467D20}"/>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39" name="Oval 11">
              <a:extLst>
                <a:ext uri="{FF2B5EF4-FFF2-40B4-BE49-F238E27FC236}">
                  <a16:creationId xmlns:a16="http://schemas.microsoft.com/office/drawing/2014/main" xmlns="" id="{0F2BCBF6-C652-4FCA-8081-991EAF3E2587}"/>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40" name="Freeform 12">
              <a:extLst>
                <a:ext uri="{FF2B5EF4-FFF2-40B4-BE49-F238E27FC236}">
                  <a16:creationId xmlns:a16="http://schemas.microsoft.com/office/drawing/2014/main" xmlns="" id="{8ED523D4-14EF-46A0-A412-4297CBD4BCF8}"/>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41" name="Freeform 13">
              <a:extLst>
                <a:ext uri="{FF2B5EF4-FFF2-40B4-BE49-F238E27FC236}">
                  <a16:creationId xmlns:a16="http://schemas.microsoft.com/office/drawing/2014/main" xmlns="" id="{E1924AA5-FC5F-475B-AEEE-69F156B0FA98}"/>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pic>
        <p:nvPicPr>
          <p:cNvPr id="42" name="Picture 41">
            <a:extLst>
              <a:ext uri="{FF2B5EF4-FFF2-40B4-BE49-F238E27FC236}">
                <a16:creationId xmlns:a16="http://schemas.microsoft.com/office/drawing/2014/main" xmlns="" id="{F0A968B7-F4F0-4192-B1F9-5F988D6F77AB}"/>
              </a:ext>
            </a:extLst>
          </p:cNvPr>
          <p:cNvPicPr>
            <a:picLocks noChangeAspect="1"/>
          </p:cNvPicPr>
          <p:nvPr/>
        </p:nvPicPr>
        <p:blipFill>
          <a:blip r:embed="rId5"/>
          <a:stretch>
            <a:fillRect/>
          </a:stretch>
        </p:blipFill>
        <p:spPr>
          <a:xfrm>
            <a:off x="10370170" y="401441"/>
            <a:ext cx="645366" cy="645366"/>
          </a:xfrm>
          <a:prstGeom prst="rect">
            <a:avLst/>
          </a:prstGeom>
        </p:spPr>
      </p:pic>
      <p:pic>
        <p:nvPicPr>
          <p:cNvPr id="47" name="Picture Placeholder 46" descr="A person sitting at a table using a computer&#10;&#10;Description automatically generated">
            <a:extLst>
              <a:ext uri="{FF2B5EF4-FFF2-40B4-BE49-F238E27FC236}">
                <a16:creationId xmlns:a16="http://schemas.microsoft.com/office/drawing/2014/main" xmlns="" id="{D9E6D8A0-2652-4F3A-9087-8C60BBBEAC64}"/>
              </a:ext>
            </a:extLst>
          </p:cNvPr>
          <p:cNvPicPr>
            <a:picLocks noGrp="1" noChangeAspect="1"/>
          </p:cNvPicPr>
          <p:nvPr>
            <p:ph type="pic" sz="quarter" idx="17"/>
          </p:nvPr>
        </p:nvPicPr>
        <p:blipFill>
          <a:blip r:embed="rId6">
            <a:extLst>
              <a:ext uri="{28A0092B-C50C-407E-A947-70E740481C1C}">
                <a14:useLocalDpi xmlns:a14="http://schemas.microsoft.com/office/drawing/2010/main" val="0"/>
              </a:ext>
            </a:extLst>
          </a:blip>
          <a:srcRect l="10572" r="10572"/>
          <a:stretch>
            <a:fillRect/>
          </a:stretch>
        </p:blipFill>
        <p:spPr>
          <a:xfrm>
            <a:off x="-1" y="0"/>
            <a:ext cx="8822478" cy="6858000"/>
          </a:xfrm>
        </p:spPr>
      </p:pic>
      <p:sp>
        <p:nvSpPr>
          <p:cNvPr id="44" name="Title 43">
            <a:extLst>
              <a:ext uri="{FF2B5EF4-FFF2-40B4-BE49-F238E27FC236}">
                <a16:creationId xmlns:a16="http://schemas.microsoft.com/office/drawing/2014/main" xmlns="" id="{58718A4A-8292-4E95-9E26-98528294FCAA}"/>
              </a:ext>
            </a:extLst>
          </p:cNvPr>
          <p:cNvSpPr>
            <a:spLocks noGrp="1"/>
          </p:cNvSpPr>
          <p:nvPr>
            <p:ph type="title"/>
          </p:nvPr>
        </p:nvSpPr>
        <p:spPr>
          <a:xfrm>
            <a:off x="7737533" y="2908628"/>
            <a:ext cx="4082992" cy="2103640"/>
          </a:xfrm>
        </p:spPr>
        <p:txBody>
          <a:bodyPr/>
          <a:lstStyle/>
          <a:p>
            <a:r>
              <a:rPr lang="nl-NL" dirty="0"/>
              <a:t>How do </a:t>
            </a:r>
            <a:r>
              <a:rPr lang="nl-NL" dirty="0" err="1"/>
              <a:t>they</a:t>
            </a:r>
            <a:r>
              <a:rPr lang="nl-NL" dirty="0"/>
              <a:t> want </a:t>
            </a:r>
            <a:r>
              <a:rPr lang="nl-NL" dirty="0" err="1"/>
              <a:t>to</a:t>
            </a:r>
            <a:r>
              <a:rPr lang="nl-NL" dirty="0"/>
              <a:t> </a:t>
            </a:r>
            <a:r>
              <a:rPr lang="nl-NL" dirty="0" err="1"/>
              <a:t>interact</a:t>
            </a:r>
            <a:r>
              <a:rPr lang="nl-NL" dirty="0"/>
              <a:t> </a:t>
            </a:r>
            <a:r>
              <a:rPr lang="nl-NL" dirty="0" err="1"/>
              <a:t>with</a:t>
            </a:r>
            <a:r>
              <a:rPr lang="nl-NL" dirty="0"/>
              <a:t> retailers?</a:t>
            </a:r>
          </a:p>
        </p:txBody>
      </p:sp>
      <p:sp>
        <p:nvSpPr>
          <p:cNvPr id="6" name="Slide Number Placeholder 5">
            <a:extLst>
              <a:ext uri="{FF2B5EF4-FFF2-40B4-BE49-F238E27FC236}">
                <a16:creationId xmlns:a16="http://schemas.microsoft.com/office/drawing/2014/main" xmlns="" id="{AACBFA2C-553C-46B3-872A-53F359DCBD80}"/>
              </a:ext>
            </a:extLst>
          </p:cNvPr>
          <p:cNvSpPr>
            <a:spLocks noGrp="1"/>
          </p:cNvSpPr>
          <p:nvPr>
            <p:ph type="sldNum" sz="quarter" idx="20"/>
          </p:nvPr>
        </p:nvSpPr>
        <p:spPr/>
        <p:txBody>
          <a:bodyPr/>
          <a:lstStyle/>
          <a:p>
            <a:fld id="{5F3E29E4-0979-4FCA-B4C5-5FC6044C982A}" type="slidenum">
              <a:rPr lang="en-US" smtClean="0"/>
              <a:pPr/>
              <a:t>12</a:t>
            </a:fld>
            <a:endParaRPr lang="en-US"/>
          </a:p>
        </p:txBody>
      </p:sp>
    </p:spTree>
    <p:extLst>
      <p:ext uri="{BB962C8B-B14F-4D97-AF65-F5344CB8AC3E}">
        <p14:creationId xmlns:p14="http://schemas.microsoft.com/office/powerpoint/2010/main" val="35347810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5"/>
          </p:nvPr>
        </p:nvSpPr>
        <p:spPr/>
        <p:txBody>
          <a:bodyPr/>
          <a:lstStyle/>
          <a:p>
            <a:r>
              <a:rPr lang="en-US" dirty="0" err="1"/>
              <a:t>ShoppingTomorrow</a:t>
            </a:r>
            <a:r>
              <a:rPr lang="en-US" dirty="0"/>
              <a:t> 2020</a:t>
            </a:r>
          </a:p>
        </p:txBody>
      </p:sp>
      <p:sp>
        <p:nvSpPr>
          <p:cNvPr id="4" name="Slide Number Placeholder 3"/>
          <p:cNvSpPr>
            <a:spLocks noGrp="1"/>
          </p:cNvSpPr>
          <p:nvPr>
            <p:ph type="sldNum" sz="quarter" idx="16"/>
          </p:nvPr>
        </p:nvSpPr>
        <p:spPr/>
        <p:txBody>
          <a:bodyPr/>
          <a:lstStyle/>
          <a:p>
            <a:fld id="{5F3E29E4-0979-4FCA-B4C5-5FC6044C982A}" type="slidenum">
              <a:rPr lang="en-US" smtClean="0"/>
              <a:pPr/>
              <a:t>13</a:t>
            </a:fld>
            <a:endParaRPr lang="en-US" dirty="0"/>
          </a:p>
        </p:txBody>
      </p:sp>
      <p:sp>
        <p:nvSpPr>
          <p:cNvPr id="8" name="Title 7"/>
          <p:cNvSpPr>
            <a:spLocks noGrp="1"/>
          </p:cNvSpPr>
          <p:nvPr>
            <p:ph type="title"/>
          </p:nvPr>
        </p:nvSpPr>
        <p:spPr>
          <a:xfrm>
            <a:off x="1075060" y="358319"/>
            <a:ext cx="8870129" cy="648000"/>
          </a:xfrm>
        </p:spPr>
        <p:txBody>
          <a:bodyPr/>
          <a:lstStyle/>
          <a:p>
            <a:r>
              <a:rPr lang="en-US" sz="2400" dirty="0"/>
              <a:t>Store visit is still the most preferred mode of contact with retailers when needing advice. Voice chat is winning in popularity especially under youngsters</a:t>
            </a:r>
          </a:p>
        </p:txBody>
      </p:sp>
      <p:sp>
        <p:nvSpPr>
          <p:cNvPr id="15" name="Text Placeholder 14"/>
          <p:cNvSpPr>
            <a:spLocks noGrp="1"/>
          </p:cNvSpPr>
          <p:nvPr>
            <p:ph type="body" sz="quarter" idx="17"/>
          </p:nvPr>
        </p:nvSpPr>
        <p:spPr>
          <a:xfrm>
            <a:off x="1075063" y="6307665"/>
            <a:ext cx="8162717" cy="133200"/>
          </a:xfrm>
        </p:spPr>
        <p:txBody>
          <a:bodyPr/>
          <a:lstStyle/>
          <a:p>
            <a:r>
              <a:rPr lang="en-US" sz="900" dirty="0"/>
              <a:t>F01: Imagine you want to buy a product or service and you need advice. Think of clothing, a desk lamp, a sleeping bag or a camera. What type of communication would you prefer to have with the provider?</a:t>
            </a:r>
          </a:p>
        </p:txBody>
      </p:sp>
      <p:sp>
        <p:nvSpPr>
          <p:cNvPr id="14" name="Title 8">
            <a:extLst>
              <a:ext uri="{FF2B5EF4-FFF2-40B4-BE49-F238E27FC236}">
                <a16:creationId xmlns:a16="http://schemas.microsoft.com/office/drawing/2014/main" xmlns="" id="{336CB63B-7A5A-415F-A5B1-6039ADDE6631}"/>
              </a:ext>
            </a:extLst>
          </p:cNvPr>
          <p:cNvSpPr txBox="1">
            <a:spLocks/>
          </p:cNvSpPr>
          <p:nvPr/>
        </p:nvSpPr>
        <p:spPr bwMode="gray">
          <a:xfrm>
            <a:off x="1167319" y="1340722"/>
            <a:ext cx="10525328"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en-US" sz="1200" b="1" dirty="0">
                <a:latin typeface="+mj-lt"/>
              </a:rPr>
              <a:t>Preferred mode of contact with retailers in case of need for information or advice</a:t>
            </a:r>
          </a:p>
        </p:txBody>
      </p:sp>
      <p:cxnSp>
        <p:nvCxnSpPr>
          <p:cNvPr id="16" name="Straight Connector 15">
            <a:extLst>
              <a:ext uri="{FF2B5EF4-FFF2-40B4-BE49-F238E27FC236}">
                <a16:creationId xmlns:a16="http://schemas.microsoft.com/office/drawing/2014/main" xmlns="" id="{33F5F090-E00E-4DD8-B328-6CFB70193D9F}"/>
              </a:ext>
            </a:extLst>
          </p:cNvPr>
          <p:cNvCxnSpPr>
            <a:cxnSpLocks/>
          </p:cNvCxnSpPr>
          <p:nvPr/>
        </p:nvCxnSpPr>
        <p:spPr>
          <a:xfrm>
            <a:off x="1167319" y="1628754"/>
            <a:ext cx="10525328"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8" name="Text Placeholder 20">
            <a:extLst>
              <a:ext uri="{FF2B5EF4-FFF2-40B4-BE49-F238E27FC236}">
                <a16:creationId xmlns:a16="http://schemas.microsoft.com/office/drawing/2014/main" xmlns="" id="{69E5DD53-F07E-44D1-A4FF-E36EC346F892}"/>
              </a:ext>
            </a:extLst>
          </p:cNvPr>
          <p:cNvSpPr txBox="1">
            <a:spLocks/>
          </p:cNvSpPr>
          <p:nvPr/>
        </p:nvSpPr>
        <p:spPr bwMode="gray">
          <a:xfrm>
            <a:off x="9360580" y="6307664"/>
            <a:ext cx="2474089" cy="174453"/>
          </a:xfrm>
          <a:prstGeom prst="rect">
            <a:avLst/>
          </a:prstGeom>
        </p:spPr>
        <p:txBody>
          <a:bodyPr vert="horz" lIns="0" tIns="0" rIns="0" bIns="36000" rtlCol="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800" kern="1200" baseline="0" noProof="0" smtClean="0">
                <a:solidFill>
                  <a:schemeClr val="bg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spcAft>
                <a:spcPts val="0"/>
              </a:spcAft>
              <a:buFont typeface="Arial" pitchFamily="34" charset="0"/>
              <a:buNone/>
              <a:defRPr lang="de-DE" sz="800" kern="1200" baseline="0" noProof="0" smtClean="0">
                <a:solidFill>
                  <a:schemeClr val="bg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9pPr>
          </a:lstStyle>
          <a:p>
            <a:pPr algn="r"/>
            <a:r>
              <a:rPr lang="en-US" sz="900" dirty="0">
                <a:solidFill>
                  <a:schemeClr val="tx1"/>
                </a:solidFill>
                <a:latin typeface="+mj-lt"/>
              </a:rPr>
              <a:t>Base: all respondents</a:t>
            </a:r>
          </a:p>
          <a:p>
            <a:pPr algn="r"/>
            <a:r>
              <a:rPr lang="en-US" sz="900" dirty="0">
                <a:solidFill>
                  <a:schemeClr val="tx1"/>
                </a:solidFill>
                <a:latin typeface="+mj-lt"/>
              </a:rPr>
              <a:t>2020: n=1.026, 2019: n=1.003, 2018: n=1.004</a:t>
            </a:r>
          </a:p>
        </p:txBody>
      </p:sp>
      <p:graphicFrame>
        <p:nvGraphicFramePr>
          <p:cNvPr id="29" name="Table 28">
            <a:extLst>
              <a:ext uri="{FF2B5EF4-FFF2-40B4-BE49-F238E27FC236}">
                <a16:creationId xmlns:a16="http://schemas.microsoft.com/office/drawing/2014/main" xmlns="" id="{ACBC1AFE-6CD9-4CF2-BFA9-DD98007F44CC}"/>
              </a:ext>
            </a:extLst>
          </p:cNvPr>
          <p:cNvGraphicFramePr>
            <a:graphicFrameLocks noGrp="1"/>
          </p:cNvGraphicFramePr>
          <p:nvPr>
            <p:extLst>
              <p:ext uri="{D42A27DB-BD31-4B8C-83A1-F6EECF244321}">
                <p14:modId xmlns:p14="http://schemas.microsoft.com/office/powerpoint/2010/main" val="2282369598"/>
              </p:ext>
            </p:extLst>
          </p:nvPr>
        </p:nvGraphicFramePr>
        <p:xfrm>
          <a:off x="1383129" y="3896927"/>
          <a:ext cx="9425741" cy="507046"/>
        </p:xfrm>
        <a:graphic>
          <a:graphicData uri="http://schemas.openxmlformats.org/drawingml/2006/table">
            <a:tbl>
              <a:tblPr firstRow="1" bandRow="1">
                <a:tableStyleId>{C115FB49-3FBE-41CF-8DFC-A938FE5134F0}</a:tableStyleId>
              </a:tblPr>
              <a:tblGrid>
                <a:gridCol w="1103159">
                  <a:extLst>
                    <a:ext uri="{9D8B030D-6E8A-4147-A177-3AD203B41FA5}">
                      <a16:colId xmlns:a16="http://schemas.microsoft.com/office/drawing/2014/main" xmlns="" val="1161520263"/>
                    </a:ext>
                  </a:extLst>
                </a:gridCol>
                <a:gridCol w="1069823">
                  <a:extLst>
                    <a:ext uri="{9D8B030D-6E8A-4147-A177-3AD203B41FA5}">
                      <a16:colId xmlns:a16="http://schemas.microsoft.com/office/drawing/2014/main" xmlns="" val="2942909094"/>
                    </a:ext>
                  </a:extLst>
                </a:gridCol>
                <a:gridCol w="1031153">
                  <a:extLst>
                    <a:ext uri="{9D8B030D-6E8A-4147-A177-3AD203B41FA5}">
                      <a16:colId xmlns:a16="http://schemas.microsoft.com/office/drawing/2014/main" xmlns="" val="168446271"/>
                    </a:ext>
                  </a:extLst>
                </a:gridCol>
                <a:gridCol w="1044044">
                  <a:extLst>
                    <a:ext uri="{9D8B030D-6E8A-4147-A177-3AD203B41FA5}">
                      <a16:colId xmlns:a16="http://schemas.microsoft.com/office/drawing/2014/main" xmlns="" val="2548592171"/>
                    </a:ext>
                  </a:extLst>
                </a:gridCol>
                <a:gridCol w="953817">
                  <a:extLst>
                    <a:ext uri="{9D8B030D-6E8A-4147-A177-3AD203B41FA5}">
                      <a16:colId xmlns:a16="http://schemas.microsoft.com/office/drawing/2014/main" xmlns="" val="202062618"/>
                    </a:ext>
                  </a:extLst>
                </a:gridCol>
                <a:gridCol w="1078725">
                  <a:extLst>
                    <a:ext uri="{9D8B030D-6E8A-4147-A177-3AD203B41FA5}">
                      <a16:colId xmlns:a16="http://schemas.microsoft.com/office/drawing/2014/main" xmlns="" val="3470416852"/>
                    </a:ext>
                  </a:extLst>
                </a:gridCol>
                <a:gridCol w="1056932">
                  <a:extLst>
                    <a:ext uri="{9D8B030D-6E8A-4147-A177-3AD203B41FA5}">
                      <a16:colId xmlns:a16="http://schemas.microsoft.com/office/drawing/2014/main" xmlns="" val="1049844064"/>
                    </a:ext>
                  </a:extLst>
                </a:gridCol>
                <a:gridCol w="1069822">
                  <a:extLst>
                    <a:ext uri="{9D8B030D-6E8A-4147-A177-3AD203B41FA5}">
                      <a16:colId xmlns:a16="http://schemas.microsoft.com/office/drawing/2014/main" xmlns="" val="2267861239"/>
                    </a:ext>
                  </a:extLst>
                </a:gridCol>
                <a:gridCol w="1018266">
                  <a:extLst>
                    <a:ext uri="{9D8B030D-6E8A-4147-A177-3AD203B41FA5}">
                      <a16:colId xmlns:a16="http://schemas.microsoft.com/office/drawing/2014/main" xmlns="" val="1786383599"/>
                    </a:ext>
                  </a:extLst>
                </a:gridCol>
              </a:tblGrid>
              <a:tr h="507046">
                <a:tc>
                  <a:txBody>
                    <a:bodyPr/>
                    <a:lstStyle/>
                    <a:p>
                      <a:pPr algn="ctr"/>
                      <a:r>
                        <a:rPr lang="en-US" sz="1000" dirty="0">
                          <a:cs typeface="Arial" pitchFamily="34" charset="0"/>
                        </a:rPr>
                        <a:t>Store visit</a:t>
                      </a:r>
                    </a:p>
                  </a:txBody>
                  <a:tcPr marL="0" marR="0" marT="0" marB="0" anchor="ctr">
                    <a:lnL>
                      <a:noFill/>
                    </a:lnL>
                    <a:lnR>
                      <a:noFill/>
                    </a:lnR>
                    <a:lnT>
                      <a:noFill/>
                    </a:lnT>
                    <a:lnB w="9525" cmpd="sng">
                      <a:noFill/>
                    </a:lnB>
                    <a:lnTlToBr w="12700" cmpd="sng">
                      <a:noFill/>
                      <a:prstDash val="solid"/>
                    </a:lnTlToBr>
                    <a:lnBlToTr w="12700" cmpd="sng">
                      <a:noFill/>
                      <a:prstDash val="solid"/>
                    </a:lnBlToTr>
                  </a:tcPr>
                </a:tc>
                <a:tc>
                  <a:txBody>
                    <a:bodyPr/>
                    <a:lstStyle/>
                    <a:p>
                      <a:pPr algn="ctr"/>
                      <a:r>
                        <a:rPr lang="en-US" sz="1000" dirty="0">
                          <a:cs typeface="Arial" pitchFamily="34" charset="0"/>
                        </a:rPr>
                        <a:t>Text chat</a:t>
                      </a:r>
                    </a:p>
                  </a:txBody>
                  <a:tcPr marL="0" marR="0" marT="0" marB="0" anchor="ctr">
                    <a:lnL>
                      <a:noFill/>
                    </a:lnL>
                    <a:lnR>
                      <a:noFill/>
                    </a:lnR>
                    <a:lnT>
                      <a:noFill/>
                    </a:lnT>
                    <a:lnB w="9525" cmpd="sng">
                      <a:noFill/>
                    </a:lnB>
                    <a:lnTlToBr w="12700" cmpd="sng">
                      <a:noFill/>
                      <a:prstDash val="solid"/>
                    </a:lnTlToBr>
                    <a:lnBlToTr w="12700" cmpd="sng">
                      <a:noFill/>
                      <a:prstDash val="solid"/>
                    </a:lnBlToTr>
                  </a:tcPr>
                </a:tc>
                <a:tc>
                  <a:txBody>
                    <a:bodyPr/>
                    <a:lstStyle/>
                    <a:p>
                      <a:pPr algn="ctr"/>
                      <a:r>
                        <a:rPr lang="en-US" sz="1000" dirty="0">
                          <a:cs typeface="Arial" pitchFamily="34" charset="0"/>
                        </a:rPr>
                        <a:t>E-mail or retailer’s  </a:t>
                      </a:r>
                    </a:p>
                    <a:p>
                      <a:pPr algn="ctr"/>
                      <a:r>
                        <a:rPr lang="en-US" sz="1000" dirty="0">
                          <a:cs typeface="Arial" pitchFamily="34" charset="0"/>
                        </a:rPr>
                        <a:t>Website</a:t>
                      </a:r>
                    </a:p>
                  </a:txBody>
                  <a:tcPr marL="0" marR="0" marT="0" marB="0" anchor="ctr">
                    <a:lnL>
                      <a:noFill/>
                    </a:lnL>
                    <a:lnR>
                      <a:noFill/>
                    </a:lnR>
                    <a:lnT>
                      <a:noFill/>
                    </a:lnT>
                    <a:lnB w="9525" cmpd="sng">
                      <a:noFill/>
                    </a:lnB>
                    <a:lnTlToBr w="12700" cmpd="sng">
                      <a:noFill/>
                      <a:prstDash val="solid"/>
                    </a:lnTlToBr>
                    <a:lnBlToTr w="12700" cmpd="sng">
                      <a:noFill/>
                      <a:prstDash val="solid"/>
                    </a:lnBlToTr>
                  </a:tcPr>
                </a:tc>
                <a:tc>
                  <a:txBody>
                    <a:bodyPr/>
                    <a:lstStyle/>
                    <a:p>
                      <a:pPr algn="ctr"/>
                      <a:r>
                        <a:rPr lang="en-US" sz="1000" dirty="0">
                          <a:cs typeface="Arial" pitchFamily="34" charset="0"/>
                        </a:rPr>
                        <a:t>Telephone </a:t>
                      </a:r>
                    </a:p>
                    <a:p>
                      <a:pPr algn="ctr"/>
                      <a:r>
                        <a:rPr lang="en-US" sz="1000" dirty="0">
                          <a:cs typeface="Arial" pitchFamily="34" charset="0"/>
                        </a:rPr>
                        <a:t>call</a:t>
                      </a:r>
                      <a:endParaRPr lang="nl-NL" sz="1000" b="0" dirty="0"/>
                    </a:p>
                  </a:txBody>
                  <a:tcPr marL="0" marR="0" marT="0" marB="0" anchor="ctr">
                    <a:lnL>
                      <a:noFill/>
                    </a:lnL>
                    <a:lnR>
                      <a:noFill/>
                    </a:lnR>
                    <a:lnT>
                      <a:noFill/>
                    </a:lnT>
                    <a:lnB w="9525" cmpd="sng">
                      <a:noFill/>
                    </a:lnB>
                    <a:lnTlToBr w="12700" cmpd="sng">
                      <a:noFill/>
                      <a:prstDash val="solid"/>
                    </a:lnTlToBr>
                    <a:lnBlToTr w="12700" cmpd="sng">
                      <a:noFill/>
                      <a:prstDash val="solid"/>
                    </a:lnBlToTr>
                  </a:tcPr>
                </a:tc>
                <a:tc>
                  <a:txBody>
                    <a:bodyPr/>
                    <a:lstStyle/>
                    <a:p>
                      <a:pPr algn="ctr"/>
                      <a:r>
                        <a:rPr lang="en-US" sz="1000" dirty="0">
                          <a:cs typeface="Arial" pitchFamily="34" charset="0"/>
                        </a:rPr>
                        <a:t>Voice chat</a:t>
                      </a:r>
                      <a:endParaRPr lang="nl-NL" sz="1000" b="0" dirty="0"/>
                    </a:p>
                  </a:txBody>
                  <a:tcPr marL="0" marR="0" marT="0" marB="0" anchor="ctr">
                    <a:lnL>
                      <a:noFill/>
                    </a:lnL>
                    <a:lnR>
                      <a:noFill/>
                    </a:lnR>
                    <a:lnT>
                      <a:noFill/>
                    </a:lnT>
                    <a:lnB w="9525" cmpd="sng">
                      <a:noFill/>
                    </a:lnB>
                    <a:lnTlToBr w="12700" cmpd="sng">
                      <a:noFill/>
                      <a:prstDash val="solid"/>
                    </a:lnTlToBr>
                    <a:lnBlToTr w="12700" cmpd="sng">
                      <a:noFill/>
                      <a:prstDash val="solid"/>
                    </a:lnBlToTr>
                  </a:tcPr>
                </a:tc>
                <a:tc>
                  <a:txBody>
                    <a:bodyPr/>
                    <a:lstStyle/>
                    <a:p>
                      <a:pPr algn="ctr"/>
                      <a:r>
                        <a:rPr lang="en-US" sz="1000" dirty="0">
                          <a:cs typeface="Arial" pitchFamily="34" charset="0"/>
                        </a:rPr>
                        <a:t>Retailer’s </a:t>
                      </a:r>
                    </a:p>
                    <a:p>
                      <a:pPr algn="ctr"/>
                      <a:r>
                        <a:rPr lang="en-US" sz="1000" dirty="0">
                          <a:cs typeface="Arial" pitchFamily="34" charset="0"/>
                        </a:rPr>
                        <a:t>mobile app</a:t>
                      </a:r>
                    </a:p>
                  </a:txBody>
                  <a:tcPr marL="0" marR="0" marT="0" marB="0" anchor="ctr">
                    <a:lnL>
                      <a:noFill/>
                    </a:lnL>
                    <a:lnR>
                      <a:noFill/>
                    </a:lnR>
                    <a:lnT>
                      <a:noFill/>
                    </a:lnT>
                    <a:lnB w="9525" cmpd="sng">
                      <a:noFill/>
                    </a:lnB>
                    <a:lnTlToBr w="12700" cmpd="sng">
                      <a:noFill/>
                      <a:prstDash val="solid"/>
                    </a:lnTlToBr>
                    <a:lnBlToTr w="12700" cmpd="sng">
                      <a:noFill/>
                      <a:prstDash val="solid"/>
                    </a:lnBlToTr>
                  </a:tcPr>
                </a:tc>
                <a:tc>
                  <a:txBody>
                    <a:bodyPr/>
                    <a:lstStyle/>
                    <a:p>
                      <a:pPr algn="ctr"/>
                      <a:r>
                        <a:rPr lang="en-US" sz="1000" dirty="0">
                          <a:cs typeface="Arial" pitchFamily="34" charset="0"/>
                        </a:rPr>
                        <a:t>Social media</a:t>
                      </a:r>
                    </a:p>
                  </a:txBody>
                  <a:tcPr marL="0" marR="0" marT="0" marB="0" anchor="ctr">
                    <a:lnL>
                      <a:noFill/>
                    </a:lnL>
                    <a:lnR>
                      <a:noFill/>
                    </a:lnR>
                    <a:lnT>
                      <a:noFill/>
                    </a:lnT>
                    <a:lnB w="9525" cmpd="sng">
                      <a:noFill/>
                    </a:lnB>
                    <a:lnTlToBr w="12700" cmpd="sng">
                      <a:noFill/>
                      <a:prstDash val="solid"/>
                    </a:lnTlToBr>
                    <a:lnBlToTr w="12700" cmpd="sng">
                      <a:noFill/>
                      <a:prstDash val="solid"/>
                    </a:lnBlToTr>
                  </a:tcPr>
                </a:tc>
                <a:tc>
                  <a:txBody>
                    <a:bodyPr/>
                    <a:lstStyle/>
                    <a:p>
                      <a:pPr algn="ctr"/>
                      <a:r>
                        <a:rPr lang="en-US" sz="1000" dirty="0">
                          <a:cs typeface="Arial" pitchFamily="34" charset="0"/>
                        </a:rPr>
                        <a:t>Another </a:t>
                      </a:r>
                    </a:p>
                    <a:p>
                      <a:pPr algn="ctr"/>
                      <a:r>
                        <a:rPr lang="en-US" sz="1000" dirty="0">
                          <a:cs typeface="Arial" pitchFamily="34" charset="0"/>
                        </a:rPr>
                        <a:t>way</a:t>
                      </a:r>
                    </a:p>
                  </a:txBody>
                  <a:tcPr marL="0" marR="0" marT="0" marB="0" anchor="ctr">
                    <a:lnL>
                      <a:noFill/>
                    </a:lnL>
                    <a:lnR>
                      <a:noFill/>
                    </a:lnR>
                    <a:lnT>
                      <a:noFill/>
                    </a:lnT>
                    <a:lnB w="9525"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dirty="0">
                          <a:cs typeface="Arial" pitchFamily="34" charset="0"/>
                        </a:rPr>
                        <a:t>I don’t need/want any type of communication</a:t>
                      </a:r>
                    </a:p>
                  </a:txBody>
                  <a:tcPr marL="0" marR="0" marT="0" marB="0" anchor="ctr">
                    <a:lnL>
                      <a:noFill/>
                    </a:lnL>
                    <a:lnR>
                      <a:noFill/>
                    </a:lnR>
                    <a:lnT>
                      <a:noFill/>
                    </a:lnT>
                    <a:lnB w="9525" cmpd="sng">
                      <a:noFill/>
                    </a:lnB>
                    <a:lnTlToBr w="12700" cmpd="sng">
                      <a:noFill/>
                      <a:prstDash val="solid"/>
                    </a:lnTlToBr>
                    <a:lnBlToTr w="12700" cmpd="sng">
                      <a:noFill/>
                      <a:prstDash val="solid"/>
                    </a:lnBlToTr>
                  </a:tcPr>
                </a:tc>
                <a:extLst>
                  <a:ext uri="{0D108BD9-81ED-4DB2-BD59-A6C34878D82A}">
                    <a16:rowId xmlns:a16="http://schemas.microsoft.com/office/drawing/2014/main" xmlns="" val="565321104"/>
                  </a:ext>
                </a:extLst>
              </a:tr>
            </a:tbl>
          </a:graphicData>
        </a:graphic>
      </p:graphicFrame>
      <p:grpSp>
        <p:nvGrpSpPr>
          <p:cNvPr id="34" name="Group 33">
            <a:extLst>
              <a:ext uri="{FF2B5EF4-FFF2-40B4-BE49-F238E27FC236}">
                <a16:creationId xmlns:a16="http://schemas.microsoft.com/office/drawing/2014/main" xmlns="" id="{D5D5BA00-480B-45B9-B527-8BFDCB5A7F33}"/>
              </a:ext>
            </a:extLst>
          </p:cNvPr>
          <p:cNvGrpSpPr>
            <a:grpSpLocks noChangeAspect="1"/>
          </p:cNvGrpSpPr>
          <p:nvPr/>
        </p:nvGrpSpPr>
        <p:grpSpPr>
          <a:xfrm>
            <a:off x="6964709" y="3547023"/>
            <a:ext cx="471006" cy="360000"/>
            <a:chOff x="5241904" y="2954036"/>
            <a:chExt cx="336503" cy="257196"/>
          </a:xfrm>
          <a:solidFill>
            <a:schemeClr val="accent5"/>
          </a:solidFill>
        </p:grpSpPr>
        <p:sp>
          <p:nvSpPr>
            <p:cNvPr id="35" name="Rounded Rectangle 66">
              <a:extLst>
                <a:ext uri="{FF2B5EF4-FFF2-40B4-BE49-F238E27FC236}">
                  <a16:creationId xmlns:a16="http://schemas.microsoft.com/office/drawing/2014/main" xmlns="" id="{90807410-3E88-4FFA-9493-020882D032B9}"/>
                </a:ext>
              </a:extLst>
            </p:cNvPr>
            <p:cNvSpPr>
              <a:spLocks noChangeAspect="1"/>
            </p:cNvSpPr>
            <p:nvPr/>
          </p:nvSpPr>
          <p:spPr bwMode="gray">
            <a:xfrm>
              <a:off x="5241904" y="2954036"/>
              <a:ext cx="257196" cy="257196"/>
            </a:xfrm>
            <a:prstGeom prst="roundRect">
              <a:avLst>
                <a:gd name="adj" fmla="val 23418"/>
              </a:avLst>
            </a:prstGeom>
            <a:solidFill>
              <a:schemeClr val="tx2"/>
            </a:solidFill>
            <a:ln w="444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indent="0">
                <a:spcBef>
                  <a:spcPts val="300"/>
                </a:spcBef>
                <a:buFont typeface="Courier New" pitchFamily="49" charset="0"/>
                <a:buNone/>
              </a:pPr>
              <a:endParaRPr lang="en-US" sz="700" b="1" dirty="0">
                <a:solidFill>
                  <a:schemeClr val="bg1"/>
                </a:solidFill>
                <a:latin typeface="Insight Display print" panose="04010403000000020004" pitchFamily="82" charset="0"/>
                <a:cs typeface="Arial" pitchFamily="34" charset="0"/>
              </a:endParaRPr>
            </a:p>
          </p:txBody>
        </p:sp>
        <p:sp>
          <p:nvSpPr>
            <p:cNvPr id="36" name="TextBox 35">
              <a:extLst>
                <a:ext uri="{FF2B5EF4-FFF2-40B4-BE49-F238E27FC236}">
                  <a16:creationId xmlns:a16="http://schemas.microsoft.com/office/drawing/2014/main" xmlns="" id="{D2240465-5201-466C-85CD-0565084B89FD}"/>
                </a:ext>
              </a:extLst>
            </p:cNvPr>
            <p:cNvSpPr txBox="1"/>
            <p:nvPr/>
          </p:nvSpPr>
          <p:spPr bwMode="gray">
            <a:xfrm>
              <a:off x="5293008" y="3019495"/>
              <a:ext cx="285399" cy="109943"/>
            </a:xfrm>
            <a:prstGeom prst="rect">
              <a:avLst/>
            </a:prstGeom>
            <a:noFill/>
          </p:spPr>
          <p:txBody>
            <a:bodyPr wrap="square" lIns="0" tIns="0" rIns="0" bIns="0" rtlCol="0">
              <a:spAutoFit/>
            </a:bodyPr>
            <a:lstStyle/>
            <a:p>
              <a:pPr>
                <a:spcBef>
                  <a:spcPts val="300"/>
                </a:spcBef>
              </a:pPr>
              <a:r>
                <a:rPr lang="en-US" sz="1000" dirty="0">
                  <a:solidFill>
                    <a:schemeClr val="bg1"/>
                  </a:solidFill>
                  <a:latin typeface="Arial" pitchFamily="34" charset="0"/>
                  <a:cs typeface="Arial" pitchFamily="34" charset="0"/>
                </a:rPr>
                <a:t>app</a:t>
              </a:r>
            </a:p>
          </p:txBody>
        </p:sp>
      </p:grpSp>
      <p:grpSp>
        <p:nvGrpSpPr>
          <p:cNvPr id="37" name="Group 28">
            <a:extLst>
              <a:ext uri="{FF2B5EF4-FFF2-40B4-BE49-F238E27FC236}">
                <a16:creationId xmlns:a16="http://schemas.microsoft.com/office/drawing/2014/main" xmlns="" id="{82CD786B-6315-4F65-8F9C-73637A9D3259}"/>
              </a:ext>
            </a:extLst>
          </p:cNvPr>
          <p:cNvGrpSpPr>
            <a:grpSpLocks noChangeAspect="1"/>
          </p:cNvGrpSpPr>
          <p:nvPr/>
        </p:nvGrpSpPr>
        <p:grpSpPr bwMode="auto">
          <a:xfrm>
            <a:off x="3917662" y="3544615"/>
            <a:ext cx="341415" cy="338726"/>
            <a:chOff x="5065" y="2958"/>
            <a:chExt cx="381" cy="378"/>
          </a:xfrm>
          <a:solidFill>
            <a:schemeClr val="accent6"/>
          </a:solidFill>
        </p:grpSpPr>
        <p:sp>
          <p:nvSpPr>
            <p:cNvPr id="38" name="Freeform 29">
              <a:extLst>
                <a:ext uri="{FF2B5EF4-FFF2-40B4-BE49-F238E27FC236}">
                  <a16:creationId xmlns:a16="http://schemas.microsoft.com/office/drawing/2014/main" xmlns="" id="{97359CCF-0A2E-4CA6-8702-004DABEC401D}"/>
                </a:ext>
              </a:extLst>
            </p:cNvPr>
            <p:cNvSpPr>
              <a:spLocks/>
            </p:cNvSpPr>
            <p:nvPr/>
          </p:nvSpPr>
          <p:spPr bwMode="auto">
            <a:xfrm>
              <a:off x="5228" y="3107"/>
              <a:ext cx="45" cy="73"/>
            </a:xfrm>
            <a:custGeom>
              <a:avLst/>
              <a:gdLst>
                <a:gd name="T0" fmla="*/ 13 w 19"/>
                <a:gd name="T1" fmla="*/ 0 h 31"/>
                <a:gd name="T2" fmla="*/ 4 w 19"/>
                <a:gd name="T3" fmla="*/ 8 h 31"/>
                <a:gd name="T4" fmla="*/ 0 w 19"/>
                <a:gd name="T5" fmla="*/ 22 h 31"/>
                <a:gd name="T6" fmla="*/ 1 w 19"/>
                <a:gd name="T7" fmla="*/ 29 h 31"/>
                <a:gd name="T8" fmla="*/ 6 w 19"/>
                <a:gd name="T9" fmla="*/ 31 h 31"/>
                <a:gd name="T10" fmla="*/ 15 w 19"/>
                <a:gd name="T11" fmla="*/ 22 h 31"/>
                <a:gd name="T12" fmla="*/ 19 w 19"/>
                <a:gd name="T13" fmla="*/ 7 h 31"/>
                <a:gd name="T14" fmla="*/ 18 w 19"/>
                <a:gd name="T15" fmla="*/ 2 h 31"/>
                <a:gd name="T16" fmla="*/ 13 w 19"/>
                <a:gd name="T17" fmla="*/ 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31">
                  <a:moveTo>
                    <a:pt x="13" y="0"/>
                  </a:moveTo>
                  <a:cubicBezTo>
                    <a:pt x="10" y="0"/>
                    <a:pt x="7" y="3"/>
                    <a:pt x="4" y="8"/>
                  </a:cubicBezTo>
                  <a:cubicBezTo>
                    <a:pt x="1" y="13"/>
                    <a:pt x="0" y="18"/>
                    <a:pt x="0" y="22"/>
                  </a:cubicBezTo>
                  <a:cubicBezTo>
                    <a:pt x="0" y="25"/>
                    <a:pt x="0" y="27"/>
                    <a:pt x="1" y="29"/>
                  </a:cubicBezTo>
                  <a:cubicBezTo>
                    <a:pt x="3" y="30"/>
                    <a:pt x="4" y="31"/>
                    <a:pt x="6" y="31"/>
                  </a:cubicBezTo>
                  <a:cubicBezTo>
                    <a:pt x="10" y="31"/>
                    <a:pt x="13" y="28"/>
                    <a:pt x="15" y="22"/>
                  </a:cubicBezTo>
                  <a:cubicBezTo>
                    <a:pt x="18" y="16"/>
                    <a:pt x="19" y="10"/>
                    <a:pt x="19" y="7"/>
                  </a:cubicBezTo>
                  <a:cubicBezTo>
                    <a:pt x="19" y="5"/>
                    <a:pt x="19" y="3"/>
                    <a:pt x="18" y="2"/>
                  </a:cubicBezTo>
                  <a:cubicBezTo>
                    <a:pt x="17" y="1"/>
                    <a:pt x="15" y="0"/>
                    <a:pt x="13"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9" name="Freeform 30">
              <a:extLst>
                <a:ext uri="{FF2B5EF4-FFF2-40B4-BE49-F238E27FC236}">
                  <a16:creationId xmlns:a16="http://schemas.microsoft.com/office/drawing/2014/main" xmlns="" id="{D863529C-EDFA-4137-A6EB-5487724CD5C6}"/>
                </a:ext>
              </a:extLst>
            </p:cNvPr>
            <p:cNvSpPr>
              <a:spLocks noEditPoints="1"/>
            </p:cNvSpPr>
            <p:nvPr/>
          </p:nvSpPr>
          <p:spPr bwMode="auto">
            <a:xfrm>
              <a:off x="5065" y="2958"/>
              <a:ext cx="381" cy="378"/>
            </a:xfrm>
            <a:custGeom>
              <a:avLst/>
              <a:gdLst>
                <a:gd name="T0" fmla="*/ 81 w 161"/>
                <a:gd name="T1" fmla="*/ 0 h 160"/>
                <a:gd name="T2" fmla="*/ 0 w 161"/>
                <a:gd name="T3" fmla="*/ 80 h 160"/>
                <a:gd name="T4" fmla="*/ 81 w 161"/>
                <a:gd name="T5" fmla="*/ 160 h 160"/>
                <a:gd name="T6" fmla="*/ 161 w 161"/>
                <a:gd name="T7" fmla="*/ 80 h 160"/>
                <a:gd name="T8" fmla="*/ 81 w 161"/>
                <a:gd name="T9" fmla="*/ 0 h 160"/>
                <a:gd name="T10" fmla="*/ 99 w 161"/>
                <a:gd name="T11" fmla="*/ 93 h 160"/>
                <a:gd name="T12" fmla="*/ 101 w 161"/>
                <a:gd name="T13" fmla="*/ 94 h 160"/>
                <a:gd name="T14" fmla="*/ 111 w 161"/>
                <a:gd name="T15" fmla="*/ 87 h 160"/>
                <a:gd name="T16" fmla="*/ 116 w 161"/>
                <a:gd name="T17" fmla="*/ 70 h 160"/>
                <a:gd name="T18" fmla="*/ 102 w 161"/>
                <a:gd name="T19" fmla="*/ 47 h 160"/>
                <a:gd name="T20" fmla="*/ 84 w 161"/>
                <a:gd name="T21" fmla="*/ 42 h 160"/>
                <a:gd name="T22" fmla="*/ 53 w 161"/>
                <a:gd name="T23" fmla="*/ 55 h 160"/>
                <a:gd name="T24" fmla="*/ 42 w 161"/>
                <a:gd name="T25" fmla="*/ 81 h 160"/>
                <a:gd name="T26" fmla="*/ 54 w 161"/>
                <a:gd name="T27" fmla="*/ 109 h 160"/>
                <a:gd name="T28" fmla="*/ 81 w 161"/>
                <a:gd name="T29" fmla="*/ 118 h 160"/>
                <a:gd name="T30" fmla="*/ 101 w 161"/>
                <a:gd name="T31" fmla="*/ 114 h 160"/>
                <a:gd name="T32" fmla="*/ 112 w 161"/>
                <a:gd name="T33" fmla="*/ 107 h 160"/>
                <a:gd name="T34" fmla="*/ 113 w 161"/>
                <a:gd name="T35" fmla="*/ 106 h 160"/>
                <a:gd name="T36" fmla="*/ 114 w 161"/>
                <a:gd name="T37" fmla="*/ 106 h 160"/>
                <a:gd name="T38" fmla="*/ 115 w 161"/>
                <a:gd name="T39" fmla="*/ 107 h 160"/>
                <a:gd name="T40" fmla="*/ 119 w 161"/>
                <a:gd name="T41" fmla="*/ 113 h 160"/>
                <a:gd name="T42" fmla="*/ 119 w 161"/>
                <a:gd name="T43" fmla="*/ 115 h 160"/>
                <a:gd name="T44" fmla="*/ 101 w 161"/>
                <a:gd name="T45" fmla="*/ 125 h 160"/>
                <a:gd name="T46" fmla="*/ 80 w 161"/>
                <a:gd name="T47" fmla="*/ 129 h 160"/>
                <a:gd name="T48" fmla="*/ 42 w 161"/>
                <a:gd name="T49" fmla="*/ 112 h 160"/>
                <a:gd name="T50" fmla="*/ 31 w 161"/>
                <a:gd name="T51" fmla="*/ 81 h 160"/>
                <a:gd name="T52" fmla="*/ 45 w 161"/>
                <a:gd name="T53" fmla="*/ 46 h 160"/>
                <a:gd name="T54" fmla="*/ 83 w 161"/>
                <a:gd name="T55" fmla="*/ 31 h 160"/>
                <a:gd name="T56" fmla="*/ 113 w 161"/>
                <a:gd name="T57" fmla="*/ 42 h 160"/>
                <a:gd name="T58" fmla="*/ 126 w 161"/>
                <a:gd name="T59" fmla="*/ 71 h 160"/>
                <a:gd name="T60" fmla="*/ 118 w 161"/>
                <a:gd name="T61" fmla="*/ 95 h 160"/>
                <a:gd name="T62" fmla="*/ 99 w 161"/>
                <a:gd name="T63" fmla="*/ 105 h 160"/>
                <a:gd name="T64" fmla="*/ 90 w 161"/>
                <a:gd name="T65" fmla="*/ 102 h 160"/>
                <a:gd name="T66" fmla="*/ 87 w 161"/>
                <a:gd name="T67" fmla="*/ 96 h 160"/>
                <a:gd name="T68" fmla="*/ 84 w 161"/>
                <a:gd name="T69" fmla="*/ 100 h 160"/>
                <a:gd name="T70" fmla="*/ 71 w 161"/>
                <a:gd name="T71" fmla="*/ 105 h 160"/>
                <a:gd name="T72" fmla="*/ 59 w 161"/>
                <a:gd name="T73" fmla="*/ 100 h 160"/>
                <a:gd name="T74" fmla="*/ 54 w 161"/>
                <a:gd name="T75" fmla="*/ 84 h 160"/>
                <a:gd name="T76" fmla="*/ 61 w 161"/>
                <a:gd name="T77" fmla="*/ 63 h 160"/>
                <a:gd name="T78" fmla="*/ 80 w 161"/>
                <a:gd name="T79" fmla="*/ 53 h 160"/>
                <a:gd name="T80" fmla="*/ 90 w 161"/>
                <a:gd name="T81" fmla="*/ 57 h 160"/>
                <a:gd name="T82" fmla="*/ 92 w 161"/>
                <a:gd name="T83" fmla="*/ 60 h 160"/>
                <a:gd name="T84" fmla="*/ 94 w 161"/>
                <a:gd name="T85" fmla="*/ 56 h 160"/>
                <a:gd name="T86" fmla="*/ 95 w 161"/>
                <a:gd name="T87" fmla="*/ 55 h 160"/>
                <a:gd name="T88" fmla="*/ 106 w 161"/>
                <a:gd name="T89" fmla="*/ 55 h 160"/>
                <a:gd name="T90" fmla="*/ 106 w 161"/>
                <a:gd name="T91" fmla="*/ 55 h 160"/>
                <a:gd name="T92" fmla="*/ 107 w 161"/>
                <a:gd name="T93" fmla="*/ 56 h 160"/>
                <a:gd name="T94" fmla="*/ 99 w 161"/>
                <a:gd name="T95" fmla="*/ 83 h 160"/>
                <a:gd name="T96" fmla="*/ 98 w 161"/>
                <a:gd name="T97" fmla="*/ 87 h 160"/>
                <a:gd name="T98" fmla="*/ 98 w 161"/>
                <a:gd name="T99" fmla="*/ 90 h 160"/>
                <a:gd name="T100" fmla="*/ 99 w 161"/>
                <a:gd name="T101" fmla="*/ 9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61" h="160">
                  <a:moveTo>
                    <a:pt x="81" y="0"/>
                  </a:moveTo>
                  <a:cubicBezTo>
                    <a:pt x="36" y="0"/>
                    <a:pt x="0" y="36"/>
                    <a:pt x="0" y="80"/>
                  </a:cubicBezTo>
                  <a:cubicBezTo>
                    <a:pt x="0" y="124"/>
                    <a:pt x="36" y="160"/>
                    <a:pt x="81" y="160"/>
                  </a:cubicBezTo>
                  <a:cubicBezTo>
                    <a:pt x="125" y="160"/>
                    <a:pt x="161" y="124"/>
                    <a:pt x="161" y="80"/>
                  </a:cubicBezTo>
                  <a:cubicBezTo>
                    <a:pt x="161" y="36"/>
                    <a:pt x="125" y="0"/>
                    <a:pt x="81" y="0"/>
                  </a:cubicBezTo>
                  <a:close/>
                  <a:moveTo>
                    <a:pt x="99" y="93"/>
                  </a:moveTo>
                  <a:cubicBezTo>
                    <a:pt x="99" y="94"/>
                    <a:pt x="100" y="94"/>
                    <a:pt x="101" y="94"/>
                  </a:cubicBezTo>
                  <a:cubicBezTo>
                    <a:pt x="104" y="94"/>
                    <a:pt x="108" y="92"/>
                    <a:pt x="111" y="87"/>
                  </a:cubicBezTo>
                  <a:cubicBezTo>
                    <a:pt x="114" y="83"/>
                    <a:pt x="116" y="77"/>
                    <a:pt x="116" y="70"/>
                  </a:cubicBezTo>
                  <a:cubicBezTo>
                    <a:pt x="116" y="59"/>
                    <a:pt x="111" y="51"/>
                    <a:pt x="102" y="47"/>
                  </a:cubicBezTo>
                  <a:cubicBezTo>
                    <a:pt x="97" y="44"/>
                    <a:pt x="90" y="42"/>
                    <a:pt x="84" y="42"/>
                  </a:cubicBezTo>
                  <a:cubicBezTo>
                    <a:pt x="71" y="42"/>
                    <a:pt x="60" y="46"/>
                    <a:pt x="53" y="55"/>
                  </a:cubicBezTo>
                  <a:cubicBezTo>
                    <a:pt x="46" y="62"/>
                    <a:pt x="42" y="71"/>
                    <a:pt x="42" y="81"/>
                  </a:cubicBezTo>
                  <a:cubicBezTo>
                    <a:pt x="42" y="93"/>
                    <a:pt x="46" y="102"/>
                    <a:pt x="54" y="109"/>
                  </a:cubicBezTo>
                  <a:cubicBezTo>
                    <a:pt x="62" y="115"/>
                    <a:pt x="71" y="118"/>
                    <a:pt x="81" y="118"/>
                  </a:cubicBezTo>
                  <a:cubicBezTo>
                    <a:pt x="88" y="118"/>
                    <a:pt x="95" y="116"/>
                    <a:pt x="101" y="114"/>
                  </a:cubicBezTo>
                  <a:cubicBezTo>
                    <a:pt x="105" y="112"/>
                    <a:pt x="108" y="110"/>
                    <a:pt x="112" y="107"/>
                  </a:cubicBezTo>
                  <a:cubicBezTo>
                    <a:pt x="113" y="106"/>
                    <a:pt x="113" y="106"/>
                    <a:pt x="113" y="106"/>
                  </a:cubicBezTo>
                  <a:cubicBezTo>
                    <a:pt x="113" y="106"/>
                    <a:pt x="114" y="106"/>
                    <a:pt x="114" y="106"/>
                  </a:cubicBezTo>
                  <a:cubicBezTo>
                    <a:pt x="114" y="106"/>
                    <a:pt x="114" y="106"/>
                    <a:pt x="115" y="107"/>
                  </a:cubicBezTo>
                  <a:cubicBezTo>
                    <a:pt x="119" y="113"/>
                    <a:pt x="119" y="113"/>
                    <a:pt x="119" y="113"/>
                  </a:cubicBezTo>
                  <a:cubicBezTo>
                    <a:pt x="119" y="114"/>
                    <a:pt x="119" y="114"/>
                    <a:pt x="119" y="115"/>
                  </a:cubicBezTo>
                  <a:cubicBezTo>
                    <a:pt x="113" y="119"/>
                    <a:pt x="107" y="123"/>
                    <a:pt x="101" y="125"/>
                  </a:cubicBezTo>
                  <a:cubicBezTo>
                    <a:pt x="94" y="127"/>
                    <a:pt x="87" y="129"/>
                    <a:pt x="80" y="129"/>
                  </a:cubicBezTo>
                  <a:cubicBezTo>
                    <a:pt x="64" y="129"/>
                    <a:pt x="51" y="123"/>
                    <a:pt x="42" y="112"/>
                  </a:cubicBezTo>
                  <a:cubicBezTo>
                    <a:pt x="35" y="104"/>
                    <a:pt x="31" y="93"/>
                    <a:pt x="31" y="81"/>
                  </a:cubicBezTo>
                  <a:cubicBezTo>
                    <a:pt x="31" y="67"/>
                    <a:pt x="36" y="56"/>
                    <a:pt x="45" y="46"/>
                  </a:cubicBezTo>
                  <a:cubicBezTo>
                    <a:pt x="55" y="36"/>
                    <a:pt x="67" y="31"/>
                    <a:pt x="83" y="31"/>
                  </a:cubicBezTo>
                  <a:cubicBezTo>
                    <a:pt x="95" y="31"/>
                    <a:pt x="105" y="35"/>
                    <a:pt x="113" y="42"/>
                  </a:cubicBezTo>
                  <a:cubicBezTo>
                    <a:pt x="122" y="49"/>
                    <a:pt x="126" y="59"/>
                    <a:pt x="126" y="71"/>
                  </a:cubicBezTo>
                  <a:cubicBezTo>
                    <a:pt x="126" y="80"/>
                    <a:pt x="124" y="88"/>
                    <a:pt x="118" y="95"/>
                  </a:cubicBezTo>
                  <a:cubicBezTo>
                    <a:pt x="113" y="102"/>
                    <a:pt x="106" y="105"/>
                    <a:pt x="99" y="105"/>
                  </a:cubicBezTo>
                  <a:cubicBezTo>
                    <a:pt x="95" y="105"/>
                    <a:pt x="92" y="104"/>
                    <a:pt x="90" y="102"/>
                  </a:cubicBezTo>
                  <a:cubicBezTo>
                    <a:pt x="89" y="100"/>
                    <a:pt x="88" y="98"/>
                    <a:pt x="87" y="96"/>
                  </a:cubicBezTo>
                  <a:cubicBezTo>
                    <a:pt x="86" y="98"/>
                    <a:pt x="85" y="99"/>
                    <a:pt x="84" y="100"/>
                  </a:cubicBezTo>
                  <a:cubicBezTo>
                    <a:pt x="80" y="103"/>
                    <a:pt x="76" y="105"/>
                    <a:pt x="71" y="105"/>
                  </a:cubicBezTo>
                  <a:cubicBezTo>
                    <a:pt x="67" y="105"/>
                    <a:pt x="62" y="103"/>
                    <a:pt x="59" y="100"/>
                  </a:cubicBezTo>
                  <a:cubicBezTo>
                    <a:pt x="56" y="96"/>
                    <a:pt x="54" y="91"/>
                    <a:pt x="54" y="84"/>
                  </a:cubicBezTo>
                  <a:cubicBezTo>
                    <a:pt x="54" y="77"/>
                    <a:pt x="57" y="69"/>
                    <a:pt x="61" y="63"/>
                  </a:cubicBezTo>
                  <a:cubicBezTo>
                    <a:pt x="66" y="56"/>
                    <a:pt x="73" y="53"/>
                    <a:pt x="80" y="53"/>
                  </a:cubicBezTo>
                  <a:cubicBezTo>
                    <a:pt x="84" y="53"/>
                    <a:pt x="87" y="54"/>
                    <a:pt x="90" y="57"/>
                  </a:cubicBezTo>
                  <a:cubicBezTo>
                    <a:pt x="91" y="58"/>
                    <a:pt x="92" y="59"/>
                    <a:pt x="92" y="60"/>
                  </a:cubicBezTo>
                  <a:cubicBezTo>
                    <a:pt x="94" y="56"/>
                    <a:pt x="94" y="56"/>
                    <a:pt x="94" y="56"/>
                  </a:cubicBezTo>
                  <a:cubicBezTo>
                    <a:pt x="94" y="55"/>
                    <a:pt x="94" y="55"/>
                    <a:pt x="95" y="55"/>
                  </a:cubicBezTo>
                  <a:cubicBezTo>
                    <a:pt x="106" y="55"/>
                    <a:pt x="106" y="55"/>
                    <a:pt x="106" y="55"/>
                  </a:cubicBezTo>
                  <a:cubicBezTo>
                    <a:pt x="106" y="55"/>
                    <a:pt x="106" y="55"/>
                    <a:pt x="106" y="55"/>
                  </a:cubicBezTo>
                  <a:cubicBezTo>
                    <a:pt x="107" y="56"/>
                    <a:pt x="107" y="56"/>
                    <a:pt x="107" y="56"/>
                  </a:cubicBezTo>
                  <a:cubicBezTo>
                    <a:pt x="99" y="83"/>
                    <a:pt x="99" y="83"/>
                    <a:pt x="99" y="83"/>
                  </a:cubicBezTo>
                  <a:cubicBezTo>
                    <a:pt x="99" y="85"/>
                    <a:pt x="98" y="86"/>
                    <a:pt x="98" y="87"/>
                  </a:cubicBezTo>
                  <a:cubicBezTo>
                    <a:pt x="98" y="88"/>
                    <a:pt x="98" y="89"/>
                    <a:pt x="98" y="90"/>
                  </a:cubicBezTo>
                  <a:cubicBezTo>
                    <a:pt x="98" y="91"/>
                    <a:pt x="98" y="92"/>
                    <a:pt x="99" y="9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40" name="Freeform 63">
            <a:extLst>
              <a:ext uri="{FF2B5EF4-FFF2-40B4-BE49-F238E27FC236}">
                <a16:creationId xmlns:a16="http://schemas.microsoft.com/office/drawing/2014/main" xmlns="" id="{5FD748B4-D6F7-4905-94FF-F793BFA3D718}"/>
              </a:ext>
            </a:extLst>
          </p:cNvPr>
          <p:cNvSpPr>
            <a:spLocks noChangeAspect="1" noEditPoints="1"/>
          </p:cNvSpPr>
          <p:nvPr/>
        </p:nvSpPr>
        <p:spPr bwMode="auto">
          <a:xfrm>
            <a:off x="4880478" y="3523861"/>
            <a:ext cx="439090" cy="360865"/>
          </a:xfrm>
          <a:custGeom>
            <a:avLst/>
            <a:gdLst>
              <a:gd name="T0" fmla="*/ 65 w 228"/>
              <a:gd name="T1" fmla="*/ 223 h 227"/>
              <a:gd name="T2" fmla="*/ 122 w 228"/>
              <a:gd name="T3" fmla="*/ 29 h 227"/>
              <a:gd name="T4" fmla="*/ 174 w 228"/>
              <a:gd name="T5" fmla="*/ 53 h 227"/>
              <a:gd name="T6" fmla="*/ 199 w 228"/>
              <a:gd name="T7" fmla="*/ 105 h 227"/>
              <a:gd name="T8" fmla="*/ 64 w 228"/>
              <a:gd name="T9" fmla="*/ 122 h 227"/>
              <a:gd name="T10" fmla="*/ 98 w 228"/>
              <a:gd name="T11" fmla="*/ 130 h 227"/>
              <a:gd name="T12" fmla="*/ 99 w 228"/>
              <a:gd name="T13" fmla="*/ 144 h 227"/>
              <a:gd name="T14" fmla="*/ 105 w 228"/>
              <a:gd name="T15" fmla="*/ 149 h 227"/>
              <a:gd name="T16" fmla="*/ 119 w 228"/>
              <a:gd name="T17" fmla="*/ 150 h 227"/>
              <a:gd name="T18" fmla="*/ 45 w 228"/>
              <a:gd name="T19" fmla="*/ 140 h 227"/>
              <a:gd name="T20" fmla="*/ 79 w 228"/>
              <a:gd name="T21" fmla="*/ 148 h 227"/>
              <a:gd name="T22" fmla="*/ 80 w 228"/>
              <a:gd name="T23" fmla="*/ 162 h 227"/>
              <a:gd name="T24" fmla="*/ 86 w 228"/>
              <a:gd name="T25" fmla="*/ 168 h 227"/>
              <a:gd name="T26" fmla="*/ 100 w 228"/>
              <a:gd name="T27" fmla="*/ 169 h 227"/>
              <a:gd name="T28" fmla="*/ 27 w 228"/>
              <a:gd name="T29" fmla="*/ 159 h 227"/>
              <a:gd name="T30" fmla="*/ 60 w 228"/>
              <a:gd name="T31" fmla="*/ 167 h 227"/>
              <a:gd name="T32" fmla="*/ 62 w 228"/>
              <a:gd name="T33" fmla="*/ 181 h 227"/>
              <a:gd name="T34" fmla="*/ 67 w 228"/>
              <a:gd name="T35" fmla="*/ 187 h 227"/>
              <a:gd name="T36" fmla="*/ 81 w 228"/>
              <a:gd name="T37" fmla="*/ 188 h 227"/>
              <a:gd name="T38" fmla="*/ 224 w 228"/>
              <a:gd name="T39" fmla="*/ 67 h 227"/>
              <a:gd name="T40" fmla="*/ 165 w 228"/>
              <a:gd name="T41" fmla="*/ 0 h 227"/>
              <a:gd name="T42" fmla="*/ 162 w 228"/>
              <a:gd name="T43" fmla="*/ 1 h 227"/>
              <a:gd name="T44" fmla="*/ 161 w 228"/>
              <a:gd name="T45" fmla="*/ 1 h 227"/>
              <a:gd name="T46" fmla="*/ 161 w 228"/>
              <a:gd name="T47" fmla="*/ 1 h 227"/>
              <a:gd name="T48" fmla="*/ 161 w 228"/>
              <a:gd name="T49" fmla="*/ 2 h 227"/>
              <a:gd name="T50" fmla="*/ 160 w 228"/>
              <a:gd name="T51" fmla="*/ 4 h 227"/>
              <a:gd name="T52" fmla="*/ 162 w 228"/>
              <a:gd name="T53" fmla="*/ 7 h 227"/>
              <a:gd name="T54" fmla="*/ 165 w 228"/>
              <a:gd name="T55" fmla="*/ 8 h 227"/>
              <a:gd name="T56" fmla="*/ 165 w 228"/>
              <a:gd name="T57" fmla="*/ 6 h 227"/>
              <a:gd name="T58" fmla="*/ 165 w 228"/>
              <a:gd name="T59" fmla="*/ 6 h 227"/>
              <a:gd name="T60" fmla="*/ 165 w 228"/>
              <a:gd name="T61" fmla="*/ 6 h 227"/>
              <a:gd name="T62" fmla="*/ 164 w 228"/>
              <a:gd name="T63" fmla="*/ 6 h 227"/>
              <a:gd name="T64" fmla="*/ 164 w 228"/>
              <a:gd name="T65" fmla="*/ 6 h 227"/>
              <a:gd name="T66" fmla="*/ 162 w 228"/>
              <a:gd name="T67" fmla="*/ 4 h 227"/>
              <a:gd name="T68" fmla="*/ 162 w 228"/>
              <a:gd name="T69" fmla="*/ 4 h 227"/>
              <a:gd name="T70" fmla="*/ 162 w 228"/>
              <a:gd name="T71" fmla="*/ 2 h 227"/>
              <a:gd name="T72" fmla="*/ 202 w 228"/>
              <a:gd name="T73" fmla="*/ 66 h 227"/>
              <a:gd name="T74" fmla="*/ 206 w 228"/>
              <a:gd name="T75" fmla="*/ 62 h 227"/>
              <a:gd name="T76" fmla="*/ 161 w 228"/>
              <a:gd name="T77" fmla="*/ 25 h 227"/>
              <a:gd name="T78" fmla="*/ 165 w 228"/>
              <a:gd name="T79" fmla="*/ 30 h 227"/>
              <a:gd name="T80" fmla="*/ 153 w 228"/>
              <a:gd name="T81" fmla="*/ 74 h 227"/>
              <a:gd name="T82" fmla="*/ 153 w 228"/>
              <a:gd name="T83" fmla="*/ 119 h 227"/>
              <a:gd name="T84" fmla="*/ 121 w 228"/>
              <a:gd name="T85" fmla="*/ 86 h 227"/>
              <a:gd name="T86" fmla="*/ 141 w 228"/>
              <a:gd name="T87" fmla="*/ 86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28" h="227">
                <a:moveTo>
                  <a:pt x="199" y="105"/>
                </a:moveTo>
                <a:cubicBezTo>
                  <a:pt x="81" y="223"/>
                  <a:pt x="81" y="223"/>
                  <a:pt x="81" y="223"/>
                </a:cubicBezTo>
                <a:cubicBezTo>
                  <a:pt x="76" y="227"/>
                  <a:pt x="69" y="227"/>
                  <a:pt x="65" y="223"/>
                </a:cubicBezTo>
                <a:cubicBezTo>
                  <a:pt x="4" y="162"/>
                  <a:pt x="4" y="162"/>
                  <a:pt x="4" y="162"/>
                </a:cubicBezTo>
                <a:cubicBezTo>
                  <a:pt x="0" y="158"/>
                  <a:pt x="0" y="151"/>
                  <a:pt x="4" y="147"/>
                </a:cubicBezTo>
                <a:cubicBezTo>
                  <a:pt x="122" y="29"/>
                  <a:pt x="122" y="29"/>
                  <a:pt x="122" y="29"/>
                </a:cubicBezTo>
                <a:cubicBezTo>
                  <a:pt x="126" y="25"/>
                  <a:pt x="133" y="25"/>
                  <a:pt x="138" y="29"/>
                </a:cubicBezTo>
                <a:cubicBezTo>
                  <a:pt x="159" y="50"/>
                  <a:pt x="159" y="50"/>
                  <a:pt x="159" y="50"/>
                </a:cubicBezTo>
                <a:cubicBezTo>
                  <a:pt x="164" y="48"/>
                  <a:pt x="170" y="49"/>
                  <a:pt x="174" y="53"/>
                </a:cubicBezTo>
                <a:cubicBezTo>
                  <a:pt x="179" y="57"/>
                  <a:pt x="179" y="63"/>
                  <a:pt x="177" y="69"/>
                </a:cubicBezTo>
                <a:cubicBezTo>
                  <a:pt x="199" y="90"/>
                  <a:pt x="199" y="90"/>
                  <a:pt x="199" y="90"/>
                </a:cubicBezTo>
                <a:cubicBezTo>
                  <a:pt x="203" y="94"/>
                  <a:pt x="203" y="101"/>
                  <a:pt x="199" y="105"/>
                </a:cubicBezTo>
                <a:close/>
                <a:moveTo>
                  <a:pt x="77" y="109"/>
                </a:moveTo>
                <a:cubicBezTo>
                  <a:pt x="73" y="104"/>
                  <a:pt x="67" y="104"/>
                  <a:pt x="63" y="107"/>
                </a:cubicBezTo>
                <a:cubicBezTo>
                  <a:pt x="59" y="111"/>
                  <a:pt x="60" y="117"/>
                  <a:pt x="64" y="122"/>
                </a:cubicBezTo>
                <a:cubicBezTo>
                  <a:pt x="68" y="126"/>
                  <a:pt x="75" y="126"/>
                  <a:pt x="78" y="123"/>
                </a:cubicBezTo>
                <a:cubicBezTo>
                  <a:pt x="82" y="119"/>
                  <a:pt x="81" y="113"/>
                  <a:pt x="77" y="109"/>
                </a:cubicBezTo>
                <a:close/>
                <a:moveTo>
                  <a:pt x="98" y="130"/>
                </a:moveTo>
                <a:cubicBezTo>
                  <a:pt x="94" y="125"/>
                  <a:pt x="87" y="125"/>
                  <a:pt x="84" y="128"/>
                </a:cubicBezTo>
                <a:cubicBezTo>
                  <a:pt x="80" y="132"/>
                  <a:pt x="81" y="138"/>
                  <a:pt x="85" y="142"/>
                </a:cubicBezTo>
                <a:cubicBezTo>
                  <a:pt x="89" y="147"/>
                  <a:pt x="96" y="147"/>
                  <a:pt x="99" y="144"/>
                </a:cubicBezTo>
                <a:cubicBezTo>
                  <a:pt x="103" y="140"/>
                  <a:pt x="102" y="134"/>
                  <a:pt x="98" y="130"/>
                </a:cubicBezTo>
                <a:close/>
                <a:moveTo>
                  <a:pt x="119" y="150"/>
                </a:moveTo>
                <a:cubicBezTo>
                  <a:pt x="115" y="146"/>
                  <a:pt x="108" y="146"/>
                  <a:pt x="105" y="149"/>
                </a:cubicBezTo>
                <a:cubicBezTo>
                  <a:pt x="101" y="153"/>
                  <a:pt x="102" y="159"/>
                  <a:pt x="106" y="163"/>
                </a:cubicBezTo>
                <a:cubicBezTo>
                  <a:pt x="110" y="168"/>
                  <a:pt x="117" y="168"/>
                  <a:pt x="120" y="165"/>
                </a:cubicBezTo>
                <a:cubicBezTo>
                  <a:pt x="124" y="161"/>
                  <a:pt x="123" y="155"/>
                  <a:pt x="119" y="150"/>
                </a:cubicBezTo>
                <a:close/>
                <a:moveTo>
                  <a:pt x="58" y="127"/>
                </a:moveTo>
                <a:cubicBezTo>
                  <a:pt x="54" y="123"/>
                  <a:pt x="48" y="123"/>
                  <a:pt x="44" y="126"/>
                </a:cubicBezTo>
                <a:cubicBezTo>
                  <a:pt x="41" y="130"/>
                  <a:pt x="41" y="136"/>
                  <a:pt x="45" y="140"/>
                </a:cubicBezTo>
                <a:cubicBezTo>
                  <a:pt x="50" y="145"/>
                  <a:pt x="56" y="145"/>
                  <a:pt x="60" y="142"/>
                </a:cubicBezTo>
                <a:cubicBezTo>
                  <a:pt x="63" y="138"/>
                  <a:pt x="63" y="132"/>
                  <a:pt x="58" y="127"/>
                </a:cubicBezTo>
                <a:close/>
                <a:moveTo>
                  <a:pt x="79" y="148"/>
                </a:moveTo>
                <a:cubicBezTo>
                  <a:pt x="75" y="144"/>
                  <a:pt x="69" y="144"/>
                  <a:pt x="65" y="147"/>
                </a:cubicBezTo>
                <a:cubicBezTo>
                  <a:pt x="62" y="151"/>
                  <a:pt x="62" y="157"/>
                  <a:pt x="66" y="161"/>
                </a:cubicBezTo>
                <a:cubicBezTo>
                  <a:pt x="71" y="165"/>
                  <a:pt x="77" y="166"/>
                  <a:pt x="80" y="162"/>
                </a:cubicBezTo>
                <a:cubicBezTo>
                  <a:pt x="84" y="159"/>
                  <a:pt x="83" y="153"/>
                  <a:pt x="79" y="148"/>
                </a:cubicBezTo>
                <a:close/>
                <a:moveTo>
                  <a:pt x="100" y="169"/>
                </a:moveTo>
                <a:cubicBezTo>
                  <a:pt x="96" y="165"/>
                  <a:pt x="89" y="164"/>
                  <a:pt x="86" y="168"/>
                </a:cubicBezTo>
                <a:cubicBezTo>
                  <a:pt x="82" y="171"/>
                  <a:pt x="83" y="178"/>
                  <a:pt x="87" y="182"/>
                </a:cubicBezTo>
                <a:cubicBezTo>
                  <a:pt x="91" y="186"/>
                  <a:pt x="98" y="187"/>
                  <a:pt x="101" y="183"/>
                </a:cubicBezTo>
                <a:cubicBezTo>
                  <a:pt x="105" y="180"/>
                  <a:pt x="104" y="173"/>
                  <a:pt x="100" y="169"/>
                </a:cubicBezTo>
                <a:close/>
                <a:moveTo>
                  <a:pt x="40" y="146"/>
                </a:moveTo>
                <a:cubicBezTo>
                  <a:pt x="35" y="142"/>
                  <a:pt x="29" y="141"/>
                  <a:pt x="25" y="145"/>
                </a:cubicBezTo>
                <a:cubicBezTo>
                  <a:pt x="22" y="149"/>
                  <a:pt x="22" y="155"/>
                  <a:pt x="27" y="159"/>
                </a:cubicBezTo>
                <a:cubicBezTo>
                  <a:pt x="31" y="163"/>
                  <a:pt x="37" y="164"/>
                  <a:pt x="41" y="160"/>
                </a:cubicBezTo>
                <a:cubicBezTo>
                  <a:pt x="44" y="157"/>
                  <a:pt x="44" y="150"/>
                  <a:pt x="40" y="146"/>
                </a:cubicBezTo>
                <a:close/>
                <a:moveTo>
                  <a:pt x="60" y="167"/>
                </a:moveTo>
                <a:cubicBezTo>
                  <a:pt x="56" y="163"/>
                  <a:pt x="50" y="162"/>
                  <a:pt x="46" y="166"/>
                </a:cubicBezTo>
                <a:cubicBezTo>
                  <a:pt x="43" y="169"/>
                  <a:pt x="43" y="176"/>
                  <a:pt x="48" y="180"/>
                </a:cubicBezTo>
                <a:cubicBezTo>
                  <a:pt x="52" y="184"/>
                  <a:pt x="58" y="185"/>
                  <a:pt x="62" y="181"/>
                </a:cubicBezTo>
                <a:cubicBezTo>
                  <a:pt x="65" y="178"/>
                  <a:pt x="65" y="171"/>
                  <a:pt x="60" y="167"/>
                </a:cubicBezTo>
                <a:close/>
                <a:moveTo>
                  <a:pt x="81" y="188"/>
                </a:moveTo>
                <a:cubicBezTo>
                  <a:pt x="77" y="184"/>
                  <a:pt x="71" y="183"/>
                  <a:pt x="67" y="187"/>
                </a:cubicBezTo>
                <a:cubicBezTo>
                  <a:pt x="64" y="190"/>
                  <a:pt x="64" y="197"/>
                  <a:pt x="68" y="201"/>
                </a:cubicBezTo>
                <a:cubicBezTo>
                  <a:pt x="73" y="205"/>
                  <a:pt x="79" y="206"/>
                  <a:pt x="83" y="202"/>
                </a:cubicBezTo>
                <a:cubicBezTo>
                  <a:pt x="86" y="199"/>
                  <a:pt x="86" y="192"/>
                  <a:pt x="81" y="188"/>
                </a:cubicBezTo>
                <a:close/>
                <a:moveTo>
                  <a:pt x="219" y="63"/>
                </a:moveTo>
                <a:cubicBezTo>
                  <a:pt x="219" y="65"/>
                  <a:pt x="221" y="67"/>
                  <a:pt x="224" y="67"/>
                </a:cubicBezTo>
                <a:cubicBezTo>
                  <a:pt x="224" y="67"/>
                  <a:pt x="224" y="67"/>
                  <a:pt x="224" y="67"/>
                </a:cubicBezTo>
                <a:cubicBezTo>
                  <a:pt x="226" y="67"/>
                  <a:pt x="228" y="65"/>
                  <a:pt x="228" y="63"/>
                </a:cubicBezTo>
                <a:cubicBezTo>
                  <a:pt x="228" y="63"/>
                  <a:pt x="228" y="63"/>
                  <a:pt x="228" y="63"/>
                </a:cubicBezTo>
                <a:cubicBezTo>
                  <a:pt x="228" y="28"/>
                  <a:pt x="200" y="0"/>
                  <a:pt x="165" y="0"/>
                </a:cubicBezTo>
                <a:cubicBezTo>
                  <a:pt x="165" y="0"/>
                  <a:pt x="165" y="0"/>
                  <a:pt x="165" y="0"/>
                </a:cubicBezTo>
                <a:cubicBezTo>
                  <a:pt x="163" y="0"/>
                  <a:pt x="162" y="0"/>
                  <a:pt x="162" y="1"/>
                </a:cubicBezTo>
                <a:cubicBezTo>
                  <a:pt x="162" y="1"/>
                  <a:pt x="162" y="1"/>
                  <a:pt x="162" y="1"/>
                </a:cubicBezTo>
                <a:cubicBezTo>
                  <a:pt x="162" y="1"/>
                  <a:pt x="161" y="1"/>
                  <a:pt x="161" y="1"/>
                </a:cubicBezTo>
                <a:cubicBezTo>
                  <a:pt x="161" y="1"/>
                  <a:pt x="161" y="1"/>
                  <a:pt x="161" y="1"/>
                </a:cubicBezTo>
                <a:cubicBezTo>
                  <a:pt x="161" y="1"/>
                  <a:pt x="161" y="1"/>
                  <a:pt x="161" y="1"/>
                </a:cubicBezTo>
                <a:cubicBezTo>
                  <a:pt x="161" y="1"/>
                  <a:pt x="161" y="1"/>
                  <a:pt x="161" y="1"/>
                </a:cubicBezTo>
                <a:cubicBezTo>
                  <a:pt x="161" y="1"/>
                  <a:pt x="161" y="1"/>
                  <a:pt x="161" y="1"/>
                </a:cubicBezTo>
                <a:cubicBezTo>
                  <a:pt x="161" y="1"/>
                  <a:pt x="161" y="1"/>
                  <a:pt x="161" y="1"/>
                </a:cubicBezTo>
                <a:cubicBezTo>
                  <a:pt x="161" y="2"/>
                  <a:pt x="161" y="2"/>
                  <a:pt x="160" y="3"/>
                </a:cubicBezTo>
                <a:cubicBezTo>
                  <a:pt x="160" y="3"/>
                  <a:pt x="160" y="3"/>
                  <a:pt x="160" y="3"/>
                </a:cubicBezTo>
                <a:cubicBezTo>
                  <a:pt x="160" y="3"/>
                  <a:pt x="160" y="3"/>
                  <a:pt x="161" y="2"/>
                </a:cubicBezTo>
                <a:cubicBezTo>
                  <a:pt x="161" y="2"/>
                  <a:pt x="161" y="2"/>
                  <a:pt x="161" y="2"/>
                </a:cubicBezTo>
                <a:cubicBezTo>
                  <a:pt x="160" y="3"/>
                  <a:pt x="160" y="3"/>
                  <a:pt x="160" y="4"/>
                </a:cubicBezTo>
                <a:cubicBezTo>
                  <a:pt x="160" y="4"/>
                  <a:pt x="160" y="4"/>
                  <a:pt x="160" y="4"/>
                </a:cubicBezTo>
                <a:cubicBezTo>
                  <a:pt x="160" y="4"/>
                  <a:pt x="160" y="4"/>
                  <a:pt x="160" y="4"/>
                </a:cubicBezTo>
                <a:cubicBezTo>
                  <a:pt x="160" y="4"/>
                  <a:pt x="160" y="4"/>
                  <a:pt x="160" y="4"/>
                </a:cubicBezTo>
                <a:cubicBezTo>
                  <a:pt x="160" y="5"/>
                  <a:pt x="161" y="6"/>
                  <a:pt x="162" y="7"/>
                </a:cubicBezTo>
                <a:cubicBezTo>
                  <a:pt x="162" y="7"/>
                  <a:pt x="162" y="7"/>
                  <a:pt x="162" y="7"/>
                </a:cubicBezTo>
                <a:cubicBezTo>
                  <a:pt x="162" y="8"/>
                  <a:pt x="164" y="8"/>
                  <a:pt x="165" y="8"/>
                </a:cubicBezTo>
                <a:cubicBezTo>
                  <a:pt x="165" y="8"/>
                  <a:pt x="165" y="8"/>
                  <a:pt x="165" y="8"/>
                </a:cubicBezTo>
                <a:cubicBezTo>
                  <a:pt x="195" y="8"/>
                  <a:pt x="219" y="33"/>
                  <a:pt x="219" y="63"/>
                </a:cubicBezTo>
                <a:close/>
                <a:moveTo>
                  <a:pt x="166" y="7"/>
                </a:moveTo>
                <a:cubicBezTo>
                  <a:pt x="166" y="7"/>
                  <a:pt x="165" y="7"/>
                  <a:pt x="165" y="6"/>
                </a:cubicBezTo>
                <a:cubicBezTo>
                  <a:pt x="165" y="6"/>
                  <a:pt x="165" y="6"/>
                  <a:pt x="165" y="6"/>
                </a:cubicBezTo>
                <a:cubicBezTo>
                  <a:pt x="165" y="7"/>
                  <a:pt x="165" y="7"/>
                  <a:pt x="166" y="7"/>
                </a:cubicBezTo>
                <a:close/>
                <a:moveTo>
                  <a:pt x="165" y="6"/>
                </a:moveTo>
                <a:cubicBezTo>
                  <a:pt x="165" y="6"/>
                  <a:pt x="165" y="6"/>
                  <a:pt x="165" y="6"/>
                </a:cubicBezTo>
                <a:cubicBezTo>
                  <a:pt x="165" y="6"/>
                  <a:pt x="165" y="6"/>
                  <a:pt x="165" y="6"/>
                </a:cubicBezTo>
                <a:cubicBezTo>
                  <a:pt x="165" y="6"/>
                  <a:pt x="165" y="6"/>
                  <a:pt x="165" y="6"/>
                </a:cubicBezTo>
                <a:close/>
                <a:moveTo>
                  <a:pt x="164" y="6"/>
                </a:moveTo>
                <a:cubicBezTo>
                  <a:pt x="164" y="6"/>
                  <a:pt x="164" y="6"/>
                  <a:pt x="164" y="6"/>
                </a:cubicBezTo>
                <a:cubicBezTo>
                  <a:pt x="164" y="6"/>
                  <a:pt x="164" y="6"/>
                  <a:pt x="164" y="6"/>
                </a:cubicBezTo>
                <a:cubicBezTo>
                  <a:pt x="164" y="6"/>
                  <a:pt x="164" y="6"/>
                  <a:pt x="164" y="6"/>
                </a:cubicBezTo>
                <a:cubicBezTo>
                  <a:pt x="164" y="6"/>
                  <a:pt x="164" y="6"/>
                  <a:pt x="164" y="6"/>
                </a:cubicBezTo>
                <a:cubicBezTo>
                  <a:pt x="164" y="6"/>
                  <a:pt x="164" y="6"/>
                  <a:pt x="164" y="6"/>
                </a:cubicBezTo>
                <a:close/>
                <a:moveTo>
                  <a:pt x="162" y="4"/>
                </a:moveTo>
                <a:cubicBezTo>
                  <a:pt x="162" y="4"/>
                  <a:pt x="162" y="4"/>
                  <a:pt x="162" y="4"/>
                </a:cubicBezTo>
                <a:cubicBezTo>
                  <a:pt x="162" y="4"/>
                  <a:pt x="162" y="4"/>
                  <a:pt x="162" y="4"/>
                </a:cubicBezTo>
                <a:cubicBezTo>
                  <a:pt x="162" y="4"/>
                  <a:pt x="162" y="5"/>
                  <a:pt x="163" y="5"/>
                </a:cubicBezTo>
                <a:cubicBezTo>
                  <a:pt x="163" y="5"/>
                  <a:pt x="163" y="5"/>
                  <a:pt x="163" y="5"/>
                </a:cubicBezTo>
                <a:cubicBezTo>
                  <a:pt x="162" y="5"/>
                  <a:pt x="162" y="4"/>
                  <a:pt x="162" y="4"/>
                </a:cubicBezTo>
                <a:close/>
                <a:moveTo>
                  <a:pt x="162" y="1"/>
                </a:moveTo>
                <a:cubicBezTo>
                  <a:pt x="162" y="1"/>
                  <a:pt x="162" y="2"/>
                  <a:pt x="162" y="2"/>
                </a:cubicBezTo>
                <a:cubicBezTo>
                  <a:pt x="162" y="2"/>
                  <a:pt x="162" y="2"/>
                  <a:pt x="162" y="2"/>
                </a:cubicBezTo>
                <a:cubicBezTo>
                  <a:pt x="162" y="2"/>
                  <a:pt x="162" y="1"/>
                  <a:pt x="162" y="1"/>
                </a:cubicBezTo>
                <a:close/>
                <a:moveTo>
                  <a:pt x="198" y="62"/>
                </a:moveTo>
                <a:cubicBezTo>
                  <a:pt x="198" y="65"/>
                  <a:pt x="200" y="66"/>
                  <a:pt x="202" y="66"/>
                </a:cubicBezTo>
                <a:cubicBezTo>
                  <a:pt x="202" y="66"/>
                  <a:pt x="202" y="66"/>
                  <a:pt x="202" y="66"/>
                </a:cubicBezTo>
                <a:cubicBezTo>
                  <a:pt x="205" y="66"/>
                  <a:pt x="206" y="65"/>
                  <a:pt x="206" y="62"/>
                </a:cubicBezTo>
                <a:cubicBezTo>
                  <a:pt x="206" y="62"/>
                  <a:pt x="206" y="62"/>
                  <a:pt x="206" y="62"/>
                </a:cubicBezTo>
                <a:cubicBezTo>
                  <a:pt x="206" y="39"/>
                  <a:pt x="188" y="21"/>
                  <a:pt x="165" y="21"/>
                </a:cubicBezTo>
                <a:cubicBezTo>
                  <a:pt x="165" y="21"/>
                  <a:pt x="165" y="21"/>
                  <a:pt x="165" y="21"/>
                </a:cubicBezTo>
                <a:cubicBezTo>
                  <a:pt x="163" y="21"/>
                  <a:pt x="161" y="23"/>
                  <a:pt x="161" y="25"/>
                </a:cubicBezTo>
                <a:cubicBezTo>
                  <a:pt x="161" y="25"/>
                  <a:pt x="161" y="25"/>
                  <a:pt x="161" y="25"/>
                </a:cubicBezTo>
                <a:cubicBezTo>
                  <a:pt x="161" y="28"/>
                  <a:pt x="163" y="30"/>
                  <a:pt x="165" y="30"/>
                </a:cubicBezTo>
                <a:cubicBezTo>
                  <a:pt x="165" y="30"/>
                  <a:pt x="165" y="30"/>
                  <a:pt x="165" y="30"/>
                </a:cubicBezTo>
                <a:cubicBezTo>
                  <a:pt x="165" y="30"/>
                  <a:pt x="165" y="30"/>
                  <a:pt x="165" y="30"/>
                </a:cubicBezTo>
                <a:cubicBezTo>
                  <a:pt x="183" y="30"/>
                  <a:pt x="198" y="44"/>
                  <a:pt x="198" y="62"/>
                </a:cubicBezTo>
                <a:close/>
                <a:moveTo>
                  <a:pt x="153" y="74"/>
                </a:moveTo>
                <a:cubicBezTo>
                  <a:pt x="141" y="62"/>
                  <a:pt x="121" y="62"/>
                  <a:pt x="109" y="74"/>
                </a:cubicBezTo>
                <a:cubicBezTo>
                  <a:pt x="96" y="87"/>
                  <a:pt x="96" y="107"/>
                  <a:pt x="109" y="119"/>
                </a:cubicBezTo>
                <a:cubicBezTo>
                  <a:pt x="121" y="131"/>
                  <a:pt x="141" y="131"/>
                  <a:pt x="153" y="119"/>
                </a:cubicBezTo>
                <a:cubicBezTo>
                  <a:pt x="166" y="107"/>
                  <a:pt x="166" y="87"/>
                  <a:pt x="153" y="74"/>
                </a:cubicBezTo>
                <a:close/>
                <a:moveTo>
                  <a:pt x="141" y="86"/>
                </a:moveTo>
                <a:cubicBezTo>
                  <a:pt x="136" y="81"/>
                  <a:pt x="126" y="81"/>
                  <a:pt x="121" y="86"/>
                </a:cubicBezTo>
                <a:cubicBezTo>
                  <a:pt x="115" y="92"/>
                  <a:pt x="115" y="101"/>
                  <a:pt x="121" y="107"/>
                </a:cubicBezTo>
                <a:cubicBezTo>
                  <a:pt x="126" y="112"/>
                  <a:pt x="136" y="112"/>
                  <a:pt x="141" y="107"/>
                </a:cubicBezTo>
                <a:cubicBezTo>
                  <a:pt x="147" y="101"/>
                  <a:pt x="147" y="92"/>
                  <a:pt x="141" y="86"/>
                </a:cubicBezTo>
                <a:close/>
              </a:path>
            </a:pathLst>
          </a:custGeom>
          <a:solidFill>
            <a:schemeClr val="accent6">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41" name="Group 40">
            <a:extLst>
              <a:ext uri="{FF2B5EF4-FFF2-40B4-BE49-F238E27FC236}">
                <a16:creationId xmlns:a16="http://schemas.microsoft.com/office/drawing/2014/main" xmlns="" id="{0A205A62-EA21-4921-9EBD-2E45EB99CE3C}"/>
              </a:ext>
            </a:extLst>
          </p:cNvPr>
          <p:cNvGrpSpPr/>
          <p:nvPr/>
        </p:nvGrpSpPr>
        <p:grpSpPr>
          <a:xfrm>
            <a:off x="7928474" y="3446605"/>
            <a:ext cx="507512" cy="541258"/>
            <a:chOff x="1854688" y="2465879"/>
            <a:chExt cx="507512" cy="541258"/>
          </a:xfrm>
        </p:grpSpPr>
        <p:pic>
          <p:nvPicPr>
            <p:cNvPr id="42" name="Picture 3">
              <a:extLst>
                <a:ext uri="{FF2B5EF4-FFF2-40B4-BE49-F238E27FC236}">
                  <a16:creationId xmlns:a16="http://schemas.microsoft.com/office/drawing/2014/main" xmlns="" id="{ACAA21C3-F09E-4454-B5B0-D58D0DFFA131}"/>
                </a:ext>
              </a:extLst>
            </p:cNvPr>
            <p:cNvPicPr>
              <a:picLocks noChangeAspect="1" noChangeArrowheads="1"/>
            </p:cNvPicPr>
            <p:nvPr/>
          </p:nvPicPr>
          <p:blipFill>
            <a:blip r:embed="rId7">
              <a:extLst>
                <a:ext uri="{28A0092B-C50C-407E-A947-70E740481C1C}">
                  <a14:useLocalDpi xmlns:a14="http://schemas.microsoft.com/office/drawing/2010/main"/>
                </a:ext>
              </a:extLst>
            </a:blip>
            <a:srcRect/>
            <a:stretch>
              <a:fillRect/>
            </a:stretch>
          </p:blipFill>
          <p:spPr bwMode="auto">
            <a:xfrm>
              <a:off x="1854688" y="2465879"/>
              <a:ext cx="278912" cy="30680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3" name="Picture 4">
              <a:extLst>
                <a:ext uri="{FF2B5EF4-FFF2-40B4-BE49-F238E27FC236}">
                  <a16:creationId xmlns:a16="http://schemas.microsoft.com/office/drawing/2014/main" xmlns="" id="{23872F7D-498C-454A-9F9E-0FE779F6F01E}"/>
                </a:ext>
              </a:extLst>
            </p:cNvPr>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2149768" y="2647950"/>
              <a:ext cx="212432" cy="20729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4" name="Picture 5">
              <a:extLst>
                <a:ext uri="{FF2B5EF4-FFF2-40B4-BE49-F238E27FC236}">
                  <a16:creationId xmlns:a16="http://schemas.microsoft.com/office/drawing/2014/main" xmlns="" id="{1B493EBB-A93E-4937-8225-3DF9F4033238}"/>
                </a:ext>
              </a:extLst>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1887928" y="2804984"/>
              <a:ext cx="212432" cy="2021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45" name="Group 25">
            <a:extLst>
              <a:ext uri="{FF2B5EF4-FFF2-40B4-BE49-F238E27FC236}">
                <a16:creationId xmlns:a16="http://schemas.microsoft.com/office/drawing/2014/main" xmlns="" id="{6DBF5F3D-19A7-44EC-907B-76587263ED8B}"/>
              </a:ext>
            </a:extLst>
          </p:cNvPr>
          <p:cNvGrpSpPr>
            <a:grpSpLocks noChangeAspect="1"/>
          </p:cNvGrpSpPr>
          <p:nvPr>
            <p:custDataLst>
              <p:tags r:id="rId1"/>
            </p:custDataLst>
          </p:nvPr>
        </p:nvGrpSpPr>
        <p:grpSpPr bwMode="auto">
          <a:xfrm>
            <a:off x="1705742" y="3493332"/>
            <a:ext cx="504736" cy="427086"/>
            <a:chOff x="423" y="82"/>
            <a:chExt cx="4914" cy="4158"/>
          </a:xfrm>
          <a:solidFill>
            <a:schemeClr val="accent3"/>
          </a:solidFill>
        </p:grpSpPr>
        <p:sp>
          <p:nvSpPr>
            <p:cNvPr id="46" name="Freeform 26">
              <a:extLst>
                <a:ext uri="{FF2B5EF4-FFF2-40B4-BE49-F238E27FC236}">
                  <a16:creationId xmlns:a16="http://schemas.microsoft.com/office/drawing/2014/main" xmlns="" id="{1B336613-5DB2-4DEA-AAAE-A982D778E8EA}"/>
                </a:ext>
              </a:extLst>
            </p:cNvPr>
            <p:cNvSpPr>
              <a:spLocks noEditPoints="1"/>
            </p:cNvSpPr>
            <p:nvPr/>
          </p:nvSpPr>
          <p:spPr bwMode="auto">
            <a:xfrm>
              <a:off x="612" y="1806"/>
              <a:ext cx="4347" cy="2434"/>
            </a:xfrm>
            <a:custGeom>
              <a:avLst/>
              <a:gdLst>
                <a:gd name="T0" fmla="*/ 0 w 1840"/>
                <a:gd name="T1" fmla="*/ 1030 h 1030"/>
                <a:gd name="T2" fmla="*/ 0 w 1840"/>
                <a:gd name="T3" fmla="*/ 27 h 1030"/>
                <a:gd name="T4" fmla="*/ 160 w 1840"/>
                <a:gd name="T5" fmla="*/ 70 h 1030"/>
                <a:gd name="T6" fmla="*/ 360 w 1840"/>
                <a:gd name="T7" fmla="*/ 0 h 1030"/>
                <a:gd name="T8" fmla="*/ 560 w 1840"/>
                <a:gd name="T9" fmla="*/ 70 h 1030"/>
                <a:gd name="T10" fmla="*/ 760 w 1840"/>
                <a:gd name="T11" fmla="*/ 0 h 1030"/>
                <a:gd name="T12" fmla="*/ 960 w 1840"/>
                <a:gd name="T13" fmla="*/ 70 h 1030"/>
                <a:gd name="T14" fmla="*/ 1160 w 1840"/>
                <a:gd name="T15" fmla="*/ 0 h 1030"/>
                <a:gd name="T16" fmla="*/ 1360 w 1840"/>
                <a:gd name="T17" fmla="*/ 70 h 1030"/>
                <a:gd name="T18" fmla="*/ 1560 w 1840"/>
                <a:gd name="T19" fmla="*/ 0 h 1030"/>
                <a:gd name="T20" fmla="*/ 1760 w 1840"/>
                <a:gd name="T21" fmla="*/ 70 h 1030"/>
                <a:gd name="T22" fmla="*/ 1840 w 1840"/>
                <a:gd name="T23" fmla="*/ 60 h 1030"/>
                <a:gd name="T24" fmla="*/ 1840 w 1840"/>
                <a:gd name="T25" fmla="*/ 1030 h 1030"/>
                <a:gd name="T26" fmla="*/ 1680 w 1840"/>
                <a:gd name="T27" fmla="*/ 1030 h 1030"/>
                <a:gd name="T28" fmla="*/ 1680 w 1840"/>
                <a:gd name="T29" fmla="*/ 630 h 1030"/>
                <a:gd name="T30" fmla="*/ 1120 w 1840"/>
                <a:gd name="T31" fmla="*/ 630 h 1030"/>
                <a:gd name="T32" fmla="*/ 1120 w 1840"/>
                <a:gd name="T33" fmla="*/ 391 h 1030"/>
                <a:gd name="T34" fmla="*/ 880 w 1840"/>
                <a:gd name="T35" fmla="*/ 391 h 1030"/>
                <a:gd name="T36" fmla="*/ 880 w 1840"/>
                <a:gd name="T37" fmla="*/ 231 h 1030"/>
                <a:gd name="T38" fmla="*/ 400 w 1840"/>
                <a:gd name="T39" fmla="*/ 231 h 1030"/>
                <a:gd name="T40" fmla="*/ 400 w 1840"/>
                <a:gd name="T41" fmla="*/ 630 h 1030"/>
                <a:gd name="T42" fmla="*/ 240 w 1840"/>
                <a:gd name="T43" fmla="*/ 630 h 1030"/>
                <a:gd name="T44" fmla="*/ 240 w 1840"/>
                <a:gd name="T45" fmla="*/ 1030 h 1030"/>
                <a:gd name="T46" fmla="*/ 0 w 1840"/>
                <a:gd name="T47" fmla="*/ 1030 h 1030"/>
                <a:gd name="T48" fmla="*/ 1600 w 1840"/>
                <a:gd name="T49" fmla="*/ 1030 h 1030"/>
                <a:gd name="T50" fmla="*/ 320 w 1840"/>
                <a:gd name="T51" fmla="*/ 1030 h 1030"/>
                <a:gd name="T52" fmla="*/ 320 w 1840"/>
                <a:gd name="T53" fmla="*/ 710 h 1030"/>
                <a:gd name="T54" fmla="*/ 1600 w 1840"/>
                <a:gd name="T55" fmla="*/ 710 h 1030"/>
                <a:gd name="T56" fmla="*/ 1600 w 1840"/>
                <a:gd name="T57" fmla="*/ 1030 h 1030"/>
                <a:gd name="T58" fmla="*/ 1440 w 1840"/>
                <a:gd name="T59" fmla="*/ 150 h 1030"/>
                <a:gd name="T60" fmla="*/ 1200 w 1840"/>
                <a:gd name="T61" fmla="*/ 390 h 1030"/>
                <a:gd name="T62" fmla="*/ 1440 w 1840"/>
                <a:gd name="T63" fmla="*/ 629 h 1030"/>
                <a:gd name="T64" fmla="*/ 1679 w 1840"/>
                <a:gd name="T65" fmla="*/ 390 h 1030"/>
                <a:gd name="T66" fmla="*/ 1440 w 1840"/>
                <a:gd name="T67" fmla="*/ 150 h 1030"/>
                <a:gd name="T68" fmla="*/ 1440 w 1840"/>
                <a:gd name="T69" fmla="*/ 230 h 1030"/>
                <a:gd name="T70" fmla="*/ 1280 w 1840"/>
                <a:gd name="T71" fmla="*/ 390 h 1030"/>
                <a:gd name="T72" fmla="*/ 1440 w 1840"/>
                <a:gd name="T73" fmla="*/ 549 h 1030"/>
                <a:gd name="T74" fmla="*/ 1599 w 1840"/>
                <a:gd name="T75" fmla="*/ 390 h 1030"/>
                <a:gd name="T76" fmla="*/ 1440 w 1840"/>
                <a:gd name="T77" fmla="*/ 230 h 1030"/>
                <a:gd name="T78" fmla="*/ 800 w 1840"/>
                <a:gd name="T79" fmla="*/ 391 h 1030"/>
                <a:gd name="T80" fmla="*/ 800 w 1840"/>
                <a:gd name="T81" fmla="*/ 311 h 1030"/>
                <a:gd name="T82" fmla="*/ 480 w 1840"/>
                <a:gd name="T83" fmla="*/ 311 h 1030"/>
                <a:gd name="T84" fmla="*/ 480 w 1840"/>
                <a:gd name="T85" fmla="*/ 630 h 1030"/>
                <a:gd name="T86" fmla="*/ 640 w 1840"/>
                <a:gd name="T87" fmla="*/ 630 h 1030"/>
                <a:gd name="T88" fmla="*/ 640 w 1840"/>
                <a:gd name="T89" fmla="*/ 391 h 1030"/>
                <a:gd name="T90" fmla="*/ 800 w 1840"/>
                <a:gd name="T91" fmla="*/ 391 h 1030"/>
                <a:gd name="T92" fmla="*/ 720 w 1840"/>
                <a:gd name="T93" fmla="*/ 630 h 1030"/>
                <a:gd name="T94" fmla="*/ 1040 w 1840"/>
                <a:gd name="T95" fmla="*/ 630 h 1030"/>
                <a:gd name="T96" fmla="*/ 1040 w 1840"/>
                <a:gd name="T97" fmla="*/ 471 h 1030"/>
                <a:gd name="T98" fmla="*/ 720 w 1840"/>
                <a:gd name="T99" fmla="*/ 471 h 1030"/>
                <a:gd name="T100" fmla="*/ 720 w 1840"/>
                <a:gd name="T101" fmla="*/ 630 h 10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840" h="1030">
                  <a:moveTo>
                    <a:pt x="0" y="1030"/>
                  </a:moveTo>
                  <a:cubicBezTo>
                    <a:pt x="0" y="27"/>
                    <a:pt x="0" y="27"/>
                    <a:pt x="0" y="27"/>
                  </a:cubicBezTo>
                  <a:cubicBezTo>
                    <a:pt x="47" y="54"/>
                    <a:pt x="102" y="70"/>
                    <a:pt x="160" y="70"/>
                  </a:cubicBezTo>
                  <a:cubicBezTo>
                    <a:pt x="234" y="70"/>
                    <a:pt x="304" y="45"/>
                    <a:pt x="360" y="0"/>
                  </a:cubicBezTo>
                  <a:cubicBezTo>
                    <a:pt x="416" y="45"/>
                    <a:pt x="486" y="70"/>
                    <a:pt x="560" y="70"/>
                  </a:cubicBezTo>
                  <a:cubicBezTo>
                    <a:pt x="634" y="70"/>
                    <a:pt x="704" y="45"/>
                    <a:pt x="760" y="0"/>
                  </a:cubicBezTo>
                  <a:cubicBezTo>
                    <a:pt x="816" y="45"/>
                    <a:pt x="886" y="70"/>
                    <a:pt x="960" y="70"/>
                  </a:cubicBezTo>
                  <a:cubicBezTo>
                    <a:pt x="1034" y="70"/>
                    <a:pt x="1104" y="45"/>
                    <a:pt x="1160" y="0"/>
                  </a:cubicBezTo>
                  <a:cubicBezTo>
                    <a:pt x="1216" y="45"/>
                    <a:pt x="1286" y="70"/>
                    <a:pt x="1360" y="70"/>
                  </a:cubicBezTo>
                  <a:cubicBezTo>
                    <a:pt x="1434" y="70"/>
                    <a:pt x="1504" y="45"/>
                    <a:pt x="1560" y="0"/>
                  </a:cubicBezTo>
                  <a:cubicBezTo>
                    <a:pt x="1616" y="45"/>
                    <a:pt x="1686" y="70"/>
                    <a:pt x="1760" y="70"/>
                  </a:cubicBezTo>
                  <a:cubicBezTo>
                    <a:pt x="1840" y="60"/>
                    <a:pt x="1840" y="60"/>
                    <a:pt x="1840" y="60"/>
                  </a:cubicBezTo>
                  <a:cubicBezTo>
                    <a:pt x="1840" y="1030"/>
                    <a:pt x="1840" y="1030"/>
                    <a:pt x="1840" y="1030"/>
                  </a:cubicBezTo>
                  <a:cubicBezTo>
                    <a:pt x="1680" y="1030"/>
                    <a:pt x="1680" y="1030"/>
                    <a:pt x="1680" y="1030"/>
                  </a:cubicBezTo>
                  <a:cubicBezTo>
                    <a:pt x="1680" y="630"/>
                    <a:pt x="1680" y="630"/>
                    <a:pt x="1680" y="630"/>
                  </a:cubicBezTo>
                  <a:cubicBezTo>
                    <a:pt x="1120" y="630"/>
                    <a:pt x="1120" y="630"/>
                    <a:pt x="1120" y="630"/>
                  </a:cubicBezTo>
                  <a:cubicBezTo>
                    <a:pt x="1120" y="391"/>
                    <a:pt x="1120" y="391"/>
                    <a:pt x="1120" y="391"/>
                  </a:cubicBezTo>
                  <a:cubicBezTo>
                    <a:pt x="880" y="391"/>
                    <a:pt x="880" y="391"/>
                    <a:pt x="880" y="391"/>
                  </a:cubicBezTo>
                  <a:cubicBezTo>
                    <a:pt x="880" y="231"/>
                    <a:pt x="880" y="231"/>
                    <a:pt x="880" y="231"/>
                  </a:cubicBezTo>
                  <a:cubicBezTo>
                    <a:pt x="400" y="231"/>
                    <a:pt x="400" y="231"/>
                    <a:pt x="400" y="231"/>
                  </a:cubicBezTo>
                  <a:cubicBezTo>
                    <a:pt x="400" y="630"/>
                    <a:pt x="400" y="630"/>
                    <a:pt x="400" y="630"/>
                  </a:cubicBezTo>
                  <a:cubicBezTo>
                    <a:pt x="240" y="630"/>
                    <a:pt x="240" y="630"/>
                    <a:pt x="240" y="630"/>
                  </a:cubicBezTo>
                  <a:cubicBezTo>
                    <a:pt x="240" y="1030"/>
                    <a:pt x="240" y="1030"/>
                    <a:pt x="240" y="1030"/>
                  </a:cubicBezTo>
                  <a:lnTo>
                    <a:pt x="0" y="1030"/>
                  </a:lnTo>
                  <a:close/>
                  <a:moveTo>
                    <a:pt x="1600" y="1030"/>
                  </a:moveTo>
                  <a:cubicBezTo>
                    <a:pt x="320" y="1030"/>
                    <a:pt x="320" y="1030"/>
                    <a:pt x="320" y="1030"/>
                  </a:cubicBezTo>
                  <a:cubicBezTo>
                    <a:pt x="320" y="710"/>
                    <a:pt x="320" y="710"/>
                    <a:pt x="320" y="710"/>
                  </a:cubicBezTo>
                  <a:cubicBezTo>
                    <a:pt x="1600" y="710"/>
                    <a:pt x="1600" y="710"/>
                    <a:pt x="1600" y="710"/>
                  </a:cubicBezTo>
                  <a:lnTo>
                    <a:pt x="1600" y="1030"/>
                  </a:lnTo>
                  <a:close/>
                  <a:moveTo>
                    <a:pt x="1440" y="150"/>
                  </a:moveTo>
                  <a:cubicBezTo>
                    <a:pt x="1307" y="150"/>
                    <a:pt x="1200" y="257"/>
                    <a:pt x="1200" y="390"/>
                  </a:cubicBezTo>
                  <a:cubicBezTo>
                    <a:pt x="1200" y="522"/>
                    <a:pt x="1307" y="629"/>
                    <a:pt x="1440" y="629"/>
                  </a:cubicBezTo>
                  <a:cubicBezTo>
                    <a:pt x="1572" y="629"/>
                    <a:pt x="1679" y="522"/>
                    <a:pt x="1679" y="390"/>
                  </a:cubicBezTo>
                  <a:cubicBezTo>
                    <a:pt x="1679" y="257"/>
                    <a:pt x="1572" y="150"/>
                    <a:pt x="1440" y="150"/>
                  </a:cubicBezTo>
                  <a:close/>
                  <a:moveTo>
                    <a:pt x="1440" y="230"/>
                  </a:moveTo>
                  <a:cubicBezTo>
                    <a:pt x="1352" y="230"/>
                    <a:pt x="1280" y="301"/>
                    <a:pt x="1280" y="390"/>
                  </a:cubicBezTo>
                  <a:cubicBezTo>
                    <a:pt x="1280" y="478"/>
                    <a:pt x="1351" y="549"/>
                    <a:pt x="1440" y="549"/>
                  </a:cubicBezTo>
                  <a:cubicBezTo>
                    <a:pt x="1528" y="549"/>
                    <a:pt x="1599" y="478"/>
                    <a:pt x="1599" y="390"/>
                  </a:cubicBezTo>
                  <a:cubicBezTo>
                    <a:pt x="1599" y="301"/>
                    <a:pt x="1528" y="230"/>
                    <a:pt x="1440" y="230"/>
                  </a:cubicBezTo>
                  <a:close/>
                  <a:moveTo>
                    <a:pt x="800" y="391"/>
                  </a:moveTo>
                  <a:cubicBezTo>
                    <a:pt x="800" y="311"/>
                    <a:pt x="800" y="311"/>
                    <a:pt x="800" y="311"/>
                  </a:cubicBezTo>
                  <a:cubicBezTo>
                    <a:pt x="480" y="311"/>
                    <a:pt x="480" y="311"/>
                    <a:pt x="480" y="311"/>
                  </a:cubicBezTo>
                  <a:cubicBezTo>
                    <a:pt x="480" y="630"/>
                    <a:pt x="480" y="630"/>
                    <a:pt x="480" y="630"/>
                  </a:cubicBezTo>
                  <a:cubicBezTo>
                    <a:pt x="640" y="630"/>
                    <a:pt x="640" y="630"/>
                    <a:pt x="640" y="630"/>
                  </a:cubicBezTo>
                  <a:cubicBezTo>
                    <a:pt x="640" y="391"/>
                    <a:pt x="640" y="391"/>
                    <a:pt x="640" y="391"/>
                  </a:cubicBezTo>
                  <a:lnTo>
                    <a:pt x="800" y="391"/>
                  </a:lnTo>
                  <a:close/>
                  <a:moveTo>
                    <a:pt x="720" y="630"/>
                  </a:moveTo>
                  <a:cubicBezTo>
                    <a:pt x="1040" y="630"/>
                    <a:pt x="1040" y="630"/>
                    <a:pt x="1040" y="630"/>
                  </a:cubicBezTo>
                  <a:cubicBezTo>
                    <a:pt x="1040" y="471"/>
                    <a:pt x="1040" y="471"/>
                    <a:pt x="1040" y="471"/>
                  </a:cubicBezTo>
                  <a:cubicBezTo>
                    <a:pt x="720" y="471"/>
                    <a:pt x="720" y="471"/>
                    <a:pt x="720" y="471"/>
                  </a:cubicBezTo>
                  <a:lnTo>
                    <a:pt x="720" y="630"/>
                  </a:ln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47" name="Freeform 27">
              <a:extLst>
                <a:ext uri="{FF2B5EF4-FFF2-40B4-BE49-F238E27FC236}">
                  <a16:creationId xmlns:a16="http://schemas.microsoft.com/office/drawing/2014/main" xmlns="" id="{29139B79-C2FA-4081-8BC2-BEEB138C9CEE}"/>
                </a:ext>
              </a:extLst>
            </p:cNvPr>
            <p:cNvSpPr>
              <a:spLocks noEditPoints="1"/>
            </p:cNvSpPr>
            <p:nvPr/>
          </p:nvSpPr>
          <p:spPr bwMode="auto">
            <a:xfrm>
              <a:off x="423" y="82"/>
              <a:ext cx="4914" cy="1701"/>
            </a:xfrm>
            <a:custGeom>
              <a:avLst/>
              <a:gdLst>
                <a:gd name="T0" fmla="*/ 2080 w 2080"/>
                <a:gd name="T1" fmla="*/ 480 h 720"/>
                <a:gd name="T2" fmla="*/ 1840 w 2080"/>
                <a:gd name="T3" fmla="*/ 720 h 720"/>
                <a:gd name="T4" fmla="*/ 1640 w 2080"/>
                <a:gd name="T5" fmla="*/ 613 h 720"/>
                <a:gd name="T6" fmla="*/ 1440 w 2080"/>
                <a:gd name="T7" fmla="*/ 720 h 720"/>
                <a:gd name="T8" fmla="*/ 1240 w 2080"/>
                <a:gd name="T9" fmla="*/ 613 h 720"/>
                <a:gd name="T10" fmla="*/ 1040 w 2080"/>
                <a:gd name="T11" fmla="*/ 720 h 720"/>
                <a:gd name="T12" fmla="*/ 840 w 2080"/>
                <a:gd name="T13" fmla="*/ 613 h 720"/>
                <a:gd name="T14" fmla="*/ 640 w 2080"/>
                <a:gd name="T15" fmla="*/ 720 h 720"/>
                <a:gd name="T16" fmla="*/ 440 w 2080"/>
                <a:gd name="T17" fmla="*/ 613 h 720"/>
                <a:gd name="T18" fmla="*/ 240 w 2080"/>
                <a:gd name="T19" fmla="*/ 720 h 720"/>
                <a:gd name="T20" fmla="*/ 0 w 2080"/>
                <a:gd name="T21" fmla="*/ 480 h 720"/>
                <a:gd name="T22" fmla="*/ 0 w 2080"/>
                <a:gd name="T23" fmla="*/ 400 h 720"/>
                <a:gd name="T24" fmla="*/ 10 w 2080"/>
                <a:gd name="T25" fmla="*/ 374 h 720"/>
                <a:gd name="T26" fmla="*/ 332 w 2080"/>
                <a:gd name="T27" fmla="*/ 0 h 720"/>
                <a:gd name="T28" fmla="*/ 1748 w 2080"/>
                <a:gd name="T29" fmla="*/ 0 h 720"/>
                <a:gd name="T30" fmla="*/ 2080 w 2080"/>
                <a:gd name="T31" fmla="*/ 385 h 720"/>
                <a:gd name="T32" fmla="*/ 2080 w 2080"/>
                <a:gd name="T33" fmla="*/ 480 h 720"/>
                <a:gd name="T34" fmla="*/ 1600 w 2080"/>
                <a:gd name="T35" fmla="*/ 480 h 720"/>
                <a:gd name="T36" fmla="*/ 1600 w 2080"/>
                <a:gd name="T37" fmla="*/ 410 h 720"/>
                <a:gd name="T38" fmla="*/ 1430 w 2080"/>
                <a:gd name="T39" fmla="*/ 80 h 720"/>
                <a:gd name="T40" fmla="*/ 1225 w 2080"/>
                <a:gd name="T41" fmla="*/ 80 h 720"/>
                <a:gd name="T42" fmla="*/ 1280 w 2080"/>
                <a:gd name="T43" fmla="*/ 397 h 720"/>
                <a:gd name="T44" fmla="*/ 1280 w 2080"/>
                <a:gd name="T45" fmla="*/ 487 h 720"/>
                <a:gd name="T46" fmla="*/ 1440 w 2080"/>
                <a:gd name="T47" fmla="*/ 640 h 720"/>
                <a:gd name="T48" fmla="*/ 1600 w 2080"/>
                <a:gd name="T49" fmla="*/ 480 h 720"/>
                <a:gd name="T50" fmla="*/ 800 w 2080"/>
                <a:gd name="T51" fmla="*/ 480 h 720"/>
                <a:gd name="T52" fmla="*/ 800 w 2080"/>
                <a:gd name="T53" fmla="*/ 397 h 720"/>
                <a:gd name="T54" fmla="*/ 855 w 2080"/>
                <a:gd name="T55" fmla="*/ 80 h 720"/>
                <a:gd name="T56" fmla="*/ 650 w 2080"/>
                <a:gd name="T57" fmla="*/ 80 h 720"/>
                <a:gd name="T58" fmla="*/ 480 w 2080"/>
                <a:gd name="T59" fmla="*/ 410 h 720"/>
                <a:gd name="T60" fmla="*/ 480 w 2080"/>
                <a:gd name="T61" fmla="*/ 480 h 720"/>
                <a:gd name="T62" fmla="*/ 640 w 2080"/>
                <a:gd name="T63" fmla="*/ 640 h 720"/>
                <a:gd name="T64" fmla="*/ 800 w 2080"/>
                <a:gd name="T65" fmla="*/ 480 h 7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080" h="720">
                  <a:moveTo>
                    <a:pt x="2080" y="480"/>
                  </a:moveTo>
                  <a:cubicBezTo>
                    <a:pt x="2080" y="612"/>
                    <a:pt x="1972" y="720"/>
                    <a:pt x="1840" y="720"/>
                  </a:cubicBezTo>
                  <a:cubicBezTo>
                    <a:pt x="1759" y="720"/>
                    <a:pt x="1684" y="680"/>
                    <a:pt x="1640" y="613"/>
                  </a:cubicBezTo>
                  <a:cubicBezTo>
                    <a:pt x="1596" y="680"/>
                    <a:pt x="1521" y="720"/>
                    <a:pt x="1440" y="720"/>
                  </a:cubicBezTo>
                  <a:cubicBezTo>
                    <a:pt x="1359" y="720"/>
                    <a:pt x="1284" y="680"/>
                    <a:pt x="1240" y="613"/>
                  </a:cubicBezTo>
                  <a:cubicBezTo>
                    <a:pt x="1196" y="680"/>
                    <a:pt x="1121" y="720"/>
                    <a:pt x="1040" y="720"/>
                  </a:cubicBezTo>
                  <a:cubicBezTo>
                    <a:pt x="959" y="720"/>
                    <a:pt x="884" y="680"/>
                    <a:pt x="840" y="613"/>
                  </a:cubicBezTo>
                  <a:cubicBezTo>
                    <a:pt x="796" y="680"/>
                    <a:pt x="721" y="720"/>
                    <a:pt x="640" y="720"/>
                  </a:cubicBezTo>
                  <a:cubicBezTo>
                    <a:pt x="559" y="720"/>
                    <a:pt x="484" y="680"/>
                    <a:pt x="440" y="613"/>
                  </a:cubicBezTo>
                  <a:cubicBezTo>
                    <a:pt x="396" y="680"/>
                    <a:pt x="321" y="720"/>
                    <a:pt x="240" y="720"/>
                  </a:cubicBezTo>
                  <a:cubicBezTo>
                    <a:pt x="108" y="720"/>
                    <a:pt x="0" y="612"/>
                    <a:pt x="0" y="480"/>
                  </a:cubicBezTo>
                  <a:cubicBezTo>
                    <a:pt x="0" y="400"/>
                    <a:pt x="0" y="400"/>
                    <a:pt x="0" y="400"/>
                  </a:cubicBezTo>
                  <a:cubicBezTo>
                    <a:pt x="10" y="374"/>
                    <a:pt x="10" y="374"/>
                    <a:pt x="10" y="374"/>
                  </a:cubicBezTo>
                  <a:cubicBezTo>
                    <a:pt x="332" y="0"/>
                    <a:pt x="332" y="0"/>
                    <a:pt x="332" y="0"/>
                  </a:cubicBezTo>
                  <a:cubicBezTo>
                    <a:pt x="1748" y="0"/>
                    <a:pt x="1748" y="0"/>
                    <a:pt x="1748" y="0"/>
                  </a:cubicBezTo>
                  <a:cubicBezTo>
                    <a:pt x="2080" y="385"/>
                    <a:pt x="2080" y="385"/>
                    <a:pt x="2080" y="385"/>
                  </a:cubicBezTo>
                  <a:lnTo>
                    <a:pt x="2080" y="480"/>
                  </a:lnTo>
                  <a:close/>
                  <a:moveTo>
                    <a:pt x="1600" y="480"/>
                  </a:moveTo>
                  <a:cubicBezTo>
                    <a:pt x="1600" y="410"/>
                    <a:pt x="1600" y="410"/>
                    <a:pt x="1600" y="410"/>
                  </a:cubicBezTo>
                  <a:cubicBezTo>
                    <a:pt x="1430" y="80"/>
                    <a:pt x="1430" y="80"/>
                    <a:pt x="1430" y="80"/>
                  </a:cubicBezTo>
                  <a:cubicBezTo>
                    <a:pt x="1225" y="80"/>
                    <a:pt x="1225" y="80"/>
                    <a:pt x="1225" y="80"/>
                  </a:cubicBezTo>
                  <a:cubicBezTo>
                    <a:pt x="1280" y="397"/>
                    <a:pt x="1280" y="397"/>
                    <a:pt x="1280" y="397"/>
                  </a:cubicBezTo>
                  <a:cubicBezTo>
                    <a:pt x="1280" y="487"/>
                    <a:pt x="1280" y="487"/>
                    <a:pt x="1280" y="487"/>
                  </a:cubicBezTo>
                  <a:cubicBezTo>
                    <a:pt x="1284" y="572"/>
                    <a:pt x="1354" y="640"/>
                    <a:pt x="1440" y="640"/>
                  </a:cubicBezTo>
                  <a:cubicBezTo>
                    <a:pt x="1528" y="640"/>
                    <a:pt x="1600" y="568"/>
                    <a:pt x="1600" y="480"/>
                  </a:cubicBezTo>
                  <a:close/>
                  <a:moveTo>
                    <a:pt x="800" y="480"/>
                  </a:moveTo>
                  <a:cubicBezTo>
                    <a:pt x="800" y="397"/>
                    <a:pt x="800" y="397"/>
                    <a:pt x="800" y="397"/>
                  </a:cubicBezTo>
                  <a:cubicBezTo>
                    <a:pt x="855" y="80"/>
                    <a:pt x="855" y="80"/>
                    <a:pt x="855" y="80"/>
                  </a:cubicBezTo>
                  <a:cubicBezTo>
                    <a:pt x="650" y="80"/>
                    <a:pt x="650" y="80"/>
                    <a:pt x="650" y="80"/>
                  </a:cubicBezTo>
                  <a:cubicBezTo>
                    <a:pt x="480" y="410"/>
                    <a:pt x="480" y="410"/>
                    <a:pt x="480" y="410"/>
                  </a:cubicBezTo>
                  <a:cubicBezTo>
                    <a:pt x="480" y="480"/>
                    <a:pt x="480" y="480"/>
                    <a:pt x="480" y="480"/>
                  </a:cubicBezTo>
                  <a:cubicBezTo>
                    <a:pt x="480" y="568"/>
                    <a:pt x="552" y="640"/>
                    <a:pt x="640" y="640"/>
                  </a:cubicBezTo>
                  <a:cubicBezTo>
                    <a:pt x="728" y="640"/>
                    <a:pt x="800" y="568"/>
                    <a:pt x="800" y="48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grpSp>
      <p:sp>
        <p:nvSpPr>
          <p:cNvPr id="48" name="Freeform 71">
            <a:extLst>
              <a:ext uri="{FF2B5EF4-FFF2-40B4-BE49-F238E27FC236}">
                <a16:creationId xmlns:a16="http://schemas.microsoft.com/office/drawing/2014/main" xmlns="" id="{328AA19E-0612-4565-B1AE-5EC7BB5D8A82}"/>
              </a:ext>
            </a:extLst>
          </p:cNvPr>
          <p:cNvSpPr>
            <a:spLocks noChangeAspect="1" noEditPoints="1"/>
          </p:cNvSpPr>
          <p:nvPr/>
        </p:nvSpPr>
        <p:spPr bwMode="auto">
          <a:xfrm>
            <a:off x="10133370" y="3553415"/>
            <a:ext cx="324000" cy="324707"/>
          </a:xfrm>
          <a:custGeom>
            <a:avLst/>
            <a:gdLst>
              <a:gd name="T0" fmla="*/ 432 w 864"/>
              <a:gd name="T1" fmla="*/ 0 h 864"/>
              <a:gd name="T2" fmla="*/ 0 w 864"/>
              <a:gd name="T3" fmla="*/ 432 h 864"/>
              <a:gd name="T4" fmla="*/ 432 w 864"/>
              <a:gd name="T5" fmla="*/ 864 h 864"/>
              <a:gd name="T6" fmla="*/ 864 w 864"/>
              <a:gd name="T7" fmla="*/ 432 h 864"/>
              <a:gd name="T8" fmla="*/ 432 w 864"/>
              <a:gd name="T9" fmla="*/ 0 h 864"/>
              <a:gd name="T10" fmla="*/ 432 w 864"/>
              <a:gd name="T11" fmla="*/ 733 h 864"/>
              <a:gd name="T12" fmla="*/ 131 w 864"/>
              <a:gd name="T13" fmla="*/ 432 h 864"/>
              <a:gd name="T14" fmla="*/ 178 w 864"/>
              <a:gd name="T15" fmla="*/ 271 h 864"/>
              <a:gd name="T16" fmla="*/ 593 w 864"/>
              <a:gd name="T17" fmla="*/ 686 h 864"/>
              <a:gd name="T18" fmla="*/ 432 w 864"/>
              <a:gd name="T19" fmla="*/ 733 h 864"/>
              <a:gd name="T20" fmla="*/ 686 w 864"/>
              <a:gd name="T21" fmla="*/ 593 h 864"/>
              <a:gd name="T22" fmla="*/ 271 w 864"/>
              <a:gd name="T23" fmla="*/ 178 h 864"/>
              <a:gd name="T24" fmla="*/ 432 w 864"/>
              <a:gd name="T25" fmla="*/ 131 h 864"/>
              <a:gd name="T26" fmla="*/ 733 w 864"/>
              <a:gd name="T27" fmla="*/ 432 h 864"/>
              <a:gd name="T28" fmla="*/ 686 w 864"/>
              <a:gd name="T29" fmla="*/ 593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64" h="864">
                <a:moveTo>
                  <a:pt x="432" y="0"/>
                </a:moveTo>
                <a:cubicBezTo>
                  <a:pt x="193" y="0"/>
                  <a:pt x="0" y="193"/>
                  <a:pt x="0" y="432"/>
                </a:cubicBezTo>
                <a:cubicBezTo>
                  <a:pt x="0" y="671"/>
                  <a:pt x="193" y="864"/>
                  <a:pt x="432" y="864"/>
                </a:cubicBezTo>
                <a:cubicBezTo>
                  <a:pt x="671" y="864"/>
                  <a:pt x="864" y="671"/>
                  <a:pt x="864" y="432"/>
                </a:cubicBezTo>
                <a:cubicBezTo>
                  <a:pt x="864" y="193"/>
                  <a:pt x="671" y="0"/>
                  <a:pt x="432" y="0"/>
                </a:cubicBezTo>
                <a:close/>
                <a:moveTo>
                  <a:pt x="432" y="733"/>
                </a:moveTo>
                <a:cubicBezTo>
                  <a:pt x="266" y="733"/>
                  <a:pt x="131" y="598"/>
                  <a:pt x="131" y="432"/>
                </a:cubicBezTo>
                <a:cubicBezTo>
                  <a:pt x="131" y="373"/>
                  <a:pt x="149" y="318"/>
                  <a:pt x="178" y="271"/>
                </a:cubicBezTo>
                <a:cubicBezTo>
                  <a:pt x="593" y="686"/>
                  <a:pt x="593" y="686"/>
                  <a:pt x="593" y="686"/>
                </a:cubicBezTo>
                <a:cubicBezTo>
                  <a:pt x="546" y="715"/>
                  <a:pt x="491" y="733"/>
                  <a:pt x="432" y="733"/>
                </a:cubicBezTo>
                <a:close/>
                <a:moveTo>
                  <a:pt x="686" y="593"/>
                </a:moveTo>
                <a:cubicBezTo>
                  <a:pt x="271" y="178"/>
                  <a:pt x="271" y="178"/>
                  <a:pt x="271" y="178"/>
                </a:cubicBezTo>
                <a:cubicBezTo>
                  <a:pt x="318" y="149"/>
                  <a:pt x="373" y="131"/>
                  <a:pt x="432" y="131"/>
                </a:cubicBezTo>
                <a:cubicBezTo>
                  <a:pt x="598" y="131"/>
                  <a:pt x="733" y="266"/>
                  <a:pt x="733" y="432"/>
                </a:cubicBezTo>
                <a:cubicBezTo>
                  <a:pt x="733" y="491"/>
                  <a:pt x="715" y="546"/>
                  <a:pt x="686" y="593"/>
                </a:cubicBezTo>
                <a:close/>
              </a:path>
            </a:pathLst>
          </a:custGeom>
          <a:solidFill>
            <a:schemeClr val="accent1">
              <a:lumMod val="60000"/>
              <a:lumOff val="40000"/>
            </a:schemeClr>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49" name="Group 48">
            <a:extLst>
              <a:ext uri="{FF2B5EF4-FFF2-40B4-BE49-F238E27FC236}">
                <a16:creationId xmlns:a16="http://schemas.microsoft.com/office/drawing/2014/main" xmlns="" id="{98D618E6-97AE-4846-B203-15EF76A6FFB4}"/>
              </a:ext>
            </a:extLst>
          </p:cNvPr>
          <p:cNvGrpSpPr>
            <a:grpSpLocks noChangeAspect="1"/>
          </p:cNvGrpSpPr>
          <p:nvPr/>
        </p:nvGrpSpPr>
        <p:grpSpPr>
          <a:xfrm>
            <a:off x="2741914" y="3536415"/>
            <a:ext cx="632662" cy="334379"/>
            <a:chOff x="-2227841" y="2371106"/>
            <a:chExt cx="741750" cy="392036"/>
          </a:xfrm>
          <a:solidFill>
            <a:schemeClr val="accent3">
              <a:lumMod val="60000"/>
              <a:lumOff val="40000"/>
            </a:schemeClr>
          </a:solidFill>
        </p:grpSpPr>
        <p:sp>
          <p:nvSpPr>
            <p:cNvPr id="50" name="Freeform 28">
              <a:extLst>
                <a:ext uri="{FF2B5EF4-FFF2-40B4-BE49-F238E27FC236}">
                  <a16:creationId xmlns:a16="http://schemas.microsoft.com/office/drawing/2014/main" xmlns="" id="{7CEE2C7B-5697-47F4-9E38-6DD0D52832F5}"/>
                </a:ext>
              </a:extLst>
            </p:cNvPr>
            <p:cNvSpPr>
              <a:spLocks/>
            </p:cNvSpPr>
            <p:nvPr/>
          </p:nvSpPr>
          <p:spPr bwMode="auto">
            <a:xfrm>
              <a:off x="-2227841" y="2371106"/>
              <a:ext cx="448518" cy="379867"/>
            </a:xfrm>
            <a:custGeom>
              <a:avLst/>
              <a:gdLst>
                <a:gd name="T0" fmla="*/ 24 w 196"/>
                <a:gd name="T1" fmla="*/ 83 h 166"/>
                <a:gd name="T2" fmla="*/ 55 w 196"/>
                <a:gd name="T3" fmla="*/ 133 h 166"/>
                <a:gd name="T4" fmla="*/ 168 w 196"/>
                <a:gd name="T5" fmla="*/ 0 h 166"/>
                <a:gd name="T6" fmla="*/ 196 w 196"/>
                <a:gd name="T7" fmla="*/ 31 h 166"/>
                <a:gd name="T8" fmla="*/ 55 w 196"/>
                <a:gd name="T9" fmla="*/ 166 h 166"/>
                <a:gd name="T10" fmla="*/ 0 w 196"/>
                <a:gd name="T11" fmla="*/ 105 h 166"/>
                <a:gd name="T12" fmla="*/ 24 w 196"/>
                <a:gd name="T13" fmla="*/ 83 h 166"/>
              </a:gdLst>
              <a:ahLst/>
              <a:cxnLst>
                <a:cxn ang="0">
                  <a:pos x="T0" y="T1"/>
                </a:cxn>
                <a:cxn ang="0">
                  <a:pos x="T2" y="T3"/>
                </a:cxn>
                <a:cxn ang="0">
                  <a:pos x="T4" y="T5"/>
                </a:cxn>
                <a:cxn ang="0">
                  <a:pos x="T6" y="T7"/>
                </a:cxn>
                <a:cxn ang="0">
                  <a:pos x="T8" y="T9"/>
                </a:cxn>
                <a:cxn ang="0">
                  <a:pos x="T10" y="T11"/>
                </a:cxn>
                <a:cxn ang="0">
                  <a:pos x="T12" y="T13"/>
                </a:cxn>
              </a:cxnLst>
              <a:rect l="0" t="0" r="r" b="b"/>
              <a:pathLst>
                <a:path w="196" h="166">
                  <a:moveTo>
                    <a:pt x="24" y="83"/>
                  </a:moveTo>
                  <a:lnTo>
                    <a:pt x="55" y="133"/>
                  </a:lnTo>
                  <a:lnTo>
                    <a:pt x="168" y="0"/>
                  </a:lnTo>
                  <a:lnTo>
                    <a:pt x="196" y="31"/>
                  </a:lnTo>
                  <a:lnTo>
                    <a:pt x="55" y="166"/>
                  </a:lnTo>
                  <a:lnTo>
                    <a:pt x="0" y="105"/>
                  </a:lnTo>
                  <a:lnTo>
                    <a:pt x="24" y="83"/>
                  </a:lnTo>
                  <a:close/>
                </a:path>
              </a:pathLst>
            </a:cu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51" name="Freeform 28">
              <a:extLst>
                <a:ext uri="{FF2B5EF4-FFF2-40B4-BE49-F238E27FC236}">
                  <a16:creationId xmlns:a16="http://schemas.microsoft.com/office/drawing/2014/main" xmlns="" id="{ADBB1689-C75D-4208-A888-3D70CC07A18A}"/>
                </a:ext>
              </a:extLst>
            </p:cNvPr>
            <p:cNvSpPr>
              <a:spLocks/>
            </p:cNvSpPr>
            <p:nvPr/>
          </p:nvSpPr>
          <p:spPr bwMode="auto">
            <a:xfrm>
              <a:off x="-1934606" y="2383275"/>
              <a:ext cx="448515" cy="379867"/>
            </a:xfrm>
            <a:custGeom>
              <a:avLst/>
              <a:gdLst>
                <a:gd name="T0" fmla="*/ 24 w 196"/>
                <a:gd name="T1" fmla="*/ 83 h 166"/>
                <a:gd name="T2" fmla="*/ 55 w 196"/>
                <a:gd name="T3" fmla="*/ 133 h 166"/>
                <a:gd name="T4" fmla="*/ 168 w 196"/>
                <a:gd name="T5" fmla="*/ 0 h 166"/>
                <a:gd name="T6" fmla="*/ 196 w 196"/>
                <a:gd name="T7" fmla="*/ 31 h 166"/>
                <a:gd name="T8" fmla="*/ 55 w 196"/>
                <a:gd name="T9" fmla="*/ 166 h 166"/>
                <a:gd name="T10" fmla="*/ 0 w 196"/>
                <a:gd name="T11" fmla="*/ 105 h 166"/>
                <a:gd name="T12" fmla="*/ 24 w 196"/>
                <a:gd name="T13" fmla="*/ 83 h 166"/>
              </a:gdLst>
              <a:ahLst/>
              <a:cxnLst>
                <a:cxn ang="0">
                  <a:pos x="T0" y="T1"/>
                </a:cxn>
                <a:cxn ang="0">
                  <a:pos x="T2" y="T3"/>
                </a:cxn>
                <a:cxn ang="0">
                  <a:pos x="T4" y="T5"/>
                </a:cxn>
                <a:cxn ang="0">
                  <a:pos x="T6" y="T7"/>
                </a:cxn>
                <a:cxn ang="0">
                  <a:pos x="T8" y="T9"/>
                </a:cxn>
                <a:cxn ang="0">
                  <a:pos x="T10" y="T11"/>
                </a:cxn>
                <a:cxn ang="0">
                  <a:pos x="T12" y="T13"/>
                </a:cxn>
              </a:cxnLst>
              <a:rect l="0" t="0" r="r" b="b"/>
              <a:pathLst>
                <a:path w="196" h="166">
                  <a:moveTo>
                    <a:pt x="24" y="83"/>
                  </a:moveTo>
                  <a:lnTo>
                    <a:pt x="55" y="133"/>
                  </a:lnTo>
                  <a:lnTo>
                    <a:pt x="168" y="0"/>
                  </a:lnTo>
                  <a:lnTo>
                    <a:pt x="196" y="31"/>
                  </a:lnTo>
                  <a:lnTo>
                    <a:pt x="55" y="166"/>
                  </a:lnTo>
                  <a:lnTo>
                    <a:pt x="0" y="105"/>
                  </a:lnTo>
                  <a:lnTo>
                    <a:pt x="24" y="83"/>
                  </a:lnTo>
                  <a:close/>
                </a:path>
              </a:pathLst>
            </a:cu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grpSp>
      <p:grpSp>
        <p:nvGrpSpPr>
          <p:cNvPr id="52" name="Group 51">
            <a:extLst>
              <a:ext uri="{FF2B5EF4-FFF2-40B4-BE49-F238E27FC236}">
                <a16:creationId xmlns:a16="http://schemas.microsoft.com/office/drawing/2014/main" xmlns="" id="{D944B42F-E477-4FEB-89B2-615F4F95AAB6}"/>
              </a:ext>
            </a:extLst>
          </p:cNvPr>
          <p:cNvGrpSpPr>
            <a:grpSpLocks noChangeAspect="1"/>
          </p:cNvGrpSpPr>
          <p:nvPr/>
        </p:nvGrpSpPr>
        <p:grpSpPr>
          <a:xfrm>
            <a:off x="9084290" y="3523861"/>
            <a:ext cx="425735" cy="360000"/>
            <a:chOff x="1752600" y="2374901"/>
            <a:chExt cx="884238" cy="747712"/>
          </a:xfrm>
          <a:solidFill>
            <a:schemeClr val="accent5"/>
          </a:solidFill>
        </p:grpSpPr>
        <p:sp>
          <p:nvSpPr>
            <p:cNvPr id="53" name="Freeform 32">
              <a:extLst>
                <a:ext uri="{FF2B5EF4-FFF2-40B4-BE49-F238E27FC236}">
                  <a16:creationId xmlns:a16="http://schemas.microsoft.com/office/drawing/2014/main" xmlns="" id="{34BD27A0-7656-4F0A-BD7A-8EF3D0A3B4AD}"/>
                </a:ext>
              </a:extLst>
            </p:cNvPr>
            <p:cNvSpPr>
              <a:spLocks/>
            </p:cNvSpPr>
            <p:nvPr/>
          </p:nvSpPr>
          <p:spPr bwMode="auto">
            <a:xfrm>
              <a:off x="1919288" y="2374901"/>
              <a:ext cx="717550" cy="603250"/>
            </a:xfrm>
            <a:custGeom>
              <a:avLst/>
              <a:gdLst>
                <a:gd name="T0" fmla="*/ 298 w 701"/>
                <a:gd name="T1" fmla="*/ 187 h 589"/>
                <a:gd name="T2" fmla="*/ 100 w 701"/>
                <a:gd name="T3" fmla="*/ 277 h 589"/>
                <a:gd name="T4" fmla="*/ 0 w 701"/>
                <a:gd name="T5" fmla="*/ 536 h 589"/>
                <a:gd name="T6" fmla="*/ 4 w 701"/>
                <a:gd name="T7" fmla="*/ 536 h 589"/>
                <a:gd name="T8" fmla="*/ 262 w 701"/>
                <a:gd name="T9" fmla="*/ 393 h 589"/>
                <a:gd name="T10" fmla="*/ 301 w 701"/>
                <a:gd name="T11" fmla="*/ 393 h 589"/>
                <a:gd name="T12" fmla="*/ 265 w 701"/>
                <a:gd name="T13" fmla="*/ 516 h 589"/>
                <a:gd name="T14" fmla="*/ 320 w 701"/>
                <a:gd name="T15" fmla="*/ 558 h 589"/>
                <a:gd name="T16" fmla="*/ 701 w 701"/>
                <a:gd name="T17" fmla="*/ 294 h 589"/>
                <a:gd name="T18" fmla="*/ 320 w 701"/>
                <a:gd name="T19" fmla="*/ 30 h 589"/>
                <a:gd name="T20" fmla="*/ 265 w 701"/>
                <a:gd name="T21" fmla="*/ 73 h 589"/>
                <a:gd name="T22" fmla="*/ 298 w 701"/>
                <a:gd name="T23" fmla="*/ 187 h 5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01" h="589">
                  <a:moveTo>
                    <a:pt x="298" y="187"/>
                  </a:moveTo>
                  <a:cubicBezTo>
                    <a:pt x="222" y="197"/>
                    <a:pt x="153" y="226"/>
                    <a:pt x="100" y="277"/>
                  </a:cubicBezTo>
                  <a:cubicBezTo>
                    <a:pt x="30" y="343"/>
                    <a:pt x="0" y="438"/>
                    <a:pt x="0" y="536"/>
                  </a:cubicBezTo>
                  <a:cubicBezTo>
                    <a:pt x="4" y="536"/>
                    <a:pt x="4" y="536"/>
                    <a:pt x="4" y="536"/>
                  </a:cubicBezTo>
                  <a:cubicBezTo>
                    <a:pt x="58" y="450"/>
                    <a:pt x="153" y="393"/>
                    <a:pt x="262" y="393"/>
                  </a:cubicBezTo>
                  <a:cubicBezTo>
                    <a:pt x="301" y="393"/>
                    <a:pt x="301" y="393"/>
                    <a:pt x="301" y="393"/>
                  </a:cubicBezTo>
                  <a:cubicBezTo>
                    <a:pt x="265" y="516"/>
                    <a:pt x="265" y="516"/>
                    <a:pt x="265" y="516"/>
                  </a:cubicBezTo>
                  <a:cubicBezTo>
                    <a:pt x="250" y="559"/>
                    <a:pt x="278" y="589"/>
                    <a:pt x="320" y="558"/>
                  </a:cubicBezTo>
                  <a:cubicBezTo>
                    <a:pt x="363" y="527"/>
                    <a:pt x="701" y="294"/>
                    <a:pt x="701" y="294"/>
                  </a:cubicBezTo>
                  <a:cubicBezTo>
                    <a:pt x="701" y="294"/>
                    <a:pt x="363" y="61"/>
                    <a:pt x="320" y="30"/>
                  </a:cubicBezTo>
                  <a:cubicBezTo>
                    <a:pt x="278" y="0"/>
                    <a:pt x="250" y="29"/>
                    <a:pt x="265" y="73"/>
                  </a:cubicBezTo>
                  <a:lnTo>
                    <a:pt x="298" y="187"/>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54" name="Freeform 33">
              <a:extLst>
                <a:ext uri="{FF2B5EF4-FFF2-40B4-BE49-F238E27FC236}">
                  <a16:creationId xmlns:a16="http://schemas.microsoft.com/office/drawing/2014/main" xmlns="" id="{0A29F076-32C5-4B14-8ED6-356ADB855C0E}"/>
                </a:ext>
              </a:extLst>
            </p:cNvPr>
            <p:cNvSpPr>
              <a:spLocks/>
            </p:cNvSpPr>
            <p:nvPr/>
          </p:nvSpPr>
          <p:spPr bwMode="auto">
            <a:xfrm>
              <a:off x="1752600" y="2478088"/>
              <a:ext cx="692150" cy="644525"/>
            </a:xfrm>
            <a:custGeom>
              <a:avLst/>
              <a:gdLst>
                <a:gd name="T0" fmla="*/ 607 w 677"/>
                <a:gd name="T1" fmla="*/ 560 h 630"/>
                <a:gd name="T2" fmla="*/ 70 w 677"/>
                <a:gd name="T3" fmla="*/ 560 h 630"/>
                <a:gd name="T4" fmla="*/ 70 w 677"/>
                <a:gd name="T5" fmla="*/ 69 h 630"/>
                <a:gd name="T6" fmla="*/ 340 w 677"/>
                <a:gd name="T7" fmla="*/ 69 h 630"/>
                <a:gd name="T8" fmla="*/ 319 w 677"/>
                <a:gd name="T9" fmla="*/ 0 h 630"/>
                <a:gd name="T10" fmla="*/ 0 w 677"/>
                <a:gd name="T11" fmla="*/ 0 h 630"/>
                <a:gd name="T12" fmla="*/ 0 w 677"/>
                <a:gd name="T13" fmla="*/ 630 h 630"/>
                <a:gd name="T14" fmla="*/ 677 w 677"/>
                <a:gd name="T15" fmla="*/ 630 h 630"/>
                <a:gd name="T16" fmla="*/ 677 w 677"/>
                <a:gd name="T17" fmla="*/ 422 h 630"/>
                <a:gd name="T18" fmla="*/ 607 w 677"/>
                <a:gd name="T19" fmla="*/ 471 h 630"/>
                <a:gd name="T20" fmla="*/ 607 w 677"/>
                <a:gd name="T21" fmla="*/ 560 h 6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677" h="630">
                  <a:moveTo>
                    <a:pt x="607" y="560"/>
                  </a:moveTo>
                  <a:cubicBezTo>
                    <a:pt x="70" y="560"/>
                    <a:pt x="70" y="560"/>
                    <a:pt x="70" y="560"/>
                  </a:cubicBezTo>
                  <a:cubicBezTo>
                    <a:pt x="70" y="69"/>
                    <a:pt x="70" y="69"/>
                    <a:pt x="70" y="69"/>
                  </a:cubicBezTo>
                  <a:cubicBezTo>
                    <a:pt x="340" y="69"/>
                    <a:pt x="340" y="69"/>
                    <a:pt x="340" y="69"/>
                  </a:cubicBezTo>
                  <a:cubicBezTo>
                    <a:pt x="319" y="0"/>
                    <a:pt x="319" y="0"/>
                    <a:pt x="319" y="0"/>
                  </a:cubicBezTo>
                  <a:cubicBezTo>
                    <a:pt x="0" y="0"/>
                    <a:pt x="0" y="0"/>
                    <a:pt x="0" y="0"/>
                  </a:cubicBezTo>
                  <a:cubicBezTo>
                    <a:pt x="0" y="630"/>
                    <a:pt x="0" y="630"/>
                    <a:pt x="0" y="630"/>
                  </a:cubicBezTo>
                  <a:cubicBezTo>
                    <a:pt x="677" y="630"/>
                    <a:pt x="677" y="630"/>
                    <a:pt x="677" y="630"/>
                  </a:cubicBezTo>
                  <a:cubicBezTo>
                    <a:pt x="677" y="422"/>
                    <a:pt x="677" y="422"/>
                    <a:pt x="677" y="422"/>
                  </a:cubicBezTo>
                  <a:cubicBezTo>
                    <a:pt x="653" y="439"/>
                    <a:pt x="629" y="455"/>
                    <a:pt x="607" y="471"/>
                  </a:cubicBezTo>
                  <a:lnTo>
                    <a:pt x="607" y="56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nvGrpSpPr>
          <p:cNvPr id="7" name="Group 6">
            <a:extLst>
              <a:ext uri="{FF2B5EF4-FFF2-40B4-BE49-F238E27FC236}">
                <a16:creationId xmlns:a16="http://schemas.microsoft.com/office/drawing/2014/main" xmlns="" id="{CD23C07F-78CA-4C52-A89D-9ADE5DCD17C6}"/>
              </a:ext>
            </a:extLst>
          </p:cNvPr>
          <p:cNvGrpSpPr/>
          <p:nvPr/>
        </p:nvGrpSpPr>
        <p:grpSpPr>
          <a:xfrm>
            <a:off x="5865081" y="3566664"/>
            <a:ext cx="610534" cy="366799"/>
            <a:chOff x="5848672" y="2953953"/>
            <a:chExt cx="610534" cy="366799"/>
          </a:xfrm>
        </p:grpSpPr>
        <p:sp>
          <p:nvSpPr>
            <p:cNvPr id="55" name="Freeform 11">
              <a:extLst>
                <a:ext uri="{FF2B5EF4-FFF2-40B4-BE49-F238E27FC236}">
                  <a16:creationId xmlns:a16="http://schemas.microsoft.com/office/drawing/2014/main" xmlns="" id="{023F6C8C-2B26-496B-9A06-FAEA9FFEB713}"/>
                </a:ext>
              </a:extLst>
            </p:cNvPr>
            <p:cNvSpPr>
              <a:spLocks noChangeAspect="1" noEditPoints="1"/>
            </p:cNvSpPr>
            <p:nvPr>
              <p:custDataLst>
                <p:tags r:id="rId4"/>
              </p:custDataLst>
            </p:nvPr>
          </p:nvSpPr>
          <p:spPr bwMode="auto">
            <a:xfrm>
              <a:off x="5848672" y="2953953"/>
              <a:ext cx="216388" cy="248289"/>
            </a:xfrm>
            <a:custGeom>
              <a:avLst/>
              <a:gdLst>
                <a:gd name="T0" fmla="*/ 160 w 1760"/>
                <a:gd name="T1" fmla="*/ 609 h 2020"/>
                <a:gd name="T2" fmla="*/ 160 w 1760"/>
                <a:gd name="T3" fmla="*/ 529 h 2020"/>
                <a:gd name="T4" fmla="*/ 480 w 1760"/>
                <a:gd name="T5" fmla="*/ 529 h 2020"/>
                <a:gd name="T6" fmla="*/ 480 w 1760"/>
                <a:gd name="T7" fmla="*/ 1489 h 2020"/>
                <a:gd name="T8" fmla="*/ 160 w 1760"/>
                <a:gd name="T9" fmla="*/ 1489 h 2020"/>
                <a:gd name="T10" fmla="*/ 160 w 1760"/>
                <a:gd name="T11" fmla="*/ 1409 h 2020"/>
                <a:gd name="T12" fmla="*/ 120 w 1760"/>
                <a:gd name="T13" fmla="*/ 1409 h 2020"/>
                <a:gd name="T14" fmla="*/ 0 w 1760"/>
                <a:gd name="T15" fmla="*/ 1289 h 2020"/>
                <a:gd name="T16" fmla="*/ 0 w 1760"/>
                <a:gd name="T17" fmla="*/ 729 h 2020"/>
                <a:gd name="T18" fmla="*/ 120 w 1760"/>
                <a:gd name="T19" fmla="*/ 609 h 2020"/>
                <a:gd name="T20" fmla="*/ 160 w 1760"/>
                <a:gd name="T21" fmla="*/ 609 h 2020"/>
                <a:gd name="T22" fmla="*/ 560 w 1760"/>
                <a:gd name="T23" fmla="*/ 477 h 2020"/>
                <a:gd name="T24" fmla="*/ 1032 w 1760"/>
                <a:gd name="T25" fmla="*/ 35 h 2020"/>
                <a:gd name="T26" fmla="*/ 1140 w 1760"/>
                <a:gd name="T27" fmla="*/ 16 h 2020"/>
                <a:gd name="T28" fmla="*/ 1200 w 1760"/>
                <a:gd name="T29" fmla="*/ 107 h 2020"/>
                <a:gd name="T30" fmla="*/ 1200 w 1760"/>
                <a:gd name="T31" fmla="*/ 1911 h 2020"/>
                <a:gd name="T32" fmla="*/ 1083 w 1760"/>
                <a:gd name="T33" fmla="*/ 2009 h 2020"/>
                <a:gd name="T34" fmla="*/ 1032 w 1760"/>
                <a:gd name="T35" fmla="*/ 1983 h 2020"/>
                <a:gd name="T36" fmla="*/ 560 w 1760"/>
                <a:gd name="T37" fmla="*/ 1541 h 2020"/>
                <a:gd name="T38" fmla="*/ 560 w 1760"/>
                <a:gd name="T39" fmla="*/ 477 h 2020"/>
                <a:gd name="T40" fmla="*/ 1320 w 1760"/>
                <a:gd name="T41" fmla="*/ 462 h 2020"/>
                <a:gd name="T42" fmla="*/ 1760 w 1760"/>
                <a:gd name="T43" fmla="*/ 1009 h 2020"/>
                <a:gd name="T44" fmla="*/ 1320 w 1760"/>
                <a:gd name="T45" fmla="*/ 1556 h 2020"/>
                <a:gd name="T46" fmla="*/ 1320 w 1760"/>
                <a:gd name="T47" fmla="*/ 1474 h 2020"/>
                <a:gd name="T48" fmla="*/ 1680 w 1760"/>
                <a:gd name="T49" fmla="*/ 1009 h 2020"/>
                <a:gd name="T50" fmla="*/ 1320 w 1760"/>
                <a:gd name="T51" fmla="*/ 544 h 2020"/>
                <a:gd name="T52" fmla="*/ 1320 w 1760"/>
                <a:gd name="T53" fmla="*/ 462 h 2020"/>
                <a:gd name="T54" fmla="*/ 1320 w 1760"/>
                <a:gd name="T55" fmla="*/ 712 h 2020"/>
                <a:gd name="T56" fmla="*/ 1520 w 1760"/>
                <a:gd name="T57" fmla="*/ 1009 h 2020"/>
                <a:gd name="T58" fmla="*/ 1320 w 1760"/>
                <a:gd name="T59" fmla="*/ 1306 h 2020"/>
                <a:gd name="T60" fmla="*/ 1320 w 1760"/>
                <a:gd name="T61" fmla="*/ 1217 h 2020"/>
                <a:gd name="T62" fmla="*/ 1440 w 1760"/>
                <a:gd name="T63" fmla="*/ 1009 h 2020"/>
                <a:gd name="T64" fmla="*/ 1320 w 1760"/>
                <a:gd name="T65" fmla="*/ 801 h 2020"/>
                <a:gd name="T66" fmla="*/ 1320 w 1760"/>
                <a:gd name="T67" fmla="*/ 712 h 2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60" h="2020">
                  <a:moveTo>
                    <a:pt x="160" y="609"/>
                  </a:moveTo>
                  <a:cubicBezTo>
                    <a:pt x="160" y="529"/>
                    <a:pt x="160" y="529"/>
                    <a:pt x="160" y="529"/>
                  </a:cubicBezTo>
                  <a:cubicBezTo>
                    <a:pt x="480" y="529"/>
                    <a:pt x="480" y="529"/>
                    <a:pt x="480" y="529"/>
                  </a:cubicBezTo>
                  <a:cubicBezTo>
                    <a:pt x="480" y="1489"/>
                    <a:pt x="480" y="1489"/>
                    <a:pt x="480" y="1489"/>
                  </a:cubicBezTo>
                  <a:cubicBezTo>
                    <a:pt x="160" y="1489"/>
                    <a:pt x="160" y="1489"/>
                    <a:pt x="160" y="1489"/>
                  </a:cubicBezTo>
                  <a:cubicBezTo>
                    <a:pt x="160" y="1409"/>
                    <a:pt x="160" y="1409"/>
                    <a:pt x="160" y="1409"/>
                  </a:cubicBezTo>
                  <a:cubicBezTo>
                    <a:pt x="120" y="1409"/>
                    <a:pt x="120" y="1409"/>
                    <a:pt x="120" y="1409"/>
                  </a:cubicBezTo>
                  <a:cubicBezTo>
                    <a:pt x="54" y="1409"/>
                    <a:pt x="0" y="1355"/>
                    <a:pt x="0" y="1289"/>
                  </a:cubicBezTo>
                  <a:cubicBezTo>
                    <a:pt x="0" y="729"/>
                    <a:pt x="0" y="729"/>
                    <a:pt x="0" y="729"/>
                  </a:cubicBezTo>
                  <a:cubicBezTo>
                    <a:pt x="0" y="663"/>
                    <a:pt x="54" y="609"/>
                    <a:pt x="120" y="609"/>
                  </a:cubicBezTo>
                  <a:lnTo>
                    <a:pt x="160" y="609"/>
                  </a:lnTo>
                  <a:close/>
                  <a:moveTo>
                    <a:pt x="560" y="477"/>
                  </a:moveTo>
                  <a:cubicBezTo>
                    <a:pt x="1032" y="35"/>
                    <a:pt x="1032" y="35"/>
                    <a:pt x="1032" y="35"/>
                  </a:cubicBezTo>
                  <a:cubicBezTo>
                    <a:pt x="1061" y="7"/>
                    <a:pt x="1102" y="0"/>
                    <a:pt x="1140" y="16"/>
                  </a:cubicBezTo>
                  <a:cubicBezTo>
                    <a:pt x="1176" y="32"/>
                    <a:pt x="1200" y="67"/>
                    <a:pt x="1200" y="107"/>
                  </a:cubicBezTo>
                  <a:cubicBezTo>
                    <a:pt x="1200" y="1911"/>
                    <a:pt x="1200" y="1911"/>
                    <a:pt x="1200" y="1911"/>
                  </a:cubicBezTo>
                  <a:cubicBezTo>
                    <a:pt x="1200" y="1973"/>
                    <a:pt x="1144" y="2020"/>
                    <a:pt x="1083" y="2009"/>
                  </a:cubicBezTo>
                  <a:cubicBezTo>
                    <a:pt x="1064" y="2006"/>
                    <a:pt x="1046" y="1997"/>
                    <a:pt x="1032" y="1983"/>
                  </a:cubicBezTo>
                  <a:cubicBezTo>
                    <a:pt x="560" y="1541"/>
                    <a:pt x="560" y="1541"/>
                    <a:pt x="560" y="1541"/>
                  </a:cubicBezTo>
                  <a:lnTo>
                    <a:pt x="560" y="477"/>
                  </a:lnTo>
                  <a:close/>
                  <a:moveTo>
                    <a:pt x="1320" y="462"/>
                  </a:moveTo>
                  <a:cubicBezTo>
                    <a:pt x="1576" y="518"/>
                    <a:pt x="1760" y="746"/>
                    <a:pt x="1760" y="1009"/>
                  </a:cubicBezTo>
                  <a:cubicBezTo>
                    <a:pt x="1760" y="1272"/>
                    <a:pt x="1576" y="1500"/>
                    <a:pt x="1320" y="1556"/>
                  </a:cubicBezTo>
                  <a:cubicBezTo>
                    <a:pt x="1320" y="1474"/>
                    <a:pt x="1320" y="1474"/>
                    <a:pt x="1320" y="1474"/>
                  </a:cubicBezTo>
                  <a:cubicBezTo>
                    <a:pt x="1532" y="1419"/>
                    <a:pt x="1680" y="1228"/>
                    <a:pt x="1680" y="1009"/>
                  </a:cubicBezTo>
                  <a:cubicBezTo>
                    <a:pt x="1680" y="790"/>
                    <a:pt x="1532" y="599"/>
                    <a:pt x="1320" y="544"/>
                  </a:cubicBezTo>
                  <a:lnTo>
                    <a:pt x="1320" y="462"/>
                  </a:lnTo>
                  <a:close/>
                  <a:moveTo>
                    <a:pt x="1320" y="712"/>
                  </a:moveTo>
                  <a:cubicBezTo>
                    <a:pt x="1440" y="761"/>
                    <a:pt x="1520" y="878"/>
                    <a:pt x="1520" y="1009"/>
                  </a:cubicBezTo>
                  <a:cubicBezTo>
                    <a:pt x="1520" y="1140"/>
                    <a:pt x="1440" y="1257"/>
                    <a:pt x="1320" y="1306"/>
                  </a:cubicBezTo>
                  <a:cubicBezTo>
                    <a:pt x="1320" y="1217"/>
                    <a:pt x="1320" y="1217"/>
                    <a:pt x="1320" y="1217"/>
                  </a:cubicBezTo>
                  <a:cubicBezTo>
                    <a:pt x="1394" y="1174"/>
                    <a:pt x="1440" y="1095"/>
                    <a:pt x="1440" y="1009"/>
                  </a:cubicBezTo>
                  <a:cubicBezTo>
                    <a:pt x="1440" y="923"/>
                    <a:pt x="1394" y="844"/>
                    <a:pt x="1320" y="801"/>
                  </a:cubicBezTo>
                  <a:lnTo>
                    <a:pt x="1320" y="712"/>
                  </a:ln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000" noProof="1"/>
            </a:p>
          </p:txBody>
        </p:sp>
        <p:grpSp>
          <p:nvGrpSpPr>
            <p:cNvPr id="56" name="Group 55">
              <a:extLst>
                <a:ext uri="{FF2B5EF4-FFF2-40B4-BE49-F238E27FC236}">
                  <a16:creationId xmlns:a16="http://schemas.microsoft.com/office/drawing/2014/main" xmlns="" id="{E2D9F430-F59F-4A41-936E-42A5CF599FAD}"/>
                </a:ext>
              </a:extLst>
            </p:cNvPr>
            <p:cNvGrpSpPr>
              <a:grpSpLocks noChangeAspect="1"/>
            </p:cNvGrpSpPr>
            <p:nvPr/>
          </p:nvGrpSpPr>
          <p:grpSpPr>
            <a:xfrm>
              <a:off x="5885190" y="3017369"/>
              <a:ext cx="574016" cy="303383"/>
              <a:chOff x="-2227841" y="2371106"/>
              <a:chExt cx="741750" cy="392036"/>
            </a:xfrm>
            <a:solidFill>
              <a:schemeClr val="accent2"/>
            </a:solidFill>
          </p:grpSpPr>
          <p:sp>
            <p:nvSpPr>
              <p:cNvPr id="57" name="Freeform 28">
                <a:extLst>
                  <a:ext uri="{FF2B5EF4-FFF2-40B4-BE49-F238E27FC236}">
                    <a16:creationId xmlns:a16="http://schemas.microsoft.com/office/drawing/2014/main" xmlns="" id="{C3E6F172-B88A-4CB9-AD74-4FF3378FB5CA}"/>
                  </a:ext>
                </a:extLst>
              </p:cNvPr>
              <p:cNvSpPr>
                <a:spLocks/>
              </p:cNvSpPr>
              <p:nvPr/>
            </p:nvSpPr>
            <p:spPr bwMode="auto">
              <a:xfrm>
                <a:off x="-2227841" y="2371106"/>
                <a:ext cx="448518" cy="379867"/>
              </a:xfrm>
              <a:custGeom>
                <a:avLst/>
                <a:gdLst>
                  <a:gd name="T0" fmla="*/ 24 w 196"/>
                  <a:gd name="T1" fmla="*/ 83 h 166"/>
                  <a:gd name="T2" fmla="*/ 55 w 196"/>
                  <a:gd name="T3" fmla="*/ 133 h 166"/>
                  <a:gd name="T4" fmla="*/ 168 w 196"/>
                  <a:gd name="T5" fmla="*/ 0 h 166"/>
                  <a:gd name="T6" fmla="*/ 196 w 196"/>
                  <a:gd name="T7" fmla="*/ 31 h 166"/>
                  <a:gd name="T8" fmla="*/ 55 w 196"/>
                  <a:gd name="T9" fmla="*/ 166 h 166"/>
                  <a:gd name="T10" fmla="*/ 0 w 196"/>
                  <a:gd name="T11" fmla="*/ 105 h 166"/>
                  <a:gd name="T12" fmla="*/ 24 w 196"/>
                  <a:gd name="T13" fmla="*/ 83 h 166"/>
                </a:gdLst>
                <a:ahLst/>
                <a:cxnLst>
                  <a:cxn ang="0">
                    <a:pos x="T0" y="T1"/>
                  </a:cxn>
                  <a:cxn ang="0">
                    <a:pos x="T2" y="T3"/>
                  </a:cxn>
                  <a:cxn ang="0">
                    <a:pos x="T4" y="T5"/>
                  </a:cxn>
                  <a:cxn ang="0">
                    <a:pos x="T6" y="T7"/>
                  </a:cxn>
                  <a:cxn ang="0">
                    <a:pos x="T8" y="T9"/>
                  </a:cxn>
                  <a:cxn ang="0">
                    <a:pos x="T10" y="T11"/>
                  </a:cxn>
                  <a:cxn ang="0">
                    <a:pos x="T12" y="T13"/>
                  </a:cxn>
                </a:cxnLst>
                <a:rect l="0" t="0" r="r" b="b"/>
                <a:pathLst>
                  <a:path w="196" h="166">
                    <a:moveTo>
                      <a:pt x="24" y="83"/>
                    </a:moveTo>
                    <a:lnTo>
                      <a:pt x="55" y="133"/>
                    </a:lnTo>
                    <a:lnTo>
                      <a:pt x="168" y="0"/>
                    </a:lnTo>
                    <a:lnTo>
                      <a:pt x="196" y="31"/>
                    </a:lnTo>
                    <a:lnTo>
                      <a:pt x="55" y="166"/>
                    </a:lnTo>
                    <a:lnTo>
                      <a:pt x="0" y="105"/>
                    </a:lnTo>
                    <a:lnTo>
                      <a:pt x="24" y="83"/>
                    </a:lnTo>
                    <a:close/>
                  </a:path>
                </a:pathLst>
              </a:cu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sp>
            <p:nvSpPr>
              <p:cNvPr id="58" name="Freeform 28">
                <a:extLst>
                  <a:ext uri="{FF2B5EF4-FFF2-40B4-BE49-F238E27FC236}">
                    <a16:creationId xmlns:a16="http://schemas.microsoft.com/office/drawing/2014/main" xmlns="" id="{BF7B88A3-0CA2-40B0-ABE8-4F51FB72DFAE}"/>
                  </a:ext>
                </a:extLst>
              </p:cNvPr>
              <p:cNvSpPr>
                <a:spLocks/>
              </p:cNvSpPr>
              <p:nvPr/>
            </p:nvSpPr>
            <p:spPr bwMode="auto">
              <a:xfrm>
                <a:off x="-1934606" y="2383275"/>
                <a:ext cx="448515" cy="379867"/>
              </a:xfrm>
              <a:custGeom>
                <a:avLst/>
                <a:gdLst>
                  <a:gd name="T0" fmla="*/ 24 w 196"/>
                  <a:gd name="T1" fmla="*/ 83 h 166"/>
                  <a:gd name="T2" fmla="*/ 55 w 196"/>
                  <a:gd name="T3" fmla="*/ 133 h 166"/>
                  <a:gd name="T4" fmla="*/ 168 w 196"/>
                  <a:gd name="T5" fmla="*/ 0 h 166"/>
                  <a:gd name="T6" fmla="*/ 196 w 196"/>
                  <a:gd name="T7" fmla="*/ 31 h 166"/>
                  <a:gd name="T8" fmla="*/ 55 w 196"/>
                  <a:gd name="T9" fmla="*/ 166 h 166"/>
                  <a:gd name="T10" fmla="*/ 0 w 196"/>
                  <a:gd name="T11" fmla="*/ 105 h 166"/>
                  <a:gd name="T12" fmla="*/ 24 w 196"/>
                  <a:gd name="T13" fmla="*/ 83 h 166"/>
                </a:gdLst>
                <a:ahLst/>
                <a:cxnLst>
                  <a:cxn ang="0">
                    <a:pos x="T0" y="T1"/>
                  </a:cxn>
                  <a:cxn ang="0">
                    <a:pos x="T2" y="T3"/>
                  </a:cxn>
                  <a:cxn ang="0">
                    <a:pos x="T4" y="T5"/>
                  </a:cxn>
                  <a:cxn ang="0">
                    <a:pos x="T6" y="T7"/>
                  </a:cxn>
                  <a:cxn ang="0">
                    <a:pos x="T8" y="T9"/>
                  </a:cxn>
                  <a:cxn ang="0">
                    <a:pos x="T10" y="T11"/>
                  </a:cxn>
                  <a:cxn ang="0">
                    <a:pos x="T12" y="T13"/>
                  </a:cxn>
                </a:cxnLst>
                <a:rect l="0" t="0" r="r" b="b"/>
                <a:pathLst>
                  <a:path w="196" h="166">
                    <a:moveTo>
                      <a:pt x="24" y="83"/>
                    </a:moveTo>
                    <a:lnTo>
                      <a:pt x="55" y="133"/>
                    </a:lnTo>
                    <a:lnTo>
                      <a:pt x="168" y="0"/>
                    </a:lnTo>
                    <a:lnTo>
                      <a:pt x="196" y="31"/>
                    </a:lnTo>
                    <a:lnTo>
                      <a:pt x="55" y="166"/>
                    </a:lnTo>
                    <a:lnTo>
                      <a:pt x="0" y="105"/>
                    </a:lnTo>
                    <a:lnTo>
                      <a:pt x="24" y="83"/>
                    </a:lnTo>
                    <a:close/>
                  </a:path>
                </a:pathLst>
              </a:custGeom>
              <a:grpFill/>
              <a:ln w="12700">
                <a:solidFill>
                  <a:schemeClr val="bg1"/>
                </a:solidFill>
              </a:ln>
            </p:spPr>
            <p:txBody>
              <a:bodyPr vert="horz" wrap="square" lIns="91440" tIns="45720" rIns="91440" bIns="45720" numCol="1" anchor="t" anchorCtr="0" compatLnSpc="1">
                <a:prstTxWarp prst="textNoShape">
                  <a:avLst/>
                </a:prstTxWarp>
              </a:bodyPr>
              <a:lstStyle/>
              <a:p>
                <a:endParaRPr lang="en-US" dirty="0"/>
              </a:p>
            </p:txBody>
          </p:sp>
        </p:grpSp>
      </p:grpSp>
      <p:graphicFrame>
        <p:nvGraphicFramePr>
          <p:cNvPr id="59" name="Chart 58">
            <a:extLst>
              <a:ext uri="{FF2B5EF4-FFF2-40B4-BE49-F238E27FC236}">
                <a16:creationId xmlns:a16="http://schemas.microsoft.com/office/drawing/2014/main" xmlns="" id="{820A910E-252F-4A24-B469-CCA836C40CBF}"/>
              </a:ext>
            </a:extLst>
          </p:cNvPr>
          <p:cNvGraphicFramePr/>
          <p:nvPr>
            <p:extLst>
              <p:ext uri="{D42A27DB-BD31-4B8C-83A1-F6EECF244321}">
                <p14:modId xmlns:p14="http://schemas.microsoft.com/office/powerpoint/2010/main" val="3917688212"/>
              </p:ext>
            </p:extLst>
          </p:nvPr>
        </p:nvGraphicFramePr>
        <p:xfrm>
          <a:off x="1412655" y="1445206"/>
          <a:ext cx="9540267" cy="1646493"/>
        </p:xfrm>
        <a:graphic>
          <a:graphicData uri="http://schemas.openxmlformats.org/drawingml/2006/chart">
            <c:chart xmlns:c="http://schemas.openxmlformats.org/drawingml/2006/chart" xmlns:r="http://schemas.openxmlformats.org/officeDocument/2006/relationships" r:id="rId10"/>
          </a:graphicData>
        </a:graphic>
      </p:graphicFrame>
      <p:sp>
        <p:nvSpPr>
          <p:cNvPr id="61" name="Title 3">
            <a:extLst>
              <a:ext uri="{FF2B5EF4-FFF2-40B4-BE49-F238E27FC236}">
                <a16:creationId xmlns:a16="http://schemas.microsoft.com/office/drawing/2014/main" xmlns="" id="{F176EC7E-C3AD-4367-9372-9EE756E39797}"/>
              </a:ext>
            </a:extLst>
          </p:cNvPr>
          <p:cNvSpPr txBox="1">
            <a:spLocks/>
          </p:cNvSpPr>
          <p:nvPr>
            <p:custDataLst>
              <p:tags r:id="rId2"/>
            </p:custDataLst>
          </p:nvPr>
        </p:nvSpPr>
        <p:spPr bwMode="gray">
          <a:xfrm>
            <a:off x="-502173" y="1931985"/>
            <a:ext cx="1367192" cy="1366438"/>
          </a:xfrm>
          <a:prstGeom prst="ellipse">
            <a:avLst/>
          </a:prstGeom>
          <a:solidFill>
            <a:schemeClr val="accent4">
              <a:alpha val="80000"/>
            </a:schemeClr>
          </a:solidFill>
        </p:spPr>
        <p:txBody>
          <a:bodyPr vert="horz" wrap="square" lIns="0" tIns="1260000" rIns="0" bIns="0" rtlCol="0" anchor="t" anchorCtr="0">
            <a:noAutofit/>
          </a:bodyPr>
          <a:lstStyle>
            <a:lvl1pPr algn="l" defTabSz="914400" rtl="0" eaLnBrk="1" latinLnBrk="0" hangingPunct="1">
              <a:spcBef>
                <a:spcPct val="0"/>
              </a:spcBef>
              <a:buNone/>
              <a:defRPr sz="1800" kern="1200">
                <a:solidFill>
                  <a:schemeClr val="tx1"/>
                </a:solidFill>
                <a:latin typeface="Arial" pitchFamily="34" charset="0"/>
                <a:ea typeface="+mj-ea"/>
                <a:cs typeface="+mj-cs"/>
              </a:defRPr>
            </a:lvl1pPr>
          </a:lstStyle>
          <a:p>
            <a:pPr algn="ctr">
              <a:lnSpc>
                <a:spcPct val="90000"/>
              </a:lnSpc>
              <a:spcBef>
                <a:spcPts val="300"/>
              </a:spcBef>
            </a:pPr>
            <a:endParaRPr lang="en-US" sz="2400" b="1" dirty="0">
              <a:solidFill>
                <a:schemeClr val="bg1"/>
              </a:solidFill>
              <a:latin typeface="Arial"/>
            </a:endParaRPr>
          </a:p>
        </p:txBody>
      </p:sp>
      <p:sp>
        <p:nvSpPr>
          <p:cNvPr id="62" name="Title 3">
            <a:extLst>
              <a:ext uri="{FF2B5EF4-FFF2-40B4-BE49-F238E27FC236}">
                <a16:creationId xmlns:a16="http://schemas.microsoft.com/office/drawing/2014/main" xmlns="" id="{85927DC7-4BAD-40C3-881E-4CC1901F0504}"/>
              </a:ext>
            </a:extLst>
          </p:cNvPr>
          <p:cNvSpPr txBox="1">
            <a:spLocks/>
          </p:cNvSpPr>
          <p:nvPr>
            <p:custDataLst>
              <p:tags r:id="rId3"/>
            </p:custDataLst>
          </p:nvPr>
        </p:nvSpPr>
        <p:spPr bwMode="gray">
          <a:xfrm>
            <a:off x="-502173" y="4267343"/>
            <a:ext cx="1367192" cy="1366438"/>
          </a:xfrm>
          <a:prstGeom prst="ellipse">
            <a:avLst/>
          </a:prstGeom>
          <a:solidFill>
            <a:schemeClr val="accent4">
              <a:alpha val="80000"/>
            </a:schemeClr>
          </a:solidFill>
        </p:spPr>
        <p:txBody>
          <a:bodyPr vert="horz" wrap="square" lIns="0" tIns="1260000" rIns="0" bIns="0" rtlCol="0" anchor="t" anchorCtr="0">
            <a:noAutofit/>
          </a:bodyPr>
          <a:lstStyle>
            <a:lvl1pPr algn="l" defTabSz="914400" rtl="0" eaLnBrk="1" latinLnBrk="0" hangingPunct="1">
              <a:spcBef>
                <a:spcPct val="0"/>
              </a:spcBef>
              <a:buNone/>
              <a:defRPr sz="1800" kern="1200">
                <a:solidFill>
                  <a:schemeClr val="tx1"/>
                </a:solidFill>
                <a:latin typeface="Arial" pitchFamily="34" charset="0"/>
                <a:ea typeface="+mj-ea"/>
                <a:cs typeface="+mj-cs"/>
              </a:defRPr>
            </a:lvl1pPr>
          </a:lstStyle>
          <a:p>
            <a:pPr algn="ctr">
              <a:lnSpc>
                <a:spcPct val="90000"/>
              </a:lnSpc>
              <a:spcBef>
                <a:spcPts val="300"/>
              </a:spcBef>
            </a:pPr>
            <a:endParaRPr lang="en-US" sz="2400" b="1" dirty="0">
              <a:solidFill>
                <a:schemeClr val="bg1"/>
              </a:solidFill>
              <a:latin typeface="Arial"/>
            </a:endParaRPr>
          </a:p>
        </p:txBody>
      </p:sp>
      <p:sp>
        <p:nvSpPr>
          <p:cNvPr id="63" name="TextBox 62">
            <a:extLst>
              <a:ext uri="{FF2B5EF4-FFF2-40B4-BE49-F238E27FC236}">
                <a16:creationId xmlns:a16="http://schemas.microsoft.com/office/drawing/2014/main" xmlns="" id="{B328DDAC-44E9-4B77-92BF-514033194485}"/>
              </a:ext>
            </a:extLst>
          </p:cNvPr>
          <p:cNvSpPr txBox="1"/>
          <p:nvPr/>
        </p:nvSpPr>
        <p:spPr bwMode="gray">
          <a:xfrm>
            <a:off x="93780" y="2452157"/>
            <a:ext cx="720000" cy="276999"/>
          </a:xfrm>
          <a:prstGeom prst="rect">
            <a:avLst/>
          </a:prstGeom>
          <a:noFill/>
        </p:spPr>
        <p:txBody>
          <a:bodyPr wrap="square" lIns="0" tIns="0" rIns="0" bIns="0" rtlCol="0">
            <a:spAutoFit/>
          </a:bodyPr>
          <a:lstStyle/>
          <a:p>
            <a:pPr>
              <a:spcBef>
                <a:spcPts val="300"/>
              </a:spcBef>
            </a:pPr>
            <a:r>
              <a:rPr lang="en-US" b="1" dirty="0">
                <a:solidFill>
                  <a:schemeClr val="bg1"/>
                </a:solidFill>
                <a:cs typeface="Arial" pitchFamily="34" charset="0"/>
              </a:rPr>
              <a:t>All</a:t>
            </a:r>
          </a:p>
        </p:txBody>
      </p:sp>
      <p:sp>
        <p:nvSpPr>
          <p:cNvPr id="64" name="TextBox 63">
            <a:extLst>
              <a:ext uri="{FF2B5EF4-FFF2-40B4-BE49-F238E27FC236}">
                <a16:creationId xmlns:a16="http://schemas.microsoft.com/office/drawing/2014/main" xmlns="" id="{711ABF76-1602-46D0-94A2-2BDF5226E010}"/>
              </a:ext>
            </a:extLst>
          </p:cNvPr>
          <p:cNvSpPr txBox="1"/>
          <p:nvPr/>
        </p:nvSpPr>
        <p:spPr bwMode="gray">
          <a:xfrm>
            <a:off x="93780" y="4838746"/>
            <a:ext cx="720000" cy="276999"/>
          </a:xfrm>
          <a:prstGeom prst="rect">
            <a:avLst/>
          </a:prstGeom>
          <a:noFill/>
        </p:spPr>
        <p:txBody>
          <a:bodyPr wrap="square" lIns="0" tIns="0" rIns="0" bIns="0" rtlCol="0">
            <a:spAutoFit/>
          </a:bodyPr>
          <a:lstStyle/>
          <a:p>
            <a:r>
              <a:rPr lang="en-US" b="1" dirty="0">
                <a:solidFill>
                  <a:schemeClr val="bg1"/>
                </a:solidFill>
                <a:cs typeface="Arial" pitchFamily="34" charset="0"/>
              </a:rPr>
              <a:t>15-34</a:t>
            </a:r>
          </a:p>
        </p:txBody>
      </p:sp>
      <p:graphicFrame>
        <p:nvGraphicFramePr>
          <p:cNvPr id="66" name="Chart 65">
            <a:extLst>
              <a:ext uri="{FF2B5EF4-FFF2-40B4-BE49-F238E27FC236}">
                <a16:creationId xmlns:a16="http://schemas.microsoft.com/office/drawing/2014/main" xmlns="" id="{68FAD2AA-47FD-4996-9B3B-173B10F449DA}"/>
              </a:ext>
            </a:extLst>
          </p:cNvPr>
          <p:cNvGraphicFramePr/>
          <p:nvPr>
            <p:extLst>
              <p:ext uri="{D42A27DB-BD31-4B8C-83A1-F6EECF244321}">
                <p14:modId xmlns:p14="http://schemas.microsoft.com/office/powerpoint/2010/main" val="538476769"/>
              </p:ext>
            </p:extLst>
          </p:nvPr>
        </p:nvGraphicFramePr>
        <p:xfrm>
          <a:off x="1411277" y="4576684"/>
          <a:ext cx="9540000" cy="1135728"/>
        </p:xfrm>
        <a:graphic>
          <a:graphicData uri="http://schemas.openxmlformats.org/drawingml/2006/chart">
            <c:chart xmlns:c="http://schemas.openxmlformats.org/drawingml/2006/chart" xmlns:r="http://schemas.openxmlformats.org/officeDocument/2006/relationships" r:id="rId11"/>
          </a:graphicData>
        </a:graphic>
      </p:graphicFrame>
      <p:sp>
        <p:nvSpPr>
          <p:cNvPr id="60" name="TextBox 59">
            <a:extLst>
              <a:ext uri="{FF2B5EF4-FFF2-40B4-BE49-F238E27FC236}">
                <a16:creationId xmlns:a16="http://schemas.microsoft.com/office/drawing/2014/main" xmlns="" id="{BBEAB441-0487-4CCF-A7A8-6078F5D282AA}"/>
              </a:ext>
            </a:extLst>
          </p:cNvPr>
          <p:cNvSpPr txBox="1"/>
          <p:nvPr/>
        </p:nvSpPr>
        <p:spPr bwMode="gray">
          <a:xfrm>
            <a:off x="1542938" y="2983213"/>
            <a:ext cx="1024735" cy="123111"/>
          </a:xfrm>
          <a:prstGeom prst="rect">
            <a:avLst/>
          </a:prstGeom>
          <a:noFill/>
        </p:spPr>
        <p:txBody>
          <a:bodyPr wrap="square" lIns="0" tIns="0" rIns="0" bIns="0" rtlCol="0" anchor="ctr">
            <a:spAutoFit/>
          </a:bodyPr>
          <a:lstStyle/>
          <a:p>
            <a:pPr algn="ctr">
              <a:spcBef>
                <a:spcPts val="300"/>
              </a:spcBef>
            </a:pPr>
            <a:r>
              <a:rPr lang="en-US" sz="800" dirty="0">
                <a:cs typeface="Arial" pitchFamily="34" charset="0"/>
              </a:rPr>
              <a:t>2020  2019  2018</a:t>
            </a:r>
          </a:p>
        </p:txBody>
      </p:sp>
      <p:sp>
        <p:nvSpPr>
          <p:cNvPr id="67" name="TextBox 66">
            <a:extLst>
              <a:ext uri="{FF2B5EF4-FFF2-40B4-BE49-F238E27FC236}">
                <a16:creationId xmlns:a16="http://schemas.microsoft.com/office/drawing/2014/main" xmlns="" id="{49D4FCB5-577C-40BA-985C-0A0E8556D582}"/>
              </a:ext>
            </a:extLst>
          </p:cNvPr>
          <p:cNvSpPr txBox="1"/>
          <p:nvPr/>
        </p:nvSpPr>
        <p:spPr bwMode="gray">
          <a:xfrm>
            <a:off x="2592296" y="2987393"/>
            <a:ext cx="1024735" cy="123111"/>
          </a:xfrm>
          <a:prstGeom prst="rect">
            <a:avLst/>
          </a:prstGeom>
          <a:noFill/>
        </p:spPr>
        <p:txBody>
          <a:bodyPr wrap="square" lIns="0" tIns="0" rIns="0" bIns="0" rtlCol="0" anchor="ctr">
            <a:spAutoFit/>
          </a:bodyPr>
          <a:lstStyle/>
          <a:p>
            <a:pPr algn="ctr">
              <a:spcBef>
                <a:spcPts val="300"/>
              </a:spcBef>
            </a:pPr>
            <a:r>
              <a:rPr lang="en-US" sz="800" dirty="0">
                <a:cs typeface="Arial" pitchFamily="34" charset="0"/>
              </a:rPr>
              <a:t>2020  2019  2018</a:t>
            </a:r>
          </a:p>
        </p:txBody>
      </p:sp>
      <p:sp>
        <p:nvSpPr>
          <p:cNvPr id="65" name="TextBox 64">
            <a:extLst>
              <a:ext uri="{FF2B5EF4-FFF2-40B4-BE49-F238E27FC236}">
                <a16:creationId xmlns:a16="http://schemas.microsoft.com/office/drawing/2014/main" xmlns="" id="{BAB751D9-F1B9-4378-BE84-26D682E9825A}"/>
              </a:ext>
            </a:extLst>
          </p:cNvPr>
          <p:cNvSpPr txBox="1"/>
          <p:nvPr/>
        </p:nvSpPr>
        <p:spPr bwMode="gray">
          <a:xfrm>
            <a:off x="3617031" y="2983213"/>
            <a:ext cx="1024735" cy="123111"/>
          </a:xfrm>
          <a:prstGeom prst="rect">
            <a:avLst/>
          </a:prstGeom>
          <a:noFill/>
        </p:spPr>
        <p:txBody>
          <a:bodyPr wrap="square" lIns="0" tIns="0" rIns="0" bIns="0" rtlCol="0" anchor="ctr">
            <a:spAutoFit/>
          </a:bodyPr>
          <a:lstStyle/>
          <a:p>
            <a:pPr algn="ctr">
              <a:spcBef>
                <a:spcPts val="300"/>
              </a:spcBef>
            </a:pPr>
            <a:r>
              <a:rPr lang="en-US" sz="800" dirty="0">
                <a:cs typeface="Arial" pitchFamily="34" charset="0"/>
              </a:rPr>
              <a:t>2020  2019  2018</a:t>
            </a:r>
          </a:p>
        </p:txBody>
      </p:sp>
      <p:sp>
        <p:nvSpPr>
          <p:cNvPr id="68" name="TextBox 67">
            <a:extLst>
              <a:ext uri="{FF2B5EF4-FFF2-40B4-BE49-F238E27FC236}">
                <a16:creationId xmlns:a16="http://schemas.microsoft.com/office/drawing/2014/main" xmlns="" id="{06F663DE-2BF8-458B-85E0-37CDD29117E2}"/>
              </a:ext>
            </a:extLst>
          </p:cNvPr>
          <p:cNvSpPr txBox="1"/>
          <p:nvPr/>
        </p:nvSpPr>
        <p:spPr bwMode="gray">
          <a:xfrm>
            <a:off x="4634788" y="2982393"/>
            <a:ext cx="1024735" cy="123111"/>
          </a:xfrm>
          <a:prstGeom prst="rect">
            <a:avLst/>
          </a:prstGeom>
          <a:noFill/>
        </p:spPr>
        <p:txBody>
          <a:bodyPr wrap="square" lIns="0" tIns="0" rIns="0" bIns="0" rtlCol="0" anchor="ctr">
            <a:spAutoFit/>
          </a:bodyPr>
          <a:lstStyle/>
          <a:p>
            <a:pPr algn="ctr">
              <a:spcBef>
                <a:spcPts val="300"/>
              </a:spcBef>
            </a:pPr>
            <a:r>
              <a:rPr lang="en-US" sz="800" dirty="0">
                <a:cs typeface="Arial" pitchFamily="34" charset="0"/>
              </a:rPr>
              <a:t>2020  2019  2018</a:t>
            </a:r>
          </a:p>
        </p:txBody>
      </p:sp>
      <p:sp>
        <p:nvSpPr>
          <p:cNvPr id="69" name="TextBox 68">
            <a:extLst>
              <a:ext uri="{FF2B5EF4-FFF2-40B4-BE49-F238E27FC236}">
                <a16:creationId xmlns:a16="http://schemas.microsoft.com/office/drawing/2014/main" xmlns="" id="{7AC7AE2A-E9CB-4B65-B377-2D815ED7D138}"/>
              </a:ext>
            </a:extLst>
          </p:cNvPr>
          <p:cNvSpPr txBox="1"/>
          <p:nvPr/>
        </p:nvSpPr>
        <p:spPr bwMode="gray">
          <a:xfrm>
            <a:off x="5668909" y="2982392"/>
            <a:ext cx="1024735" cy="123111"/>
          </a:xfrm>
          <a:prstGeom prst="rect">
            <a:avLst/>
          </a:prstGeom>
          <a:noFill/>
        </p:spPr>
        <p:txBody>
          <a:bodyPr wrap="square" lIns="0" tIns="0" rIns="0" bIns="0" rtlCol="0" anchor="ctr">
            <a:spAutoFit/>
          </a:bodyPr>
          <a:lstStyle/>
          <a:p>
            <a:pPr algn="ctr">
              <a:spcBef>
                <a:spcPts val="300"/>
              </a:spcBef>
            </a:pPr>
            <a:r>
              <a:rPr lang="en-US" sz="800" dirty="0">
                <a:cs typeface="Arial" pitchFamily="34" charset="0"/>
              </a:rPr>
              <a:t>2020  2019  2018</a:t>
            </a:r>
          </a:p>
        </p:txBody>
      </p:sp>
      <p:sp>
        <p:nvSpPr>
          <p:cNvPr id="70" name="TextBox 69">
            <a:extLst>
              <a:ext uri="{FF2B5EF4-FFF2-40B4-BE49-F238E27FC236}">
                <a16:creationId xmlns:a16="http://schemas.microsoft.com/office/drawing/2014/main" xmlns="" id="{8331A205-64D3-4E5B-A1DE-AF42ABF944A3}"/>
              </a:ext>
            </a:extLst>
          </p:cNvPr>
          <p:cNvSpPr txBox="1"/>
          <p:nvPr/>
        </p:nvSpPr>
        <p:spPr bwMode="gray">
          <a:xfrm>
            <a:off x="6690487" y="2982391"/>
            <a:ext cx="1024735" cy="123111"/>
          </a:xfrm>
          <a:prstGeom prst="rect">
            <a:avLst/>
          </a:prstGeom>
          <a:noFill/>
        </p:spPr>
        <p:txBody>
          <a:bodyPr wrap="square" lIns="0" tIns="0" rIns="0" bIns="0" rtlCol="0" anchor="ctr">
            <a:spAutoFit/>
          </a:bodyPr>
          <a:lstStyle/>
          <a:p>
            <a:pPr algn="ctr">
              <a:spcBef>
                <a:spcPts val="300"/>
              </a:spcBef>
            </a:pPr>
            <a:r>
              <a:rPr lang="en-US" sz="800" dirty="0">
                <a:cs typeface="Arial" pitchFamily="34" charset="0"/>
              </a:rPr>
              <a:t>2020  2019  2018</a:t>
            </a:r>
          </a:p>
        </p:txBody>
      </p:sp>
      <p:sp>
        <p:nvSpPr>
          <p:cNvPr id="87" name="TextBox 86">
            <a:extLst>
              <a:ext uri="{FF2B5EF4-FFF2-40B4-BE49-F238E27FC236}">
                <a16:creationId xmlns:a16="http://schemas.microsoft.com/office/drawing/2014/main" xmlns="" id="{1A01B814-EA10-4147-8C59-A140FCC0FCE8}"/>
              </a:ext>
            </a:extLst>
          </p:cNvPr>
          <p:cNvSpPr txBox="1"/>
          <p:nvPr/>
        </p:nvSpPr>
        <p:spPr bwMode="gray">
          <a:xfrm>
            <a:off x="7708244" y="2989806"/>
            <a:ext cx="1024735" cy="123111"/>
          </a:xfrm>
          <a:prstGeom prst="rect">
            <a:avLst/>
          </a:prstGeom>
          <a:noFill/>
        </p:spPr>
        <p:txBody>
          <a:bodyPr wrap="square" lIns="0" tIns="0" rIns="0" bIns="0" rtlCol="0" anchor="ctr">
            <a:spAutoFit/>
          </a:bodyPr>
          <a:lstStyle/>
          <a:p>
            <a:pPr algn="ctr">
              <a:spcBef>
                <a:spcPts val="300"/>
              </a:spcBef>
            </a:pPr>
            <a:r>
              <a:rPr lang="en-US" sz="800" dirty="0">
                <a:cs typeface="Arial" pitchFamily="34" charset="0"/>
              </a:rPr>
              <a:t>2020  2019  2018</a:t>
            </a:r>
          </a:p>
        </p:txBody>
      </p:sp>
      <p:sp>
        <p:nvSpPr>
          <p:cNvPr id="88" name="TextBox 87">
            <a:extLst>
              <a:ext uri="{FF2B5EF4-FFF2-40B4-BE49-F238E27FC236}">
                <a16:creationId xmlns:a16="http://schemas.microsoft.com/office/drawing/2014/main" xmlns="" id="{FDE14770-0D57-4C66-9782-816792804AE0}"/>
              </a:ext>
            </a:extLst>
          </p:cNvPr>
          <p:cNvSpPr txBox="1"/>
          <p:nvPr/>
        </p:nvSpPr>
        <p:spPr bwMode="gray">
          <a:xfrm>
            <a:off x="8743759" y="2982391"/>
            <a:ext cx="1024735" cy="123111"/>
          </a:xfrm>
          <a:prstGeom prst="rect">
            <a:avLst/>
          </a:prstGeom>
          <a:noFill/>
        </p:spPr>
        <p:txBody>
          <a:bodyPr wrap="square" lIns="0" tIns="0" rIns="0" bIns="0" rtlCol="0" anchor="ctr">
            <a:spAutoFit/>
          </a:bodyPr>
          <a:lstStyle/>
          <a:p>
            <a:pPr algn="ctr">
              <a:spcBef>
                <a:spcPts val="300"/>
              </a:spcBef>
            </a:pPr>
            <a:r>
              <a:rPr lang="en-US" sz="800" dirty="0">
                <a:cs typeface="Arial" pitchFamily="34" charset="0"/>
              </a:rPr>
              <a:t>2020  2019  2018</a:t>
            </a:r>
          </a:p>
        </p:txBody>
      </p:sp>
      <p:sp>
        <p:nvSpPr>
          <p:cNvPr id="89" name="TextBox 88">
            <a:extLst>
              <a:ext uri="{FF2B5EF4-FFF2-40B4-BE49-F238E27FC236}">
                <a16:creationId xmlns:a16="http://schemas.microsoft.com/office/drawing/2014/main" xmlns="" id="{EC878DED-2D89-40C6-A982-38BBC2B9CD1F}"/>
              </a:ext>
            </a:extLst>
          </p:cNvPr>
          <p:cNvSpPr txBox="1"/>
          <p:nvPr/>
        </p:nvSpPr>
        <p:spPr bwMode="gray">
          <a:xfrm>
            <a:off x="9791723" y="2984438"/>
            <a:ext cx="1024735" cy="123111"/>
          </a:xfrm>
          <a:prstGeom prst="rect">
            <a:avLst/>
          </a:prstGeom>
          <a:noFill/>
        </p:spPr>
        <p:txBody>
          <a:bodyPr wrap="square" lIns="0" tIns="0" rIns="0" bIns="0" rtlCol="0" anchor="ctr">
            <a:spAutoFit/>
          </a:bodyPr>
          <a:lstStyle/>
          <a:p>
            <a:pPr algn="ctr">
              <a:spcBef>
                <a:spcPts val="300"/>
              </a:spcBef>
            </a:pPr>
            <a:r>
              <a:rPr lang="en-US" sz="800" dirty="0">
                <a:cs typeface="Arial" pitchFamily="34" charset="0"/>
              </a:rPr>
              <a:t>2020  2019  2018</a:t>
            </a:r>
          </a:p>
        </p:txBody>
      </p:sp>
      <p:grpSp>
        <p:nvGrpSpPr>
          <p:cNvPr id="9" name="Group 8">
            <a:extLst>
              <a:ext uri="{FF2B5EF4-FFF2-40B4-BE49-F238E27FC236}">
                <a16:creationId xmlns:a16="http://schemas.microsoft.com/office/drawing/2014/main" xmlns="" id="{0DA9CD69-09E9-4690-BB14-0DA04F0B44A3}"/>
              </a:ext>
            </a:extLst>
          </p:cNvPr>
          <p:cNvGrpSpPr/>
          <p:nvPr/>
        </p:nvGrpSpPr>
        <p:grpSpPr>
          <a:xfrm>
            <a:off x="1502545" y="5593321"/>
            <a:ext cx="9273520" cy="130526"/>
            <a:chOff x="1502545" y="5924250"/>
            <a:chExt cx="9273520" cy="130526"/>
          </a:xfrm>
        </p:grpSpPr>
        <p:sp>
          <p:nvSpPr>
            <p:cNvPr id="90" name="TextBox 89">
              <a:extLst>
                <a:ext uri="{FF2B5EF4-FFF2-40B4-BE49-F238E27FC236}">
                  <a16:creationId xmlns:a16="http://schemas.microsoft.com/office/drawing/2014/main" xmlns="" id="{45D14E8C-0A55-4AB3-B483-E83F1586E425}"/>
                </a:ext>
              </a:extLst>
            </p:cNvPr>
            <p:cNvSpPr txBox="1"/>
            <p:nvPr/>
          </p:nvSpPr>
          <p:spPr bwMode="gray">
            <a:xfrm>
              <a:off x="1502545" y="5925072"/>
              <a:ext cx="1024735" cy="123111"/>
            </a:xfrm>
            <a:prstGeom prst="rect">
              <a:avLst/>
            </a:prstGeom>
            <a:noFill/>
          </p:spPr>
          <p:txBody>
            <a:bodyPr wrap="square" lIns="0" tIns="0" rIns="0" bIns="0" rtlCol="0" anchor="ctr">
              <a:spAutoFit/>
            </a:bodyPr>
            <a:lstStyle/>
            <a:p>
              <a:pPr algn="ctr">
                <a:spcBef>
                  <a:spcPts val="300"/>
                </a:spcBef>
              </a:pPr>
              <a:r>
                <a:rPr lang="en-US" sz="800" dirty="0">
                  <a:cs typeface="Arial" pitchFamily="34" charset="0"/>
                </a:rPr>
                <a:t>2020  2019  2018</a:t>
              </a:r>
            </a:p>
          </p:txBody>
        </p:sp>
        <p:sp>
          <p:nvSpPr>
            <p:cNvPr id="91" name="TextBox 90">
              <a:extLst>
                <a:ext uri="{FF2B5EF4-FFF2-40B4-BE49-F238E27FC236}">
                  <a16:creationId xmlns:a16="http://schemas.microsoft.com/office/drawing/2014/main" xmlns="" id="{DF9F7F9D-19B2-46EB-92FD-AB4616DD28F6}"/>
                </a:ext>
              </a:extLst>
            </p:cNvPr>
            <p:cNvSpPr txBox="1"/>
            <p:nvPr/>
          </p:nvSpPr>
          <p:spPr bwMode="gray">
            <a:xfrm>
              <a:off x="2551903" y="5929252"/>
              <a:ext cx="1024735" cy="123111"/>
            </a:xfrm>
            <a:prstGeom prst="rect">
              <a:avLst/>
            </a:prstGeom>
            <a:noFill/>
          </p:spPr>
          <p:txBody>
            <a:bodyPr wrap="square" lIns="0" tIns="0" rIns="0" bIns="0" rtlCol="0" anchor="ctr">
              <a:spAutoFit/>
            </a:bodyPr>
            <a:lstStyle/>
            <a:p>
              <a:pPr algn="ctr">
                <a:spcBef>
                  <a:spcPts val="300"/>
                </a:spcBef>
              </a:pPr>
              <a:r>
                <a:rPr lang="en-US" sz="800" dirty="0">
                  <a:cs typeface="Arial" pitchFamily="34" charset="0"/>
                </a:rPr>
                <a:t>2020  2019  2018</a:t>
              </a:r>
            </a:p>
          </p:txBody>
        </p:sp>
        <p:sp>
          <p:nvSpPr>
            <p:cNvPr id="92" name="TextBox 91">
              <a:extLst>
                <a:ext uri="{FF2B5EF4-FFF2-40B4-BE49-F238E27FC236}">
                  <a16:creationId xmlns:a16="http://schemas.microsoft.com/office/drawing/2014/main" xmlns="" id="{C63293D1-D1C8-4938-B902-59E322215F08}"/>
                </a:ext>
              </a:extLst>
            </p:cNvPr>
            <p:cNvSpPr txBox="1"/>
            <p:nvPr/>
          </p:nvSpPr>
          <p:spPr bwMode="gray">
            <a:xfrm>
              <a:off x="3576638" y="5925072"/>
              <a:ext cx="1024735" cy="123111"/>
            </a:xfrm>
            <a:prstGeom prst="rect">
              <a:avLst/>
            </a:prstGeom>
            <a:noFill/>
          </p:spPr>
          <p:txBody>
            <a:bodyPr wrap="square" lIns="0" tIns="0" rIns="0" bIns="0" rtlCol="0" anchor="ctr">
              <a:spAutoFit/>
            </a:bodyPr>
            <a:lstStyle/>
            <a:p>
              <a:pPr algn="ctr">
                <a:spcBef>
                  <a:spcPts val="300"/>
                </a:spcBef>
              </a:pPr>
              <a:r>
                <a:rPr lang="en-US" sz="800" dirty="0">
                  <a:cs typeface="Arial" pitchFamily="34" charset="0"/>
                </a:rPr>
                <a:t>2020  2019  2018</a:t>
              </a:r>
            </a:p>
          </p:txBody>
        </p:sp>
        <p:sp>
          <p:nvSpPr>
            <p:cNvPr id="93" name="TextBox 92">
              <a:extLst>
                <a:ext uri="{FF2B5EF4-FFF2-40B4-BE49-F238E27FC236}">
                  <a16:creationId xmlns:a16="http://schemas.microsoft.com/office/drawing/2014/main" xmlns="" id="{CAE77C27-C347-444A-AE80-D696F148F815}"/>
                </a:ext>
              </a:extLst>
            </p:cNvPr>
            <p:cNvSpPr txBox="1"/>
            <p:nvPr/>
          </p:nvSpPr>
          <p:spPr bwMode="gray">
            <a:xfrm>
              <a:off x="4594395" y="5924252"/>
              <a:ext cx="1024735" cy="123111"/>
            </a:xfrm>
            <a:prstGeom prst="rect">
              <a:avLst/>
            </a:prstGeom>
            <a:noFill/>
          </p:spPr>
          <p:txBody>
            <a:bodyPr wrap="square" lIns="0" tIns="0" rIns="0" bIns="0" rtlCol="0" anchor="ctr">
              <a:spAutoFit/>
            </a:bodyPr>
            <a:lstStyle/>
            <a:p>
              <a:pPr algn="ctr">
                <a:spcBef>
                  <a:spcPts val="300"/>
                </a:spcBef>
              </a:pPr>
              <a:r>
                <a:rPr lang="en-US" sz="800" dirty="0">
                  <a:cs typeface="Arial" pitchFamily="34" charset="0"/>
                </a:rPr>
                <a:t>2020  2019  2018</a:t>
              </a:r>
            </a:p>
          </p:txBody>
        </p:sp>
        <p:sp>
          <p:nvSpPr>
            <p:cNvPr id="94" name="TextBox 93">
              <a:extLst>
                <a:ext uri="{FF2B5EF4-FFF2-40B4-BE49-F238E27FC236}">
                  <a16:creationId xmlns:a16="http://schemas.microsoft.com/office/drawing/2014/main" xmlns="" id="{0D3A0F97-4937-4E68-B82C-05A21EB62D60}"/>
                </a:ext>
              </a:extLst>
            </p:cNvPr>
            <p:cNvSpPr txBox="1"/>
            <p:nvPr/>
          </p:nvSpPr>
          <p:spPr bwMode="gray">
            <a:xfrm>
              <a:off x="5628516" y="5924251"/>
              <a:ext cx="1024735" cy="123111"/>
            </a:xfrm>
            <a:prstGeom prst="rect">
              <a:avLst/>
            </a:prstGeom>
            <a:noFill/>
          </p:spPr>
          <p:txBody>
            <a:bodyPr wrap="square" lIns="0" tIns="0" rIns="0" bIns="0" rtlCol="0" anchor="ctr">
              <a:spAutoFit/>
            </a:bodyPr>
            <a:lstStyle/>
            <a:p>
              <a:pPr algn="ctr">
                <a:spcBef>
                  <a:spcPts val="300"/>
                </a:spcBef>
              </a:pPr>
              <a:r>
                <a:rPr lang="en-US" sz="800" dirty="0">
                  <a:cs typeface="Arial" pitchFamily="34" charset="0"/>
                </a:rPr>
                <a:t>2020  2019  2018</a:t>
              </a:r>
            </a:p>
          </p:txBody>
        </p:sp>
        <p:sp>
          <p:nvSpPr>
            <p:cNvPr id="95" name="TextBox 94">
              <a:extLst>
                <a:ext uri="{FF2B5EF4-FFF2-40B4-BE49-F238E27FC236}">
                  <a16:creationId xmlns:a16="http://schemas.microsoft.com/office/drawing/2014/main" xmlns="" id="{3DB15890-3D8A-4C92-88DF-1F51249E1DF3}"/>
                </a:ext>
              </a:extLst>
            </p:cNvPr>
            <p:cNvSpPr txBox="1"/>
            <p:nvPr/>
          </p:nvSpPr>
          <p:spPr bwMode="gray">
            <a:xfrm>
              <a:off x="6650094" y="5924250"/>
              <a:ext cx="1024735" cy="123111"/>
            </a:xfrm>
            <a:prstGeom prst="rect">
              <a:avLst/>
            </a:prstGeom>
            <a:noFill/>
          </p:spPr>
          <p:txBody>
            <a:bodyPr wrap="square" lIns="0" tIns="0" rIns="0" bIns="0" rtlCol="0" anchor="ctr">
              <a:spAutoFit/>
            </a:bodyPr>
            <a:lstStyle/>
            <a:p>
              <a:pPr algn="ctr">
                <a:spcBef>
                  <a:spcPts val="300"/>
                </a:spcBef>
              </a:pPr>
              <a:r>
                <a:rPr lang="en-US" sz="800" dirty="0">
                  <a:cs typeface="Arial" pitchFamily="34" charset="0"/>
                </a:rPr>
                <a:t>2020  2019  2018</a:t>
              </a:r>
            </a:p>
          </p:txBody>
        </p:sp>
        <p:sp>
          <p:nvSpPr>
            <p:cNvPr id="96" name="TextBox 95">
              <a:extLst>
                <a:ext uri="{FF2B5EF4-FFF2-40B4-BE49-F238E27FC236}">
                  <a16:creationId xmlns:a16="http://schemas.microsoft.com/office/drawing/2014/main" xmlns="" id="{7DD6B7A0-EA37-460C-AE81-E2445D27CBCA}"/>
                </a:ext>
              </a:extLst>
            </p:cNvPr>
            <p:cNvSpPr txBox="1"/>
            <p:nvPr/>
          </p:nvSpPr>
          <p:spPr bwMode="gray">
            <a:xfrm>
              <a:off x="7667851" y="5931665"/>
              <a:ext cx="1024735" cy="123111"/>
            </a:xfrm>
            <a:prstGeom prst="rect">
              <a:avLst/>
            </a:prstGeom>
            <a:noFill/>
          </p:spPr>
          <p:txBody>
            <a:bodyPr wrap="square" lIns="0" tIns="0" rIns="0" bIns="0" rtlCol="0" anchor="ctr">
              <a:spAutoFit/>
            </a:bodyPr>
            <a:lstStyle/>
            <a:p>
              <a:pPr algn="ctr">
                <a:spcBef>
                  <a:spcPts val="300"/>
                </a:spcBef>
              </a:pPr>
              <a:r>
                <a:rPr lang="en-US" sz="800" dirty="0">
                  <a:cs typeface="Arial" pitchFamily="34" charset="0"/>
                </a:rPr>
                <a:t>2020  2019  2018</a:t>
              </a:r>
            </a:p>
          </p:txBody>
        </p:sp>
        <p:sp>
          <p:nvSpPr>
            <p:cNvPr id="97" name="TextBox 96">
              <a:extLst>
                <a:ext uri="{FF2B5EF4-FFF2-40B4-BE49-F238E27FC236}">
                  <a16:creationId xmlns:a16="http://schemas.microsoft.com/office/drawing/2014/main" xmlns="" id="{9D8DBBA1-2D1C-4995-BAA8-0B5FAB16C4A4}"/>
                </a:ext>
              </a:extLst>
            </p:cNvPr>
            <p:cNvSpPr txBox="1"/>
            <p:nvPr/>
          </p:nvSpPr>
          <p:spPr bwMode="gray">
            <a:xfrm>
              <a:off x="8703366" y="5924250"/>
              <a:ext cx="1024735" cy="123111"/>
            </a:xfrm>
            <a:prstGeom prst="rect">
              <a:avLst/>
            </a:prstGeom>
            <a:noFill/>
          </p:spPr>
          <p:txBody>
            <a:bodyPr wrap="square" lIns="0" tIns="0" rIns="0" bIns="0" rtlCol="0" anchor="ctr">
              <a:spAutoFit/>
            </a:bodyPr>
            <a:lstStyle/>
            <a:p>
              <a:pPr algn="ctr">
                <a:spcBef>
                  <a:spcPts val="300"/>
                </a:spcBef>
              </a:pPr>
              <a:r>
                <a:rPr lang="en-US" sz="800" dirty="0">
                  <a:cs typeface="Arial" pitchFamily="34" charset="0"/>
                </a:rPr>
                <a:t>2020  2019  2018</a:t>
              </a:r>
            </a:p>
          </p:txBody>
        </p:sp>
        <p:sp>
          <p:nvSpPr>
            <p:cNvPr id="98" name="TextBox 97">
              <a:extLst>
                <a:ext uri="{FF2B5EF4-FFF2-40B4-BE49-F238E27FC236}">
                  <a16:creationId xmlns:a16="http://schemas.microsoft.com/office/drawing/2014/main" xmlns="" id="{BB76E08A-CB55-4A11-B65C-8E82EEE45B1B}"/>
                </a:ext>
              </a:extLst>
            </p:cNvPr>
            <p:cNvSpPr txBox="1"/>
            <p:nvPr/>
          </p:nvSpPr>
          <p:spPr bwMode="gray">
            <a:xfrm>
              <a:off x="9751330" y="5926297"/>
              <a:ext cx="1024735" cy="123111"/>
            </a:xfrm>
            <a:prstGeom prst="rect">
              <a:avLst/>
            </a:prstGeom>
            <a:noFill/>
          </p:spPr>
          <p:txBody>
            <a:bodyPr wrap="square" lIns="0" tIns="0" rIns="0" bIns="0" rtlCol="0" anchor="ctr">
              <a:spAutoFit/>
            </a:bodyPr>
            <a:lstStyle/>
            <a:p>
              <a:pPr algn="ctr">
                <a:spcBef>
                  <a:spcPts val="300"/>
                </a:spcBef>
              </a:pPr>
              <a:r>
                <a:rPr lang="en-US" sz="800" dirty="0">
                  <a:cs typeface="Arial" pitchFamily="34" charset="0"/>
                </a:rPr>
                <a:t>2020  2019  2018</a:t>
              </a:r>
            </a:p>
          </p:txBody>
        </p:sp>
      </p:grpSp>
    </p:spTree>
    <p:extLst>
      <p:ext uri="{BB962C8B-B14F-4D97-AF65-F5344CB8AC3E}">
        <p14:creationId xmlns:p14="http://schemas.microsoft.com/office/powerpoint/2010/main" val="91229969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6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66"/>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9"/>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62" grpId="0" animBg="1"/>
      <p:bldP spid="64" grpId="0"/>
      <p:bldGraphic spid="66" grpId="0">
        <p:bldAsOne/>
      </p:bldGraphic>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ieren 7">
            <a:extLst>
              <a:ext uri="{FF2B5EF4-FFF2-40B4-BE49-F238E27FC236}">
                <a16:creationId xmlns:a16="http://schemas.microsoft.com/office/drawing/2014/main" xmlns="" id="{093E71B4-8B70-4168-A710-945C4D3FC039}"/>
              </a:ext>
            </a:extLst>
          </p:cNvPr>
          <p:cNvGrpSpPr/>
          <p:nvPr>
            <p:custDataLst>
              <p:tags r:id="rId1"/>
            </p:custDataLst>
          </p:nvPr>
        </p:nvGrpSpPr>
        <p:grpSpPr bwMode="gray">
          <a:xfrm>
            <a:off x="431371" y="1842805"/>
            <a:ext cx="4416491" cy="4464432"/>
            <a:chOff x="323528" y="1974004"/>
            <a:chExt cx="2016022" cy="2037906"/>
          </a:xfrm>
          <a:solidFill>
            <a:schemeClr val="accent1"/>
          </a:solidFill>
        </p:grpSpPr>
        <p:sp>
          <p:nvSpPr>
            <p:cNvPr id="22" name="Ellipse 8">
              <a:extLst>
                <a:ext uri="{FF2B5EF4-FFF2-40B4-BE49-F238E27FC236}">
                  <a16:creationId xmlns:a16="http://schemas.microsoft.com/office/drawing/2014/main" xmlns="" id="{C081C878-CF59-4DDE-A8EC-0BA869793D14}"/>
                </a:ext>
              </a:extLst>
            </p:cNvPr>
            <p:cNvSpPr>
              <a:spLocks noChangeAspect="1"/>
            </p:cNvSpPr>
            <p:nvPr>
              <p:custDataLst>
                <p:tags r:id="rId4"/>
              </p:custDataLst>
            </p:nvPr>
          </p:nvSpPr>
          <p:spPr bwMode="gray">
            <a:xfrm>
              <a:off x="323528" y="1995894"/>
              <a:ext cx="2016022" cy="2016016"/>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864000" rIns="0" bIns="0" numCol="1" spcCol="0" rtlCol="0" fromWordArt="0" anchor="t" anchorCtr="0" forceAA="0" compatLnSpc="1">
              <a:prstTxWarp prst="textNoShape">
                <a:avLst/>
              </a:prstTxWarp>
              <a:noAutofit/>
            </a:bodyPr>
            <a:lstStyle/>
            <a:p>
              <a:pPr algn="ctr"/>
              <a:r>
                <a:rPr lang="en-US" sz="3200" dirty="0">
                  <a:solidFill>
                    <a:schemeClr val="bg1"/>
                  </a:solidFill>
                  <a:latin typeface="+mj-lt"/>
                  <a:cs typeface="Arial" pitchFamily="34" charset="0"/>
                </a:rPr>
                <a:t>Foreseeing the </a:t>
              </a:r>
              <a:br>
                <a:rPr lang="en-US" sz="3200" dirty="0">
                  <a:solidFill>
                    <a:schemeClr val="bg1"/>
                  </a:solidFill>
                  <a:latin typeface="+mj-lt"/>
                  <a:cs typeface="Arial" pitchFamily="34" charset="0"/>
                </a:rPr>
              </a:br>
              <a:r>
                <a:rPr lang="en-US" sz="3200" dirty="0">
                  <a:solidFill>
                    <a:schemeClr val="bg1"/>
                  </a:solidFill>
                  <a:latin typeface="+mj-lt"/>
                  <a:cs typeface="Arial" pitchFamily="34" charset="0"/>
                </a:rPr>
                <a:t>future of shopping</a:t>
              </a:r>
            </a:p>
          </p:txBody>
        </p:sp>
        <p:cxnSp>
          <p:nvCxnSpPr>
            <p:cNvPr id="23" name="Gerade Verbindung 9">
              <a:extLst>
                <a:ext uri="{FF2B5EF4-FFF2-40B4-BE49-F238E27FC236}">
                  <a16:creationId xmlns:a16="http://schemas.microsoft.com/office/drawing/2014/main" xmlns="" id="{B9C03142-F27D-4E97-8C76-FE826771974D}"/>
                </a:ext>
              </a:extLst>
            </p:cNvPr>
            <p:cNvCxnSpPr/>
            <p:nvPr/>
          </p:nvCxnSpPr>
          <p:spPr bwMode="gray">
            <a:xfrm>
              <a:off x="647463" y="2643758"/>
              <a:ext cx="1368152" cy="0"/>
            </a:xfrm>
            <a:prstGeom prst="line">
              <a:avLst/>
            </a:prstGeom>
            <a:grpFill/>
            <a:ln>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24" name="Rechteck 10">
              <a:extLst>
                <a:ext uri="{FF2B5EF4-FFF2-40B4-BE49-F238E27FC236}">
                  <a16:creationId xmlns:a16="http://schemas.microsoft.com/office/drawing/2014/main" xmlns="" id="{05163C1D-7D00-496E-874B-305B28F1DA06}"/>
                </a:ext>
              </a:extLst>
            </p:cNvPr>
            <p:cNvSpPr>
              <a:spLocks noChangeAspect="1"/>
            </p:cNvSpPr>
            <p:nvPr>
              <p:custDataLst>
                <p:tags r:id="rId5"/>
              </p:custDataLst>
            </p:nvPr>
          </p:nvSpPr>
          <p:spPr bwMode="gray">
            <a:xfrm>
              <a:off x="323528" y="1974004"/>
              <a:ext cx="2016022" cy="5039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endParaRPr lang="en-US" sz="10666" b="1" dirty="0">
                <a:solidFill>
                  <a:schemeClr val="bg1"/>
                </a:solidFill>
                <a:latin typeface="Arial" pitchFamily="34" charset="0"/>
                <a:cs typeface="Arial" pitchFamily="34" charset="0"/>
              </a:endParaRPr>
            </a:p>
          </p:txBody>
        </p:sp>
      </p:grpSp>
      <p:grpSp>
        <p:nvGrpSpPr>
          <p:cNvPr id="25" name="Group 24">
            <a:extLst>
              <a:ext uri="{FF2B5EF4-FFF2-40B4-BE49-F238E27FC236}">
                <a16:creationId xmlns:a16="http://schemas.microsoft.com/office/drawing/2014/main" xmlns="" id="{AADC6195-F13D-4CEA-840F-6B9EEAFC2C46}"/>
              </a:ext>
            </a:extLst>
          </p:cNvPr>
          <p:cNvGrpSpPr/>
          <p:nvPr/>
        </p:nvGrpSpPr>
        <p:grpSpPr>
          <a:xfrm>
            <a:off x="3407701" y="1762284"/>
            <a:ext cx="1056000" cy="1056000"/>
            <a:chOff x="250626" y="244494"/>
            <a:chExt cx="792000" cy="792000"/>
          </a:xfrm>
          <a:solidFill>
            <a:schemeClr val="accent6"/>
          </a:solidFill>
        </p:grpSpPr>
        <p:sp>
          <p:nvSpPr>
            <p:cNvPr id="26" name="Ellipse 92">
              <a:extLst>
                <a:ext uri="{FF2B5EF4-FFF2-40B4-BE49-F238E27FC236}">
                  <a16:creationId xmlns:a16="http://schemas.microsoft.com/office/drawing/2014/main" xmlns="" id="{AFD5FA59-32C1-46FF-9358-27F280BBA9A7}"/>
                </a:ext>
              </a:extLst>
            </p:cNvPr>
            <p:cNvSpPr/>
            <p:nvPr>
              <p:custDataLst>
                <p:tags r:id="rId2"/>
              </p:custDataLst>
            </p:nvPr>
          </p:nvSpPr>
          <p:spPr bwMode="gray">
            <a:xfrm flipH="1">
              <a:off x="250626" y="244494"/>
              <a:ext cx="792000" cy="792000"/>
            </a:xfrm>
            <a:prstGeom prst="ellipse">
              <a:avLst/>
            </a:prstGeom>
            <a:gr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2133" dirty="0">
                <a:solidFill>
                  <a:srgbClr val="000000"/>
                </a:solidFill>
                <a:cs typeface="Arial" pitchFamily="34" charset="0"/>
              </a:endParaRPr>
            </a:p>
          </p:txBody>
        </p:sp>
        <p:sp>
          <p:nvSpPr>
            <p:cNvPr id="27" name="Freeform 28">
              <a:extLst>
                <a:ext uri="{FF2B5EF4-FFF2-40B4-BE49-F238E27FC236}">
                  <a16:creationId xmlns:a16="http://schemas.microsoft.com/office/drawing/2014/main" xmlns="" id="{320D2826-4561-4B57-84B8-076B8F84610F}"/>
                </a:ext>
              </a:extLst>
            </p:cNvPr>
            <p:cNvSpPr>
              <a:spLocks noChangeAspect="1" noEditPoints="1"/>
            </p:cNvSpPr>
            <p:nvPr>
              <p:custDataLst>
                <p:tags r:id="rId3"/>
              </p:custDataLst>
            </p:nvPr>
          </p:nvSpPr>
          <p:spPr bwMode="gray">
            <a:xfrm>
              <a:off x="394642" y="392331"/>
              <a:ext cx="479749" cy="477314"/>
            </a:xfrm>
            <a:custGeom>
              <a:avLst/>
              <a:gdLst>
                <a:gd name="T0" fmla="*/ 480 w 1920"/>
                <a:gd name="T1" fmla="*/ 390 h 1910"/>
                <a:gd name="T2" fmla="*/ 1040 w 1920"/>
                <a:gd name="T3" fmla="*/ 310 h 1910"/>
                <a:gd name="T4" fmla="*/ 727 w 1920"/>
                <a:gd name="T5" fmla="*/ 571 h 1910"/>
                <a:gd name="T6" fmla="*/ 480 w 1920"/>
                <a:gd name="T7" fmla="*/ 710 h 1910"/>
                <a:gd name="T8" fmla="*/ 1920 w 1920"/>
                <a:gd name="T9" fmla="*/ 996 h 1910"/>
                <a:gd name="T10" fmla="*/ 1560 w 1920"/>
                <a:gd name="T11" fmla="*/ 1910 h 1910"/>
                <a:gd name="T12" fmla="*/ 242 w 1920"/>
                <a:gd name="T13" fmla="*/ 1801 h 1910"/>
                <a:gd name="T14" fmla="*/ 0 w 1920"/>
                <a:gd name="T15" fmla="*/ 790 h 1910"/>
                <a:gd name="T16" fmla="*/ 1322 w 1920"/>
                <a:gd name="T17" fmla="*/ 321 h 1910"/>
                <a:gd name="T18" fmla="*/ 1638 w 1920"/>
                <a:gd name="T19" fmla="*/ 710 h 1910"/>
                <a:gd name="T20" fmla="*/ 767 w 1920"/>
                <a:gd name="T21" fmla="*/ 641 h 1910"/>
                <a:gd name="T22" fmla="*/ 1747 w 1920"/>
                <a:gd name="T23" fmla="*/ 710 h 1910"/>
                <a:gd name="T24" fmla="*/ 1407 w 1920"/>
                <a:gd name="T25" fmla="*/ 16 h 1910"/>
                <a:gd name="T26" fmla="*/ 1886 w 1920"/>
                <a:gd name="T27" fmla="*/ 710 h 1910"/>
                <a:gd name="T28" fmla="*/ 34 w 1920"/>
                <a:gd name="T29" fmla="*/ 710 h 1910"/>
                <a:gd name="T30" fmla="*/ 513 w 1920"/>
                <a:gd name="T31" fmla="*/ 16 h 1910"/>
                <a:gd name="T32" fmla="*/ 173 w 1920"/>
                <a:gd name="T33" fmla="*/ 710 h 1910"/>
                <a:gd name="T34" fmla="*/ 1800 w 1920"/>
                <a:gd name="T35" fmla="*/ 978 h 1910"/>
                <a:gd name="T36" fmla="*/ 1660 w 1920"/>
                <a:gd name="T37" fmla="*/ 950 h 1910"/>
                <a:gd name="T38" fmla="*/ 1742 w 1920"/>
                <a:gd name="T39" fmla="*/ 1170 h 1910"/>
                <a:gd name="T40" fmla="*/ 120 w 1920"/>
                <a:gd name="T41" fmla="*/ 950 h 1910"/>
                <a:gd name="T42" fmla="*/ 178 w 1920"/>
                <a:gd name="T43" fmla="*/ 1170 h 1910"/>
                <a:gd name="T44" fmla="*/ 260 w 1920"/>
                <a:gd name="T45" fmla="*/ 950 h 1910"/>
                <a:gd name="T46" fmla="*/ 214 w 1920"/>
                <a:gd name="T47" fmla="*/ 1290 h 1910"/>
                <a:gd name="T48" fmla="*/ 260 w 1920"/>
                <a:gd name="T49" fmla="*/ 1290 h 1910"/>
                <a:gd name="T50" fmla="*/ 380 w 1920"/>
                <a:gd name="T51" fmla="*/ 1790 h 1910"/>
                <a:gd name="T52" fmla="*/ 580 w 1920"/>
                <a:gd name="T53" fmla="*/ 1610 h 1910"/>
                <a:gd name="T54" fmla="*/ 380 w 1920"/>
                <a:gd name="T55" fmla="*/ 1790 h 1910"/>
                <a:gd name="T56" fmla="*/ 900 w 1920"/>
                <a:gd name="T57" fmla="*/ 1790 h 1910"/>
                <a:gd name="T58" fmla="*/ 700 w 1920"/>
                <a:gd name="T59" fmla="*/ 1610 h 1910"/>
                <a:gd name="T60" fmla="*/ 1020 w 1920"/>
                <a:gd name="T61" fmla="*/ 1790 h 1910"/>
                <a:gd name="T62" fmla="*/ 1220 w 1920"/>
                <a:gd name="T63" fmla="*/ 1610 h 1910"/>
                <a:gd name="T64" fmla="*/ 1020 w 1920"/>
                <a:gd name="T65" fmla="*/ 1790 h 1910"/>
                <a:gd name="T66" fmla="*/ 1540 w 1920"/>
                <a:gd name="T67" fmla="*/ 1790 h 1910"/>
                <a:gd name="T68" fmla="*/ 1340 w 1920"/>
                <a:gd name="T69" fmla="*/ 1610 h 1910"/>
                <a:gd name="T70" fmla="*/ 1660 w 1920"/>
                <a:gd name="T71" fmla="*/ 1446 h 1910"/>
                <a:gd name="T72" fmla="*/ 1660 w 1920"/>
                <a:gd name="T73" fmla="*/ 1290 h 1910"/>
                <a:gd name="T74" fmla="*/ 1540 w 1920"/>
                <a:gd name="T75" fmla="*/ 1490 h 1910"/>
                <a:gd name="T76" fmla="*/ 1340 w 1920"/>
                <a:gd name="T77" fmla="*/ 1290 h 1910"/>
                <a:gd name="T78" fmla="*/ 1540 w 1920"/>
                <a:gd name="T79" fmla="*/ 1490 h 1910"/>
                <a:gd name="T80" fmla="*/ 1220 w 1920"/>
                <a:gd name="T81" fmla="*/ 1290 h 1910"/>
                <a:gd name="T82" fmla="*/ 1020 w 1920"/>
                <a:gd name="T83" fmla="*/ 1490 h 1910"/>
                <a:gd name="T84" fmla="*/ 900 w 1920"/>
                <a:gd name="T85" fmla="*/ 1490 h 1910"/>
                <a:gd name="T86" fmla="*/ 700 w 1920"/>
                <a:gd name="T87" fmla="*/ 1290 h 1910"/>
                <a:gd name="T88" fmla="*/ 900 w 1920"/>
                <a:gd name="T89" fmla="*/ 1490 h 1910"/>
                <a:gd name="T90" fmla="*/ 580 w 1920"/>
                <a:gd name="T91" fmla="*/ 1290 h 1910"/>
                <a:gd name="T92" fmla="*/ 380 w 1920"/>
                <a:gd name="T93" fmla="*/ 1490 h 1910"/>
                <a:gd name="T94" fmla="*/ 380 w 1920"/>
                <a:gd name="T95" fmla="*/ 1170 h 1910"/>
                <a:gd name="T96" fmla="*/ 580 w 1920"/>
                <a:gd name="T97" fmla="*/ 950 h 1910"/>
                <a:gd name="T98" fmla="*/ 380 w 1920"/>
                <a:gd name="T99" fmla="*/ 1170 h 1910"/>
                <a:gd name="T100" fmla="*/ 900 w 1920"/>
                <a:gd name="T101" fmla="*/ 1170 h 1910"/>
                <a:gd name="T102" fmla="*/ 700 w 1920"/>
                <a:gd name="T103" fmla="*/ 950 h 1910"/>
                <a:gd name="T104" fmla="*/ 1020 w 1920"/>
                <a:gd name="T105" fmla="*/ 1170 h 1910"/>
                <a:gd name="T106" fmla="*/ 1220 w 1920"/>
                <a:gd name="T107" fmla="*/ 950 h 1910"/>
                <a:gd name="T108" fmla="*/ 1020 w 1920"/>
                <a:gd name="T109" fmla="*/ 1170 h 1910"/>
                <a:gd name="T110" fmla="*/ 1540 w 1920"/>
                <a:gd name="T111" fmla="*/ 1170 h 1910"/>
                <a:gd name="T112" fmla="*/ 1340 w 1920"/>
                <a:gd name="T113" fmla="*/ 950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20" h="1910">
                  <a:moveTo>
                    <a:pt x="480" y="710"/>
                  </a:moveTo>
                  <a:cubicBezTo>
                    <a:pt x="480" y="390"/>
                    <a:pt x="480" y="390"/>
                    <a:pt x="480" y="390"/>
                  </a:cubicBezTo>
                  <a:cubicBezTo>
                    <a:pt x="480" y="346"/>
                    <a:pt x="516" y="310"/>
                    <a:pt x="560" y="310"/>
                  </a:cubicBezTo>
                  <a:cubicBezTo>
                    <a:pt x="1040" y="310"/>
                    <a:pt x="1040" y="310"/>
                    <a:pt x="1040" y="310"/>
                  </a:cubicBezTo>
                  <a:cubicBezTo>
                    <a:pt x="1069" y="310"/>
                    <a:pt x="1095" y="326"/>
                    <a:pt x="1110" y="351"/>
                  </a:cubicBezTo>
                  <a:cubicBezTo>
                    <a:pt x="727" y="571"/>
                    <a:pt x="727" y="571"/>
                    <a:pt x="727" y="571"/>
                  </a:cubicBezTo>
                  <a:cubicBezTo>
                    <a:pt x="676" y="601"/>
                    <a:pt x="647" y="655"/>
                    <a:pt x="647" y="710"/>
                  </a:cubicBezTo>
                  <a:lnTo>
                    <a:pt x="480" y="710"/>
                  </a:lnTo>
                  <a:close/>
                  <a:moveTo>
                    <a:pt x="1920" y="790"/>
                  </a:moveTo>
                  <a:cubicBezTo>
                    <a:pt x="1920" y="996"/>
                    <a:pt x="1920" y="996"/>
                    <a:pt x="1920" y="996"/>
                  </a:cubicBezTo>
                  <a:cubicBezTo>
                    <a:pt x="1678" y="1801"/>
                    <a:pt x="1678" y="1801"/>
                    <a:pt x="1678" y="1801"/>
                  </a:cubicBezTo>
                  <a:cubicBezTo>
                    <a:pt x="1661" y="1858"/>
                    <a:pt x="1625" y="1910"/>
                    <a:pt x="1560" y="1910"/>
                  </a:cubicBezTo>
                  <a:cubicBezTo>
                    <a:pt x="360" y="1910"/>
                    <a:pt x="360" y="1910"/>
                    <a:pt x="360" y="1910"/>
                  </a:cubicBezTo>
                  <a:cubicBezTo>
                    <a:pt x="295" y="1910"/>
                    <a:pt x="259" y="1858"/>
                    <a:pt x="242" y="1801"/>
                  </a:cubicBezTo>
                  <a:cubicBezTo>
                    <a:pt x="0" y="996"/>
                    <a:pt x="0" y="996"/>
                    <a:pt x="0" y="996"/>
                  </a:cubicBezTo>
                  <a:cubicBezTo>
                    <a:pt x="0" y="790"/>
                    <a:pt x="0" y="790"/>
                    <a:pt x="0" y="790"/>
                  </a:cubicBezTo>
                  <a:cubicBezTo>
                    <a:pt x="640" y="790"/>
                    <a:pt x="1280" y="790"/>
                    <a:pt x="1920" y="790"/>
                  </a:cubicBezTo>
                  <a:close/>
                  <a:moveTo>
                    <a:pt x="1322" y="321"/>
                  </a:moveTo>
                  <a:cubicBezTo>
                    <a:pt x="1358" y="300"/>
                    <a:pt x="1404" y="310"/>
                    <a:pt x="1427" y="344"/>
                  </a:cubicBezTo>
                  <a:cubicBezTo>
                    <a:pt x="1638" y="710"/>
                    <a:pt x="1638" y="710"/>
                    <a:pt x="1638" y="710"/>
                  </a:cubicBezTo>
                  <a:cubicBezTo>
                    <a:pt x="727" y="710"/>
                    <a:pt x="727" y="710"/>
                    <a:pt x="727" y="710"/>
                  </a:cubicBezTo>
                  <a:cubicBezTo>
                    <a:pt x="727" y="682"/>
                    <a:pt x="742" y="655"/>
                    <a:pt x="767" y="641"/>
                  </a:cubicBezTo>
                  <a:cubicBezTo>
                    <a:pt x="952" y="534"/>
                    <a:pt x="1137" y="428"/>
                    <a:pt x="1322" y="321"/>
                  </a:cubicBezTo>
                  <a:close/>
                  <a:moveTo>
                    <a:pt x="1747" y="710"/>
                  </a:moveTo>
                  <a:cubicBezTo>
                    <a:pt x="1386" y="99"/>
                    <a:pt x="1386" y="99"/>
                    <a:pt x="1386" y="99"/>
                  </a:cubicBezTo>
                  <a:cubicBezTo>
                    <a:pt x="1369" y="70"/>
                    <a:pt x="1378" y="34"/>
                    <a:pt x="1407" y="16"/>
                  </a:cubicBezTo>
                  <a:cubicBezTo>
                    <a:pt x="1435" y="0"/>
                    <a:pt x="1472" y="9"/>
                    <a:pt x="1489" y="38"/>
                  </a:cubicBezTo>
                  <a:cubicBezTo>
                    <a:pt x="1886" y="710"/>
                    <a:pt x="1886" y="710"/>
                    <a:pt x="1886" y="710"/>
                  </a:cubicBezTo>
                  <a:lnTo>
                    <a:pt x="1747" y="710"/>
                  </a:lnTo>
                  <a:close/>
                  <a:moveTo>
                    <a:pt x="34" y="710"/>
                  </a:moveTo>
                  <a:cubicBezTo>
                    <a:pt x="431" y="38"/>
                    <a:pt x="431" y="38"/>
                    <a:pt x="431" y="38"/>
                  </a:cubicBezTo>
                  <a:cubicBezTo>
                    <a:pt x="448" y="9"/>
                    <a:pt x="485" y="0"/>
                    <a:pt x="513" y="16"/>
                  </a:cubicBezTo>
                  <a:cubicBezTo>
                    <a:pt x="542" y="34"/>
                    <a:pt x="551" y="70"/>
                    <a:pt x="534" y="99"/>
                  </a:cubicBezTo>
                  <a:cubicBezTo>
                    <a:pt x="173" y="710"/>
                    <a:pt x="173" y="710"/>
                    <a:pt x="173" y="710"/>
                  </a:cubicBezTo>
                  <a:lnTo>
                    <a:pt x="34" y="710"/>
                  </a:lnTo>
                  <a:close/>
                  <a:moveTo>
                    <a:pt x="1800" y="978"/>
                  </a:moveTo>
                  <a:cubicBezTo>
                    <a:pt x="1800" y="950"/>
                    <a:pt x="1800" y="950"/>
                    <a:pt x="1800" y="950"/>
                  </a:cubicBezTo>
                  <a:cubicBezTo>
                    <a:pt x="1660" y="950"/>
                    <a:pt x="1660" y="950"/>
                    <a:pt x="1660" y="950"/>
                  </a:cubicBezTo>
                  <a:cubicBezTo>
                    <a:pt x="1660" y="1170"/>
                    <a:pt x="1660" y="1170"/>
                    <a:pt x="1660" y="1170"/>
                  </a:cubicBezTo>
                  <a:cubicBezTo>
                    <a:pt x="1742" y="1170"/>
                    <a:pt x="1742" y="1170"/>
                    <a:pt x="1742" y="1170"/>
                  </a:cubicBezTo>
                  <a:lnTo>
                    <a:pt x="1800" y="978"/>
                  </a:lnTo>
                  <a:close/>
                  <a:moveTo>
                    <a:pt x="120" y="950"/>
                  </a:moveTo>
                  <a:cubicBezTo>
                    <a:pt x="120" y="978"/>
                    <a:pt x="120" y="978"/>
                    <a:pt x="120" y="978"/>
                  </a:cubicBezTo>
                  <a:cubicBezTo>
                    <a:pt x="178" y="1170"/>
                    <a:pt x="178" y="1170"/>
                    <a:pt x="178" y="1170"/>
                  </a:cubicBezTo>
                  <a:cubicBezTo>
                    <a:pt x="260" y="1170"/>
                    <a:pt x="260" y="1170"/>
                    <a:pt x="260" y="1170"/>
                  </a:cubicBezTo>
                  <a:cubicBezTo>
                    <a:pt x="260" y="950"/>
                    <a:pt x="260" y="950"/>
                    <a:pt x="260" y="950"/>
                  </a:cubicBezTo>
                  <a:lnTo>
                    <a:pt x="120" y="950"/>
                  </a:lnTo>
                  <a:close/>
                  <a:moveTo>
                    <a:pt x="214" y="1290"/>
                  </a:moveTo>
                  <a:cubicBezTo>
                    <a:pt x="260" y="1446"/>
                    <a:pt x="260" y="1446"/>
                    <a:pt x="260" y="1446"/>
                  </a:cubicBezTo>
                  <a:cubicBezTo>
                    <a:pt x="260" y="1290"/>
                    <a:pt x="260" y="1290"/>
                    <a:pt x="260" y="1290"/>
                  </a:cubicBezTo>
                  <a:lnTo>
                    <a:pt x="214" y="1290"/>
                  </a:lnTo>
                  <a:close/>
                  <a:moveTo>
                    <a:pt x="380" y="1790"/>
                  </a:moveTo>
                  <a:cubicBezTo>
                    <a:pt x="580" y="1790"/>
                    <a:pt x="580" y="1790"/>
                    <a:pt x="580" y="1790"/>
                  </a:cubicBezTo>
                  <a:cubicBezTo>
                    <a:pt x="580" y="1610"/>
                    <a:pt x="580" y="1610"/>
                    <a:pt x="580" y="1610"/>
                  </a:cubicBezTo>
                  <a:cubicBezTo>
                    <a:pt x="380" y="1610"/>
                    <a:pt x="380" y="1610"/>
                    <a:pt x="380" y="1610"/>
                  </a:cubicBezTo>
                  <a:lnTo>
                    <a:pt x="380" y="1790"/>
                  </a:lnTo>
                  <a:close/>
                  <a:moveTo>
                    <a:pt x="700" y="1790"/>
                  </a:moveTo>
                  <a:cubicBezTo>
                    <a:pt x="900" y="1790"/>
                    <a:pt x="900" y="1790"/>
                    <a:pt x="900" y="1790"/>
                  </a:cubicBezTo>
                  <a:cubicBezTo>
                    <a:pt x="900" y="1610"/>
                    <a:pt x="900" y="1610"/>
                    <a:pt x="900" y="1610"/>
                  </a:cubicBezTo>
                  <a:cubicBezTo>
                    <a:pt x="700" y="1610"/>
                    <a:pt x="700" y="1610"/>
                    <a:pt x="700" y="1610"/>
                  </a:cubicBezTo>
                  <a:lnTo>
                    <a:pt x="700" y="1790"/>
                  </a:lnTo>
                  <a:close/>
                  <a:moveTo>
                    <a:pt x="1020" y="1790"/>
                  </a:moveTo>
                  <a:cubicBezTo>
                    <a:pt x="1220" y="1790"/>
                    <a:pt x="1220" y="1790"/>
                    <a:pt x="1220" y="1790"/>
                  </a:cubicBezTo>
                  <a:cubicBezTo>
                    <a:pt x="1220" y="1610"/>
                    <a:pt x="1220" y="1610"/>
                    <a:pt x="1220" y="1610"/>
                  </a:cubicBezTo>
                  <a:cubicBezTo>
                    <a:pt x="1020" y="1610"/>
                    <a:pt x="1020" y="1610"/>
                    <a:pt x="1020" y="1610"/>
                  </a:cubicBezTo>
                  <a:lnTo>
                    <a:pt x="1020" y="1790"/>
                  </a:lnTo>
                  <a:close/>
                  <a:moveTo>
                    <a:pt x="1340" y="1790"/>
                  </a:moveTo>
                  <a:cubicBezTo>
                    <a:pt x="1540" y="1790"/>
                    <a:pt x="1540" y="1790"/>
                    <a:pt x="1540" y="1790"/>
                  </a:cubicBezTo>
                  <a:cubicBezTo>
                    <a:pt x="1540" y="1610"/>
                    <a:pt x="1540" y="1610"/>
                    <a:pt x="1540" y="1610"/>
                  </a:cubicBezTo>
                  <a:cubicBezTo>
                    <a:pt x="1340" y="1610"/>
                    <a:pt x="1340" y="1610"/>
                    <a:pt x="1340" y="1610"/>
                  </a:cubicBezTo>
                  <a:lnTo>
                    <a:pt x="1340" y="1790"/>
                  </a:lnTo>
                  <a:close/>
                  <a:moveTo>
                    <a:pt x="1660" y="1446"/>
                  </a:moveTo>
                  <a:cubicBezTo>
                    <a:pt x="1706" y="1290"/>
                    <a:pt x="1706" y="1290"/>
                    <a:pt x="1706" y="1290"/>
                  </a:cubicBezTo>
                  <a:cubicBezTo>
                    <a:pt x="1660" y="1290"/>
                    <a:pt x="1660" y="1290"/>
                    <a:pt x="1660" y="1290"/>
                  </a:cubicBezTo>
                  <a:lnTo>
                    <a:pt x="1660" y="1446"/>
                  </a:lnTo>
                  <a:close/>
                  <a:moveTo>
                    <a:pt x="1540" y="1490"/>
                  </a:moveTo>
                  <a:cubicBezTo>
                    <a:pt x="1540" y="1290"/>
                    <a:pt x="1540" y="1290"/>
                    <a:pt x="1540" y="1290"/>
                  </a:cubicBezTo>
                  <a:cubicBezTo>
                    <a:pt x="1340" y="1290"/>
                    <a:pt x="1340" y="1290"/>
                    <a:pt x="1340" y="1290"/>
                  </a:cubicBezTo>
                  <a:cubicBezTo>
                    <a:pt x="1340" y="1490"/>
                    <a:pt x="1340" y="1490"/>
                    <a:pt x="1340" y="1490"/>
                  </a:cubicBezTo>
                  <a:lnTo>
                    <a:pt x="1540" y="1490"/>
                  </a:lnTo>
                  <a:close/>
                  <a:moveTo>
                    <a:pt x="1220" y="1490"/>
                  </a:moveTo>
                  <a:cubicBezTo>
                    <a:pt x="1220" y="1290"/>
                    <a:pt x="1220" y="1290"/>
                    <a:pt x="1220" y="1290"/>
                  </a:cubicBezTo>
                  <a:cubicBezTo>
                    <a:pt x="1020" y="1290"/>
                    <a:pt x="1020" y="1290"/>
                    <a:pt x="1020" y="1290"/>
                  </a:cubicBezTo>
                  <a:cubicBezTo>
                    <a:pt x="1020" y="1490"/>
                    <a:pt x="1020" y="1490"/>
                    <a:pt x="1020" y="1490"/>
                  </a:cubicBezTo>
                  <a:lnTo>
                    <a:pt x="1220" y="1490"/>
                  </a:lnTo>
                  <a:close/>
                  <a:moveTo>
                    <a:pt x="900" y="1490"/>
                  </a:moveTo>
                  <a:cubicBezTo>
                    <a:pt x="900" y="1290"/>
                    <a:pt x="900" y="1290"/>
                    <a:pt x="900" y="1290"/>
                  </a:cubicBezTo>
                  <a:cubicBezTo>
                    <a:pt x="700" y="1290"/>
                    <a:pt x="700" y="1290"/>
                    <a:pt x="700" y="1290"/>
                  </a:cubicBezTo>
                  <a:cubicBezTo>
                    <a:pt x="700" y="1490"/>
                    <a:pt x="700" y="1490"/>
                    <a:pt x="700" y="1490"/>
                  </a:cubicBezTo>
                  <a:lnTo>
                    <a:pt x="900" y="1490"/>
                  </a:lnTo>
                  <a:close/>
                  <a:moveTo>
                    <a:pt x="580" y="1490"/>
                  </a:moveTo>
                  <a:cubicBezTo>
                    <a:pt x="580" y="1290"/>
                    <a:pt x="580" y="1290"/>
                    <a:pt x="580" y="1290"/>
                  </a:cubicBezTo>
                  <a:cubicBezTo>
                    <a:pt x="380" y="1290"/>
                    <a:pt x="380" y="1290"/>
                    <a:pt x="380" y="1290"/>
                  </a:cubicBezTo>
                  <a:cubicBezTo>
                    <a:pt x="380" y="1490"/>
                    <a:pt x="380" y="1490"/>
                    <a:pt x="380" y="1490"/>
                  </a:cubicBezTo>
                  <a:lnTo>
                    <a:pt x="580" y="1490"/>
                  </a:lnTo>
                  <a:close/>
                  <a:moveTo>
                    <a:pt x="380" y="1170"/>
                  </a:moveTo>
                  <a:cubicBezTo>
                    <a:pt x="580" y="1170"/>
                    <a:pt x="580" y="1170"/>
                    <a:pt x="580" y="1170"/>
                  </a:cubicBezTo>
                  <a:cubicBezTo>
                    <a:pt x="580" y="950"/>
                    <a:pt x="580" y="950"/>
                    <a:pt x="580" y="950"/>
                  </a:cubicBezTo>
                  <a:cubicBezTo>
                    <a:pt x="380" y="950"/>
                    <a:pt x="380" y="950"/>
                    <a:pt x="380" y="950"/>
                  </a:cubicBezTo>
                  <a:lnTo>
                    <a:pt x="380" y="1170"/>
                  </a:lnTo>
                  <a:close/>
                  <a:moveTo>
                    <a:pt x="700" y="1170"/>
                  </a:moveTo>
                  <a:cubicBezTo>
                    <a:pt x="900" y="1170"/>
                    <a:pt x="900" y="1170"/>
                    <a:pt x="900" y="1170"/>
                  </a:cubicBezTo>
                  <a:cubicBezTo>
                    <a:pt x="900" y="950"/>
                    <a:pt x="900" y="950"/>
                    <a:pt x="900" y="950"/>
                  </a:cubicBezTo>
                  <a:cubicBezTo>
                    <a:pt x="700" y="950"/>
                    <a:pt x="700" y="950"/>
                    <a:pt x="700" y="950"/>
                  </a:cubicBezTo>
                  <a:lnTo>
                    <a:pt x="700" y="1170"/>
                  </a:lnTo>
                  <a:close/>
                  <a:moveTo>
                    <a:pt x="1020" y="1170"/>
                  </a:moveTo>
                  <a:cubicBezTo>
                    <a:pt x="1220" y="1170"/>
                    <a:pt x="1220" y="1170"/>
                    <a:pt x="1220" y="1170"/>
                  </a:cubicBezTo>
                  <a:cubicBezTo>
                    <a:pt x="1220" y="950"/>
                    <a:pt x="1220" y="950"/>
                    <a:pt x="1220" y="950"/>
                  </a:cubicBezTo>
                  <a:cubicBezTo>
                    <a:pt x="1020" y="950"/>
                    <a:pt x="1020" y="950"/>
                    <a:pt x="1020" y="950"/>
                  </a:cubicBezTo>
                  <a:lnTo>
                    <a:pt x="1020" y="1170"/>
                  </a:lnTo>
                  <a:close/>
                  <a:moveTo>
                    <a:pt x="1340" y="1170"/>
                  </a:moveTo>
                  <a:cubicBezTo>
                    <a:pt x="1540" y="1170"/>
                    <a:pt x="1540" y="1170"/>
                    <a:pt x="1540" y="1170"/>
                  </a:cubicBezTo>
                  <a:cubicBezTo>
                    <a:pt x="1540" y="950"/>
                    <a:pt x="1540" y="950"/>
                    <a:pt x="1540" y="950"/>
                  </a:cubicBezTo>
                  <a:cubicBezTo>
                    <a:pt x="1340" y="950"/>
                    <a:pt x="1340" y="950"/>
                    <a:pt x="1340" y="950"/>
                  </a:cubicBezTo>
                  <a:lnTo>
                    <a:pt x="1340" y="1170"/>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333" dirty="0"/>
            </a:p>
          </p:txBody>
        </p:sp>
      </p:grpSp>
      <p:grpSp>
        <p:nvGrpSpPr>
          <p:cNvPr id="15" name="logo">
            <a:extLst>
              <a:ext uri="{FF2B5EF4-FFF2-40B4-BE49-F238E27FC236}">
                <a16:creationId xmlns:a16="http://schemas.microsoft.com/office/drawing/2014/main" xmlns="" id="{17C31224-219F-47A0-8443-9AD45ADF31DB}"/>
              </a:ext>
            </a:extLst>
          </p:cNvPr>
          <p:cNvGrpSpPr>
            <a:grpSpLocks noChangeAspect="1"/>
          </p:cNvGrpSpPr>
          <p:nvPr/>
        </p:nvGrpSpPr>
        <p:grpSpPr bwMode="gray">
          <a:xfrm>
            <a:off x="11174018" y="401441"/>
            <a:ext cx="644225" cy="646507"/>
            <a:chOff x="2711" y="1027"/>
            <a:chExt cx="2258" cy="2266"/>
          </a:xfrm>
        </p:grpSpPr>
        <p:sp>
          <p:nvSpPr>
            <p:cNvPr id="16" name="AutoShape 3">
              <a:extLst>
                <a:ext uri="{FF2B5EF4-FFF2-40B4-BE49-F238E27FC236}">
                  <a16:creationId xmlns:a16="http://schemas.microsoft.com/office/drawing/2014/main" xmlns="" id="{ACACF096-9394-4D82-8BA6-DDD09DA2E507}"/>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7" name="Freeform 5">
              <a:extLst>
                <a:ext uri="{FF2B5EF4-FFF2-40B4-BE49-F238E27FC236}">
                  <a16:creationId xmlns:a16="http://schemas.microsoft.com/office/drawing/2014/main" xmlns="" id="{9A980E7C-7A07-4C7C-B9D8-ABF6564FDCC6}"/>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8" name="Freeform 6">
              <a:extLst>
                <a:ext uri="{FF2B5EF4-FFF2-40B4-BE49-F238E27FC236}">
                  <a16:creationId xmlns:a16="http://schemas.microsoft.com/office/drawing/2014/main" xmlns="" id="{AB7E1202-0797-4C60-9DA9-F3CBB699DF42}"/>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9" name="Freeform 7">
              <a:extLst>
                <a:ext uri="{FF2B5EF4-FFF2-40B4-BE49-F238E27FC236}">
                  <a16:creationId xmlns:a16="http://schemas.microsoft.com/office/drawing/2014/main" xmlns="" id="{B52D34B4-BDC3-4659-B93B-C91B017624B5}"/>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Oval 8">
              <a:extLst>
                <a:ext uri="{FF2B5EF4-FFF2-40B4-BE49-F238E27FC236}">
                  <a16:creationId xmlns:a16="http://schemas.microsoft.com/office/drawing/2014/main" xmlns="" id="{962B4684-2878-43B1-B048-0717D060EC4F}"/>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30" name="Freeform 9">
              <a:extLst>
                <a:ext uri="{FF2B5EF4-FFF2-40B4-BE49-F238E27FC236}">
                  <a16:creationId xmlns:a16="http://schemas.microsoft.com/office/drawing/2014/main" xmlns="" id="{77824731-8FB7-4FE1-939F-5D59A881F196}"/>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31" name="Freeform 10">
              <a:extLst>
                <a:ext uri="{FF2B5EF4-FFF2-40B4-BE49-F238E27FC236}">
                  <a16:creationId xmlns:a16="http://schemas.microsoft.com/office/drawing/2014/main" xmlns="" id="{ADDA2DB5-3DEA-4919-8E42-901CC6DC9BE8}"/>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32" name="Oval 11">
              <a:extLst>
                <a:ext uri="{FF2B5EF4-FFF2-40B4-BE49-F238E27FC236}">
                  <a16:creationId xmlns:a16="http://schemas.microsoft.com/office/drawing/2014/main" xmlns="" id="{15C760BF-BCB3-43B7-94FD-667EDF49BC0C}"/>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33" name="Freeform 12">
              <a:extLst>
                <a:ext uri="{FF2B5EF4-FFF2-40B4-BE49-F238E27FC236}">
                  <a16:creationId xmlns:a16="http://schemas.microsoft.com/office/drawing/2014/main" xmlns="" id="{A7BFFC46-69D8-484B-BBD3-A8DBBDA17D9D}"/>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34" name="Freeform 13">
              <a:extLst>
                <a:ext uri="{FF2B5EF4-FFF2-40B4-BE49-F238E27FC236}">
                  <a16:creationId xmlns:a16="http://schemas.microsoft.com/office/drawing/2014/main" xmlns="" id="{B65D0BAA-4CEA-4277-9462-BDB783348259}"/>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pic>
        <p:nvPicPr>
          <p:cNvPr id="35" name="Picture 34">
            <a:extLst>
              <a:ext uri="{FF2B5EF4-FFF2-40B4-BE49-F238E27FC236}">
                <a16:creationId xmlns:a16="http://schemas.microsoft.com/office/drawing/2014/main" xmlns="" id="{F5B5EA93-F5F4-4305-93C2-26D2530B0DB5}"/>
              </a:ext>
            </a:extLst>
          </p:cNvPr>
          <p:cNvPicPr>
            <a:picLocks noChangeAspect="1"/>
          </p:cNvPicPr>
          <p:nvPr/>
        </p:nvPicPr>
        <p:blipFill>
          <a:blip r:embed="rId8"/>
          <a:stretch>
            <a:fillRect/>
          </a:stretch>
        </p:blipFill>
        <p:spPr>
          <a:xfrm>
            <a:off x="10370170" y="401441"/>
            <a:ext cx="645366" cy="645366"/>
          </a:xfrm>
          <a:prstGeom prst="rect">
            <a:avLst/>
          </a:prstGeom>
        </p:spPr>
      </p:pic>
      <p:sp>
        <p:nvSpPr>
          <p:cNvPr id="2" name="Title 1">
            <a:extLst>
              <a:ext uri="{FF2B5EF4-FFF2-40B4-BE49-F238E27FC236}">
                <a16:creationId xmlns:a16="http://schemas.microsoft.com/office/drawing/2014/main" xmlns="" id="{ABB3495F-3B79-4DA5-A330-5514C3151242}"/>
              </a:ext>
            </a:extLst>
          </p:cNvPr>
          <p:cNvSpPr>
            <a:spLocks noGrp="1"/>
          </p:cNvSpPr>
          <p:nvPr>
            <p:ph type="title"/>
          </p:nvPr>
        </p:nvSpPr>
        <p:spPr>
          <a:xfrm>
            <a:off x="7737532" y="2908628"/>
            <a:ext cx="4307711" cy="2103640"/>
          </a:xfrm>
        </p:spPr>
        <p:txBody>
          <a:bodyPr/>
          <a:lstStyle/>
          <a:p>
            <a:r>
              <a:rPr lang="nl-NL" dirty="0" err="1"/>
              <a:t>What’s</a:t>
            </a:r>
            <a:r>
              <a:rPr lang="nl-NL" dirty="0"/>
              <a:t> </a:t>
            </a:r>
            <a:r>
              <a:rPr lang="nl-NL" dirty="0" err="1"/>
              <a:t>consumers</a:t>
            </a:r>
            <a:r>
              <a:rPr lang="nl-NL" dirty="0"/>
              <a:t>’ attitude </a:t>
            </a:r>
            <a:r>
              <a:rPr lang="nl-NL" dirty="0" err="1"/>
              <a:t>toward</a:t>
            </a:r>
            <a:r>
              <a:rPr lang="nl-NL" dirty="0"/>
              <a:t> new </a:t>
            </a:r>
            <a:r>
              <a:rPr lang="nl-NL" dirty="0" err="1"/>
              <a:t>retail</a:t>
            </a:r>
            <a:r>
              <a:rPr lang="nl-NL" dirty="0"/>
              <a:t> </a:t>
            </a:r>
            <a:r>
              <a:rPr lang="nl-NL" dirty="0" err="1"/>
              <a:t>technologies</a:t>
            </a:r>
            <a:r>
              <a:rPr lang="nl-NL" dirty="0"/>
              <a:t>?</a:t>
            </a:r>
          </a:p>
        </p:txBody>
      </p:sp>
      <p:pic>
        <p:nvPicPr>
          <p:cNvPr id="10" name="Picture Placeholder 9" descr="A person using a computer sitting on top of a table&#10;&#10;Description automatically generated">
            <a:extLst>
              <a:ext uri="{FF2B5EF4-FFF2-40B4-BE49-F238E27FC236}">
                <a16:creationId xmlns:a16="http://schemas.microsoft.com/office/drawing/2014/main" xmlns="" id="{66A6168D-224C-4328-9AA8-5132AE7C1F74}"/>
              </a:ext>
            </a:extLst>
          </p:cNvPr>
          <p:cNvPicPr>
            <a:picLocks noGrp="1" noChangeAspect="1"/>
          </p:cNvPicPr>
          <p:nvPr>
            <p:ph type="pic" sz="quarter" idx="17"/>
          </p:nvPr>
        </p:nvPicPr>
        <p:blipFill>
          <a:blip r:embed="rId9">
            <a:extLst>
              <a:ext uri="{28A0092B-C50C-407E-A947-70E740481C1C}">
                <a14:useLocalDpi xmlns:a14="http://schemas.microsoft.com/office/drawing/2010/main" val="0"/>
              </a:ext>
            </a:extLst>
          </a:blip>
          <a:srcRect l="13822" r="13822"/>
          <a:stretch>
            <a:fillRect/>
          </a:stretch>
        </p:blipFill>
        <p:spPr/>
      </p:pic>
      <p:sp>
        <p:nvSpPr>
          <p:cNvPr id="4" name="Slide Number Placeholder 3">
            <a:extLst>
              <a:ext uri="{FF2B5EF4-FFF2-40B4-BE49-F238E27FC236}">
                <a16:creationId xmlns:a16="http://schemas.microsoft.com/office/drawing/2014/main" xmlns="" id="{0081842D-D4C0-486D-AC0F-BC4ECC440C19}"/>
              </a:ext>
            </a:extLst>
          </p:cNvPr>
          <p:cNvSpPr>
            <a:spLocks noGrp="1"/>
          </p:cNvSpPr>
          <p:nvPr>
            <p:ph type="sldNum" sz="quarter" idx="20"/>
          </p:nvPr>
        </p:nvSpPr>
        <p:spPr/>
        <p:txBody>
          <a:bodyPr/>
          <a:lstStyle/>
          <a:p>
            <a:fld id="{5F3E29E4-0979-4FCA-B4C5-5FC6044C982A}" type="slidenum">
              <a:rPr lang="en-US" smtClean="0"/>
              <a:pPr/>
              <a:t>14</a:t>
            </a:fld>
            <a:endParaRPr lang="en-US"/>
          </a:p>
        </p:txBody>
      </p:sp>
    </p:spTree>
    <p:extLst>
      <p:ext uri="{BB962C8B-B14F-4D97-AF65-F5344CB8AC3E}">
        <p14:creationId xmlns:p14="http://schemas.microsoft.com/office/powerpoint/2010/main" val="189832632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5"/>
          </p:nvPr>
        </p:nvSpPr>
        <p:spPr/>
        <p:txBody>
          <a:bodyPr/>
          <a:lstStyle/>
          <a:p>
            <a:r>
              <a:rPr lang="en-US"/>
              <a:t>ShoppingTomorrow 2020</a:t>
            </a:r>
            <a:endParaRPr lang="en-US" dirty="0"/>
          </a:p>
        </p:txBody>
      </p:sp>
      <p:sp>
        <p:nvSpPr>
          <p:cNvPr id="4" name="Slide Number Placeholder 3"/>
          <p:cNvSpPr>
            <a:spLocks noGrp="1"/>
          </p:cNvSpPr>
          <p:nvPr>
            <p:ph type="sldNum" sz="quarter" idx="16"/>
          </p:nvPr>
        </p:nvSpPr>
        <p:spPr/>
        <p:txBody>
          <a:bodyPr/>
          <a:lstStyle/>
          <a:p>
            <a:fld id="{5F3E29E4-0979-4FCA-B4C5-5FC6044C982A}" type="slidenum">
              <a:rPr lang="en-US" smtClean="0"/>
              <a:pPr/>
              <a:t>15</a:t>
            </a:fld>
            <a:endParaRPr lang="en-US"/>
          </a:p>
        </p:txBody>
      </p:sp>
      <p:sp>
        <p:nvSpPr>
          <p:cNvPr id="8" name="Title 7"/>
          <p:cNvSpPr>
            <a:spLocks noGrp="1"/>
          </p:cNvSpPr>
          <p:nvPr>
            <p:ph type="title"/>
          </p:nvPr>
        </p:nvSpPr>
        <p:spPr>
          <a:xfrm>
            <a:off x="1075060" y="358319"/>
            <a:ext cx="8652413" cy="648000"/>
          </a:xfrm>
        </p:spPr>
        <p:txBody>
          <a:bodyPr/>
          <a:lstStyle/>
          <a:p>
            <a:r>
              <a:rPr lang="en-US" sz="2400" dirty="0"/>
              <a:t>Personalization is expected, but only half of consumers think that it is actually available in 2025</a:t>
            </a:r>
          </a:p>
        </p:txBody>
      </p:sp>
      <p:sp>
        <p:nvSpPr>
          <p:cNvPr id="15" name="Text Placeholder 14"/>
          <p:cNvSpPr>
            <a:spLocks noGrp="1"/>
          </p:cNvSpPr>
          <p:nvPr>
            <p:ph type="body" sz="quarter" idx="17"/>
          </p:nvPr>
        </p:nvSpPr>
        <p:spPr>
          <a:xfrm>
            <a:off x="1075063" y="6307665"/>
            <a:ext cx="8162717" cy="133200"/>
          </a:xfrm>
        </p:spPr>
        <p:txBody>
          <a:bodyPr/>
          <a:lstStyle/>
          <a:p>
            <a:r>
              <a:rPr lang="en-US" sz="900" dirty="0"/>
              <a:t>B02: To what extent do you think that we will see each of the following technologies in the Dutch retail landscape in 2025?</a:t>
            </a:r>
          </a:p>
        </p:txBody>
      </p:sp>
      <p:sp>
        <p:nvSpPr>
          <p:cNvPr id="14" name="Title 8">
            <a:extLst>
              <a:ext uri="{FF2B5EF4-FFF2-40B4-BE49-F238E27FC236}">
                <a16:creationId xmlns:a16="http://schemas.microsoft.com/office/drawing/2014/main" xmlns="" id="{336CB63B-7A5A-415F-A5B1-6039ADDE6631}"/>
              </a:ext>
            </a:extLst>
          </p:cNvPr>
          <p:cNvSpPr txBox="1">
            <a:spLocks/>
          </p:cNvSpPr>
          <p:nvPr/>
        </p:nvSpPr>
        <p:spPr bwMode="gray">
          <a:xfrm>
            <a:off x="4263651" y="1548854"/>
            <a:ext cx="10525328"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en-US" sz="1200" b="1" dirty="0">
                <a:latin typeface="+mj-lt"/>
              </a:rPr>
              <a:t>Technologies available in the Dutch retail landscape in 2025 </a:t>
            </a:r>
          </a:p>
          <a:p>
            <a:pPr algn="ctr"/>
            <a:r>
              <a:rPr lang="en-US" sz="1000" b="1" dirty="0">
                <a:latin typeface="+mj-lt"/>
              </a:rPr>
              <a:t>(% in many stores / almost all stores)</a:t>
            </a:r>
          </a:p>
        </p:txBody>
      </p:sp>
      <p:cxnSp>
        <p:nvCxnSpPr>
          <p:cNvPr id="16" name="Straight Connector 15">
            <a:extLst>
              <a:ext uri="{FF2B5EF4-FFF2-40B4-BE49-F238E27FC236}">
                <a16:creationId xmlns:a16="http://schemas.microsoft.com/office/drawing/2014/main" xmlns="" id="{33F5F090-E00E-4DD8-B328-6CFB70193D9F}"/>
              </a:ext>
            </a:extLst>
          </p:cNvPr>
          <p:cNvCxnSpPr>
            <a:cxnSpLocks/>
          </p:cNvCxnSpPr>
          <p:nvPr/>
        </p:nvCxnSpPr>
        <p:spPr>
          <a:xfrm>
            <a:off x="7443697" y="1936029"/>
            <a:ext cx="4304775"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8" name="Text Placeholder 20">
            <a:extLst>
              <a:ext uri="{FF2B5EF4-FFF2-40B4-BE49-F238E27FC236}">
                <a16:creationId xmlns:a16="http://schemas.microsoft.com/office/drawing/2014/main" xmlns="" id="{69E5DD53-F07E-44D1-A4FF-E36EC346F892}"/>
              </a:ext>
            </a:extLst>
          </p:cNvPr>
          <p:cNvSpPr txBox="1">
            <a:spLocks/>
          </p:cNvSpPr>
          <p:nvPr/>
        </p:nvSpPr>
        <p:spPr bwMode="gray">
          <a:xfrm>
            <a:off x="10127226" y="6307665"/>
            <a:ext cx="1707443" cy="153986"/>
          </a:xfrm>
          <a:prstGeom prst="rect">
            <a:avLst/>
          </a:prstGeom>
        </p:spPr>
        <p:txBody>
          <a:bodyPr vert="horz" lIns="0" tIns="0" rIns="0" bIns="36000" rtlCol="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800" kern="1200" baseline="0" noProof="0" smtClean="0">
                <a:solidFill>
                  <a:schemeClr val="bg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spcAft>
                <a:spcPts val="0"/>
              </a:spcAft>
              <a:buFont typeface="Arial" pitchFamily="34" charset="0"/>
              <a:buNone/>
              <a:defRPr lang="de-DE" sz="800" kern="1200" baseline="0" noProof="0" smtClean="0">
                <a:solidFill>
                  <a:schemeClr val="bg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9pPr>
          </a:lstStyle>
          <a:p>
            <a:pPr algn="r"/>
            <a:r>
              <a:rPr lang="nl-NL" sz="900" dirty="0">
                <a:solidFill>
                  <a:schemeClr val="tx1"/>
                </a:solidFill>
                <a:latin typeface="+mj-lt"/>
              </a:rPr>
              <a:t>Base: </a:t>
            </a:r>
            <a:r>
              <a:rPr lang="nl-NL" sz="900" dirty="0" err="1">
                <a:solidFill>
                  <a:schemeClr val="tx1"/>
                </a:solidFill>
                <a:latin typeface="+mj-lt"/>
              </a:rPr>
              <a:t>all</a:t>
            </a:r>
            <a:r>
              <a:rPr lang="nl-NL" sz="900" dirty="0">
                <a:solidFill>
                  <a:schemeClr val="tx1"/>
                </a:solidFill>
                <a:latin typeface="+mj-lt"/>
              </a:rPr>
              <a:t> </a:t>
            </a:r>
            <a:r>
              <a:rPr lang="nl-NL" sz="900" dirty="0" err="1">
                <a:solidFill>
                  <a:schemeClr val="tx1"/>
                </a:solidFill>
                <a:latin typeface="+mj-lt"/>
              </a:rPr>
              <a:t>respondents</a:t>
            </a:r>
            <a:endParaRPr lang="nl-NL" sz="900" dirty="0">
              <a:solidFill>
                <a:schemeClr val="tx1"/>
              </a:solidFill>
              <a:latin typeface="+mj-lt"/>
            </a:endParaRPr>
          </a:p>
          <a:p>
            <a:pPr algn="r"/>
            <a:r>
              <a:rPr lang="nl-NL" sz="900" dirty="0">
                <a:solidFill>
                  <a:schemeClr val="tx1"/>
                </a:solidFill>
                <a:latin typeface="+mj-lt"/>
              </a:rPr>
              <a:t>2025: n=1.026, 2024: n=1.003 </a:t>
            </a:r>
          </a:p>
        </p:txBody>
      </p:sp>
      <p:sp>
        <p:nvSpPr>
          <p:cNvPr id="22" name="Text Placeholder 20">
            <a:extLst>
              <a:ext uri="{FF2B5EF4-FFF2-40B4-BE49-F238E27FC236}">
                <a16:creationId xmlns:a16="http://schemas.microsoft.com/office/drawing/2014/main" xmlns="" id="{E372E5AB-8035-4694-9D18-DCA81C24C5DC}"/>
              </a:ext>
            </a:extLst>
          </p:cNvPr>
          <p:cNvSpPr txBox="1">
            <a:spLocks/>
          </p:cNvSpPr>
          <p:nvPr/>
        </p:nvSpPr>
        <p:spPr bwMode="gray">
          <a:xfrm>
            <a:off x="10392795" y="6032500"/>
            <a:ext cx="1440160" cy="144462"/>
          </a:xfrm>
          <a:prstGeom prst="rect">
            <a:avLst/>
          </a:prstGeom>
        </p:spPr>
        <p:txBody>
          <a:bodyPr vert="horz" lIns="0" tIns="0" rIns="0" bIns="36000" rtlCol="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800" kern="1200" baseline="0" noProof="0" smtClean="0">
                <a:solidFill>
                  <a:schemeClr val="bg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spcAft>
                <a:spcPts val="0"/>
              </a:spcAft>
              <a:buFont typeface="Arial" pitchFamily="34" charset="0"/>
              <a:buNone/>
              <a:defRPr lang="de-DE" sz="800" kern="1200" baseline="0" noProof="0" smtClean="0">
                <a:solidFill>
                  <a:schemeClr val="bg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9pPr>
          </a:lstStyle>
          <a:p>
            <a:pPr algn="r"/>
            <a:r>
              <a:rPr lang="nl-NL" sz="900" dirty="0">
                <a:solidFill>
                  <a:schemeClr val="tx1"/>
                </a:solidFill>
                <a:latin typeface="+mj-lt"/>
              </a:rPr>
              <a:t>* new in 2020</a:t>
            </a:r>
          </a:p>
        </p:txBody>
      </p:sp>
      <p:sp>
        <p:nvSpPr>
          <p:cNvPr id="23" name="Text Placeholder 20">
            <a:extLst>
              <a:ext uri="{FF2B5EF4-FFF2-40B4-BE49-F238E27FC236}">
                <a16:creationId xmlns:a16="http://schemas.microsoft.com/office/drawing/2014/main" xmlns="" id="{D9519BB4-D9CD-4AB3-ABE1-DCD0400270DB}"/>
              </a:ext>
            </a:extLst>
          </p:cNvPr>
          <p:cNvSpPr txBox="1">
            <a:spLocks/>
          </p:cNvSpPr>
          <p:nvPr/>
        </p:nvSpPr>
        <p:spPr bwMode="gray">
          <a:xfrm>
            <a:off x="9237780" y="4564749"/>
            <a:ext cx="419927" cy="272915"/>
          </a:xfrm>
          <a:prstGeom prst="rect">
            <a:avLst/>
          </a:prstGeom>
        </p:spPr>
        <p:txBody>
          <a:bodyPr vert="horz" lIns="0" tIns="0" rIns="0" bIns="36000" rtlCol="0" anchor="ctr"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800" kern="1200" baseline="0" noProof="0" smtClean="0">
                <a:solidFill>
                  <a:schemeClr val="bg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spcAft>
                <a:spcPts val="0"/>
              </a:spcAft>
              <a:buFont typeface="Arial" pitchFamily="34" charset="0"/>
              <a:buNone/>
              <a:defRPr lang="de-DE" sz="800" kern="1200" baseline="0" noProof="0" smtClean="0">
                <a:solidFill>
                  <a:schemeClr val="bg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9pPr>
          </a:lstStyle>
          <a:p>
            <a:pPr algn="ctr"/>
            <a:r>
              <a:rPr lang="nl-NL" sz="2000" b="1" dirty="0">
                <a:solidFill>
                  <a:schemeClr val="tx1"/>
                </a:solidFill>
                <a:latin typeface="+mj-lt"/>
              </a:rPr>
              <a:t>*</a:t>
            </a:r>
          </a:p>
        </p:txBody>
      </p:sp>
      <p:graphicFrame>
        <p:nvGraphicFramePr>
          <p:cNvPr id="21" name="Object 20">
            <a:extLst>
              <a:ext uri="{FF2B5EF4-FFF2-40B4-BE49-F238E27FC236}">
                <a16:creationId xmlns:a16="http://schemas.microsoft.com/office/drawing/2014/main" xmlns="" id="{7B553AD0-BB5C-479D-85BC-09A88C7B8967}"/>
              </a:ext>
            </a:extLst>
          </p:cNvPr>
          <p:cNvGraphicFramePr>
            <a:graphicFrameLocks noChangeAspect="1"/>
          </p:cNvGraphicFramePr>
          <p:nvPr>
            <p:extLst>
              <p:ext uri="{D42A27DB-BD31-4B8C-83A1-F6EECF244321}">
                <p14:modId xmlns:p14="http://schemas.microsoft.com/office/powerpoint/2010/main" val="97021283"/>
              </p:ext>
            </p:extLst>
          </p:nvPr>
        </p:nvGraphicFramePr>
        <p:xfrm>
          <a:off x="7175441" y="2433244"/>
          <a:ext cx="5932781" cy="4638755"/>
        </p:xfrm>
        <a:graphic>
          <a:graphicData uri="http://schemas.openxmlformats.org/presentationml/2006/ole">
            <mc:AlternateContent xmlns:mc="http://schemas.openxmlformats.org/markup-compatibility/2006">
              <mc:Choice xmlns:v="urn:schemas-microsoft-com:vml" Requires="v">
                <p:oleObj spid="_x0000_s18949" name="Macro-Enabled Worksheet" r:id="rId4" imgW="5152845" imgH="4029203" progId="Excel.SheetMacroEnabled.12">
                  <p:link updateAutomatic="1"/>
                </p:oleObj>
              </mc:Choice>
              <mc:Fallback>
                <p:oleObj name="Macro-Enabled Worksheet" r:id="rId4" imgW="5152845" imgH="4029203" progId="Excel.SheetMacroEnabled.12">
                  <p:link updateAutomatic="1"/>
                  <p:pic>
                    <p:nvPicPr>
                      <p:cNvPr id="6" name="Object 5">
                        <a:extLst>
                          <a:ext uri="{FF2B5EF4-FFF2-40B4-BE49-F238E27FC236}">
                            <a16:creationId xmlns:a16="http://schemas.microsoft.com/office/drawing/2014/main" xmlns="" id="{3857664C-CA79-4F4F-9657-F8F4D0802E40}"/>
                          </a:ext>
                        </a:extLst>
                      </p:cNvPr>
                      <p:cNvPicPr/>
                      <p:nvPr/>
                    </p:nvPicPr>
                    <p:blipFill>
                      <a:blip r:embed="rId5"/>
                      <a:stretch>
                        <a:fillRect/>
                      </a:stretch>
                    </p:blipFill>
                    <p:spPr>
                      <a:xfrm>
                        <a:off x="7175441" y="2433244"/>
                        <a:ext cx="5932781" cy="4638755"/>
                      </a:xfrm>
                      <a:prstGeom prst="rect">
                        <a:avLst/>
                      </a:prstGeom>
                    </p:spPr>
                  </p:pic>
                </p:oleObj>
              </mc:Fallback>
            </mc:AlternateContent>
          </a:graphicData>
        </a:graphic>
      </p:graphicFrame>
      <p:graphicFrame>
        <p:nvGraphicFramePr>
          <p:cNvPr id="9" name="Chart 8">
            <a:extLst>
              <a:ext uri="{FF2B5EF4-FFF2-40B4-BE49-F238E27FC236}">
                <a16:creationId xmlns:a16="http://schemas.microsoft.com/office/drawing/2014/main" xmlns="" id="{FE0580FA-407E-4BAA-9F5D-DDA423E59373}"/>
              </a:ext>
            </a:extLst>
          </p:cNvPr>
          <p:cNvGraphicFramePr/>
          <p:nvPr>
            <p:extLst>
              <p:ext uri="{D42A27DB-BD31-4B8C-83A1-F6EECF244321}">
                <p14:modId xmlns:p14="http://schemas.microsoft.com/office/powerpoint/2010/main" val="1421098"/>
              </p:ext>
            </p:extLst>
          </p:nvPr>
        </p:nvGraphicFramePr>
        <p:xfrm>
          <a:off x="1467555" y="1927231"/>
          <a:ext cx="4064000" cy="3943431"/>
        </p:xfrm>
        <a:graphic>
          <a:graphicData uri="http://schemas.openxmlformats.org/drawingml/2006/chart">
            <c:chart xmlns:c="http://schemas.openxmlformats.org/drawingml/2006/chart" xmlns:r="http://schemas.openxmlformats.org/officeDocument/2006/relationships" r:id="rId6"/>
          </a:graphicData>
        </a:graphic>
      </p:graphicFrame>
      <p:sp>
        <p:nvSpPr>
          <p:cNvPr id="10" name="TextBox 9">
            <a:extLst>
              <a:ext uri="{FF2B5EF4-FFF2-40B4-BE49-F238E27FC236}">
                <a16:creationId xmlns:a16="http://schemas.microsoft.com/office/drawing/2014/main" xmlns="" id="{52B54B69-2B5C-4282-9FF2-F9FB95B4E70D}"/>
              </a:ext>
            </a:extLst>
          </p:cNvPr>
          <p:cNvSpPr txBox="1"/>
          <p:nvPr/>
        </p:nvSpPr>
        <p:spPr>
          <a:xfrm>
            <a:off x="2764884" y="3239914"/>
            <a:ext cx="1682460" cy="1140178"/>
          </a:xfrm>
          <a:prstGeom prst="rect">
            <a:avLst/>
          </a:prstGeom>
          <a:noFill/>
        </p:spPr>
        <p:txBody>
          <a:bodyPr wrap="square" lIns="0" tIns="0" rIns="0" bIns="0" rtlCol="0">
            <a:noAutofit/>
          </a:bodyPr>
          <a:lstStyle/>
          <a:p>
            <a:pPr>
              <a:lnSpc>
                <a:spcPct val="125000"/>
              </a:lnSpc>
              <a:buClr>
                <a:schemeClr val="tx2"/>
              </a:buClr>
            </a:pPr>
            <a:r>
              <a:rPr lang="nl-NL" sz="6000" dirty="0">
                <a:solidFill>
                  <a:srgbClr val="5776B2"/>
                </a:solidFill>
              </a:rPr>
              <a:t>74%</a:t>
            </a:r>
          </a:p>
        </p:txBody>
      </p:sp>
      <p:sp>
        <p:nvSpPr>
          <p:cNvPr id="50" name="Text Placeholder 14">
            <a:extLst>
              <a:ext uri="{FF2B5EF4-FFF2-40B4-BE49-F238E27FC236}">
                <a16:creationId xmlns:a16="http://schemas.microsoft.com/office/drawing/2014/main" xmlns="" id="{A6DF8515-E347-4A80-BECD-9E9F2644FA30}"/>
              </a:ext>
            </a:extLst>
          </p:cNvPr>
          <p:cNvSpPr txBox="1">
            <a:spLocks/>
          </p:cNvSpPr>
          <p:nvPr/>
        </p:nvSpPr>
        <p:spPr>
          <a:xfrm>
            <a:off x="1075063" y="6118770"/>
            <a:ext cx="8162717" cy="133200"/>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buClr>
                <a:schemeClr val="tx2"/>
              </a:buClr>
              <a:buFont typeface="Wingdings" panose="05000000000000000000" pitchFamily="2" charset="2"/>
              <a:buNone/>
              <a:defRPr sz="800" kern="1200" baseline="0">
                <a:solidFill>
                  <a:schemeClr val="tx1"/>
                </a:solidFill>
                <a:latin typeface="+mn-lt"/>
                <a:ea typeface="+mn-ea"/>
                <a:cs typeface="+mn-cs"/>
              </a:defRPr>
            </a:lvl1pPr>
            <a:lvl2pPr marL="0" indent="0" algn="l" defTabSz="914400" rtl="0" eaLnBrk="1" latinLnBrk="0" hangingPunct="1">
              <a:lnSpc>
                <a:spcPct val="100000"/>
              </a:lnSpc>
              <a:spcBef>
                <a:spcPts val="0"/>
              </a:spcBef>
              <a:buClr>
                <a:schemeClr val="tx2"/>
              </a:buClr>
              <a:buFont typeface="Wingdings" panose="05000000000000000000" pitchFamily="2" charset="2"/>
              <a:buNone/>
              <a:defRPr sz="800" kern="1200">
                <a:solidFill>
                  <a:schemeClr val="tx1"/>
                </a:solidFill>
                <a:latin typeface="+mn-lt"/>
                <a:ea typeface="+mn-ea"/>
                <a:cs typeface="+mn-cs"/>
              </a:defRPr>
            </a:lvl2pPr>
            <a:lvl3pPr marL="0" indent="0" algn="l" defTabSz="914400" rtl="0" eaLnBrk="1" latinLnBrk="0" hangingPunct="1">
              <a:lnSpc>
                <a:spcPct val="100000"/>
              </a:lnSpc>
              <a:spcBef>
                <a:spcPts val="0"/>
              </a:spcBef>
              <a:buClr>
                <a:schemeClr val="tx2"/>
              </a:buClr>
              <a:buFont typeface="Wingdings" panose="05000000000000000000" pitchFamily="2" charset="2"/>
              <a:buNone/>
              <a:defRPr sz="800" kern="1200">
                <a:solidFill>
                  <a:schemeClr val="tx1"/>
                </a:solidFill>
                <a:latin typeface="+mn-lt"/>
                <a:ea typeface="+mn-ea"/>
                <a:cs typeface="+mn-cs"/>
              </a:defRPr>
            </a:lvl3pPr>
            <a:lvl4pPr marL="0" indent="0" algn="l" defTabSz="914400" rtl="0" eaLnBrk="1" latinLnBrk="0" hangingPunct="1">
              <a:lnSpc>
                <a:spcPct val="100000"/>
              </a:lnSpc>
              <a:spcBef>
                <a:spcPts val="0"/>
              </a:spcBef>
              <a:buClr>
                <a:schemeClr val="tx2"/>
              </a:buClr>
              <a:buFont typeface="Lato" panose="020F0502020204030203" pitchFamily="34" charset="0"/>
              <a:buNone/>
              <a:defRPr sz="800" kern="1200">
                <a:solidFill>
                  <a:schemeClr val="tx1"/>
                </a:solidFill>
                <a:latin typeface="+mn-lt"/>
                <a:ea typeface="+mn-ea"/>
                <a:cs typeface="+mn-cs"/>
              </a:defRPr>
            </a:lvl4pPr>
            <a:lvl5pPr marL="0" indent="0" algn="l" defTabSz="914400" rtl="0" eaLnBrk="1" latinLnBrk="0" hangingPunct="1">
              <a:lnSpc>
                <a:spcPct val="100000"/>
              </a:lnSpc>
              <a:spcBef>
                <a:spcPts val="0"/>
              </a:spcBef>
              <a:buClr>
                <a:schemeClr val="tx2"/>
              </a:buClr>
              <a:buFont typeface="Wingdings" panose="05000000000000000000" pitchFamily="2" charset="2"/>
              <a:buNone/>
              <a:defRPr sz="800" kern="1200">
                <a:solidFill>
                  <a:schemeClr val="tx1"/>
                </a:solidFill>
                <a:latin typeface="+mn-lt"/>
                <a:ea typeface="+mn-ea"/>
                <a:cs typeface="+mn-cs"/>
              </a:defRPr>
            </a:lvl5pPr>
            <a:lvl6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6pPr>
            <a:lvl7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51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944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9pPr>
          </a:lstStyle>
          <a:p>
            <a:r>
              <a:rPr lang="en-US" sz="900"/>
              <a:t>B01: To what extent do you consider each of the following scenarios (un)likely in 2025? </a:t>
            </a:r>
          </a:p>
          <a:p>
            <a:r>
              <a:rPr lang="en-US" sz="900"/>
              <a:t>* Top 2 on a 4-point scale</a:t>
            </a:r>
            <a:endParaRPr lang="en-US" sz="900" dirty="0"/>
          </a:p>
        </p:txBody>
      </p:sp>
      <p:sp>
        <p:nvSpPr>
          <p:cNvPr id="11" name="TextBox 10">
            <a:extLst>
              <a:ext uri="{FF2B5EF4-FFF2-40B4-BE49-F238E27FC236}">
                <a16:creationId xmlns:a16="http://schemas.microsoft.com/office/drawing/2014/main" xmlns="" id="{8182BF9C-71F4-4DFA-BD87-CE549DF30580}"/>
              </a:ext>
            </a:extLst>
          </p:cNvPr>
          <p:cNvSpPr txBox="1"/>
          <p:nvPr/>
        </p:nvSpPr>
        <p:spPr>
          <a:xfrm>
            <a:off x="2968978" y="4324397"/>
            <a:ext cx="1343378" cy="273605"/>
          </a:xfrm>
          <a:prstGeom prst="rect">
            <a:avLst/>
          </a:prstGeom>
          <a:noFill/>
        </p:spPr>
        <p:txBody>
          <a:bodyPr wrap="square" lIns="0" tIns="0" rIns="0" bIns="0" rtlCol="0">
            <a:noAutofit/>
          </a:bodyPr>
          <a:lstStyle/>
          <a:p>
            <a:pPr>
              <a:lnSpc>
                <a:spcPct val="125000"/>
              </a:lnSpc>
              <a:buClr>
                <a:schemeClr val="tx2"/>
              </a:buClr>
            </a:pPr>
            <a:r>
              <a:rPr lang="nl-NL" sz="1600" dirty="0"/>
              <a:t>2024: 77%</a:t>
            </a:r>
          </a:p>
        </p:txBody>
      </p:sp>
      <p:sp>
        <p:nvSpPr>
          <p:cNvPr id="51" name="Title 8">
            <a:extLst>
              <a:ext uri="{FF2B5EF4-FFF2-40B4-BE49-F238E27FC236}">
                <a16:creationId xmlns:a16="http://schemas.microsoft.com/office/drawing/2014/main" xmlns="" id="{94D130FE-83EC-4207-93D7-093EB53A3EEE}"/>
              </a:ext>
            </a:extLst>
          </p:cNvPr>
          <p:cNvSpPr txBox="1">
            <a:spLocks/>
          </p:cNvSpPr>
          <p:nvPr/>
        </p:nvSpPr>
        <p:spPr bwMode="gray">
          <a:xfrm>
            <a:off x="-1882328" y="1538451"/>
            <a:ext cx="10525328"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en-US" sz="1200" b="1" dirty="0">
                <a:latin typeface="+mj-lt"/>
              </a:rPr>
              <a:t>Likeliness of a personalized range of products and services when shopping online in 2025 </a:t>
            </a:r>
          </a:p>
        </p:txBody>
      </p:sp>
      <p:cxnSp>
        <p:nvCxnSpPr>
          <p:cNvPr id="52" name="Straight Connector 51">
            <a:extLst>
              <a:ext uri="{FF2B5EF4-FFF2-40B4-BE49-F238E27FC236}">
                <a16:creationId xmlns:a16="http://schemas.microsoft.com/office/drawing/2014/main" xmlns="" id="{6C14C72F-5C68-4F59-A0D7-04C8351B59A3}"/>
              </a:ext>
            </a:extLst>
          </p:cNvPr>
          <p:cNvCxnSpPr>
            <a:cxnSpLocks/>
          </p:cNvCxnSpPr>
          <p:nvPr/>
        </p:nvCxnSpPr>
        <p:spPr>
          <a:xfrm>
            <a:off x="1353960" y="1936029"/>
            <a:ext cx="4304775"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xmlns="" id="{D7E6F421-1A42-41B0-A246-926D235DE2F0}"/>
              </a:ext>
            </a:extLst>
          </p:cNvPr>
          <p:cNvSpPr/>
          <p:nvPr/>
        </p:nvSpPr>
        <p:spPr>
          <a:xfrm>
            <a:off x="7270867" y="4752622"/>
            <a:ext cx="2855022" cy="221654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nl-NL" sz="1600" dirty="0"/>
          </a:p>
        </p:txBody>
      </p:sp>
      <p:sp>
        <p:nvSpPr>
          <p:cNvPr id="13" name="Rectangle 12">
            <a:extLst>
              <a:ext uri="{FF2B5EF4-FFF2-40B4-BE49-F238E27FC236}">
                <a16:creationId xmlns:a16="http://schemas.microsoft.com/office/drawing/2014/main" xmlns="" id="{CAD7E2A8-D7E3-48F9-BC57-6428DBA596C9}"/>
              </a:ext>
            </a:extLst>
          </p:cNvPr>
          <p:cNvSpPr/>
          <p:nvPr/>
        </p:nvSpPr>
        <p:spPr>
          <a:xfrm>
            <a:off x="9369778" y="5091290"/>
            <a:ext cx="508000" cy="124178"/>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nl-NL" sz="1600" dirty="0"/>
          </a:p>
        </p:txBody>
      </p:sp>
      <p:sp>
        <p:nvSpPr>
          <p:cNvPr id="53" name="Rectangle 52">
            <a:extLst>
              <a:ext uri="{FF2B5EF4-FFF2-40B4-BE49-F238E27FC236}">
                <a16:creationId xmlns:a16="http://schemas.microsoft.com/office/drawing/2014/main" xmlns="" id="{FF2DAD3A-93C5-45EB-88A3-953C010BF107}"/>
              </a:ext>
            </a:extLst>
          </p:cNvPr>
          <p:cNvSpPr/>
          <p:nvPr/>
        </p:nvSpPr>
        <p:spPr>
          <a:xfrm>
            <a:off x="9369778" y="5344916"/>
            <a:ext cx="508000" cy="124178"/>
          </a:xfrm>
          <a:prstGeom prst="rect">
            <a:avLst/>
          </a:prstGeom>
          <a:solidFill>
            <a:srgbClr val="92A192"/>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nl-NL" sz="1600" dirty="0"/>
          </a:p>
        </p:txBody>
      </p:sp>
      <p:sp>
        <p:nvSpPr>
          <p:cNvPr id="17" name="TextBox 16">
            <a:extLst>
              <a:ext uri="{FF2B5EF4-FFF2-40B4-BE49-F238E27FC236}">
                <a16:creationId xmlns:a16="http://schemas.microsoft.com/office/drawing/2014/main" xmlns="" id="{320467E7-F17E-4345-87A3-856C25F7C889}"/>
              </a:ext>
            </a:extLst>
          </p:cNvPr>
          <p:cNvSpPr txBox="1"/>
          <p:nvPr/>
        </p:nvSpPr>
        <p:spPr>
          <a:xfrm>
            <a:off x="10093517" y="5014823"/>
            <a:ext cx="598556" cy="283609"/>
          </a:xfrm>
          <a:prstGeom prst="rect">
            <a:avLst/>
          </a:prstGeom>
          <a:noFill/>
        </p:spPr>
        <p:txBody>
          <a:bodyPr wrap="square" lIns="0" tIns="0" rIns="0" bIns="0" rtlCol="0">
            <a:noAutofit/>
          </a:bodyPr>
          <a:lstStyle/>
          <a:p>
            <a:pPr>
              <a:lnSpc>
                <a:spcPct val="125000"/>
              </a:lnSpc>
              <a:buClr>
                <a:schemeClr val="tx2"/>
              </a:buClr>
            </a:pPr>
            <a:r>
              <a:rPr lang="nl-NL" sz="1200" dirty="0"/>
              <a:t>2025</a:t>
            </a:r>
            <a:endParaRPr lang="nl-NL" sz="1600" dirty="0"/>
          </a:p>
        </p:txBody>
      </p:sp>
      <p:sp>
        <p:nvSpPr>
          <p:cNvPr id="54" name="TextBox 53">
            <a:extLst>
              <a:ext uri="{FF2B5EF4-FFF2-40B4-BE49-F238E27FC236}">
                <a16:creationId xmlns:a16="http://schemas.microsoft.com/office/drawing/2014/main" xmlns="" id="{C0A56F02-57F1-43C6-B0FC-45CACB743C88}"/>
              </a:ext>
            </a:extLst>
          </p:cNvPr>
          <p:cNvSpPr txBox="1"/>
          <p:nvPr/>
        </p:nvSpPr>
        <p:spPr>
          <a:xfrm>
            <a:off x="10093517" y="5298452"/>
            <a:ext cx="598556" cy="283609"/>
          </a:xfrm>
          <a:prstGeom prst="rect">
            <a:avLst/>
          </a:prstGeom>
          <a:noFill/>
        </p:spPr>
        <p:txBody>
          <a:bodyPr wrap="square" lIns="0" tIns="0" rIns="0" bIns="0" rtlCol="0">
            <a:noAutofit/>
          </a:bodyPr>
          <a:lstStyle/>
          <a:p>
            <a:pPr>
              <a:lnSpc>
                <a:spcPct val="125000"/>
              </a:lnSpc>
              <a:buClr>
                <a:schemeClr val="tx2"/>
              </a:buClr>
            </a:pPr>
            <a:r>
              <a:rPr lang="nl-NL" sz="1200" dirty="0"/>
              <a:t>2024</a:t>
            </a:r>
          </a:p>
        </p:txBody>
      </p:sp>
    </p:spTree>
    <p:extLst>
      <p:ext uri="{BB962C8B-B14F-4D97-AF65-F5344CB8AC3E}">
        <p14:creationId xmlns:p14="http://schemas.microsoft.com/office/powerpoint/2010/main" val="581077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3"/>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53"/>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54"/>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4" grpId="0"/>
      <p:bldP spid="23" grpId="0"/>
      <p:bldP spid="13" grpId="0" animBg="1"/>
      <p:bldP spid="53" grpId="0" animBg="1"/>
      <p:bldP spid="17" grpId="0"/>
      <p:bldP spid="5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5"/>
          </p:nvPr>
        </p:nvSpPr>
        <p:spPr/>
        <p:txBody>
          <a:bodyPr/>
          <a:lstStyle/>
          <a:p>
            <a:r>
              <a:rPr lang="en-US"/>
              <a:t>ShoppingTomorrow 2020</a:t>
            </a:r>
            <a:endParaRPr lang="en-US" dirty="0"/>
          </a:p>
        </p:txBody>
      </p:sp>
      <p:sp>
        <p:nvSpPr>
          <p:cNvPr id="4" name="Slide Number Placeholder 3"/>
          <p:cNvSpPr>
            <a:spLocks noGrp="1"/>
          </p:cNvSpPr>
          <p:nvPr>
            <p:ph type="sldNum" sz="quarter" idx="16"/>
          </p:nvPr>
        </p:nvSpPr>
        <p:spPr/>
        <p:txBody>
          <a:bodyPr/>
          <a:lstStyle/>
          <a:p>
            <a:fld id="{5F3E29E4-0979-4FCA-B4C5-5FC6044C982A}" type="slidenum">
              <a:rPr lang="en-US" smtClean="0"/>
              <a:pPr/>
              <a:t>16</a:t>
            </a:fld>
            <a:endParaRPr lang="en-US"/>
          </a:p>
        </p:txBody>
      </p:sp>
      <p:sp>
        <p:nvSpPr>
          <p:cNvPr id="15" name="Text Placeholder 14"/>
          <p:cNvSpPr>
            <a:spLocks noGrp="1"/>
          </p:cNvSpPr>
          <p:nvPr>
            <p:ph type="body" sz="quarter" idx="17"/>
          </p:nvPr>
        </p:nvSpPr>
        <p:spPr>
          <a:xfrm>
            <a:off x="1075063" y="6307665"/>
            <a:ext cx="8162717" cy="133200"/>
          </a:xfrm>
        </p:spPr>
        <p:txBody>
          <a:bodyPr/>
          <a:lstStyle/>
          <a:p>
            <a:r>
              <a:rPr lang="en-US" sz="900" dirty="0"/>
              <a:t>S02: To what extent do you agree or disagree with the following statements?</a:t>
            </a:r>
          </a:p>
        </p:txBody>
      </p:sp>
      <p:sp>
        <p:nvSpPr>
          <p:cNvPr id="13" name="Title 8">
            <a:extLst>
              <a:ext uri="{FF2B5EF4-FFF2-40B4-BE49-F238E27FC236}">
                <a16:creationId xmlns:a16="http://schemas.microsoft.com/office/drawing/2014/main" xmlns="" id="{357B512A-A29C-49B9-90A0-34FBD0948CDD}"/>
              </a:ext>
            </a:extLst>
          </p:cNvPr>
          <p:cNvSpPr txBox="1">
            <a:spLocks/>
          </p:cNvSpPr>
          <p:nvPr/>
        </p:nvSpPr>
        <p:spPr bwMode="gray">
          <a:xfrm>
            <a:off x="1167319" y="1340722"/>
            <a:ext cx="10525328"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en-US" sz="1200" b="1" dirty="0">
                <a:latin typeface="+mj-lt"/>
              </a:rPr>
              <a:t>Sharing personal information and data</a:t>
            </a:r>
            <a:endParaRPr lang="nl-NL" sz="1200" b="1" dirty="0">
              <a:latin typeface="+mj-lt"/>
            </a:endParaRPr>
          </a:p>
        </p:txBody>
      </p:sp>
      <p:cxnSp>
        <p:nvCxnSpPr>
          <p:cNvPr id="20" name="Straight Connector 19">
            <a:extLst>
              <a:ext uri="{FF2B5EF4-FFF2-40B4-BE49-F238E27FC236}">
                <a16:creationId xmlns:a16="http://schemas.microsoft.com/office/drawing/2014/main" xmlns="" id="{7575AC80-45F1-471C-90A9-911F827F869F}"/>
              </a:ext>
            </a:extLst>
          </p:cNvPr>
          <p:cNvCxnSpPr>
            <a:cxnSpLocks/>
          </p:cNvCxnSpPr>
          <p:nvPr/>
        </p:nvCxnSpPr>
        <p:spPr>
          <a:xfrm>
            <a:off x="1167319" y="1628754"/>
            <a:ext cx="10525328"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xmlns="" id="{9F019450-B90D-4A4D-823E-81FB67CDC191}"/>
              </a:ext>
            </a:extLst>
          </p:cNvPr>
          <p:cNvSpPr txBox="1">
            <a:spLocks/>
          </p:cNvSpPr>
          <p:nvPr/>
        </p:nvSpPr>
        <p:spPr bwMode="gray">
          <a:xfrm>
            <a:off x="10394509" y="6317189"/>
            <a:ext cx="1440160" cy="144462"/>
          </a:xfrm>
          <a:prstGeom prst="rect">
            <a:avLst/>
          </a:prstGeom>
        </p:spPr>
        <p:txBody>
          <a:bodyPr vert="horz" lIns="0" tIns="0" rIns="0" bIns="36000" rtlCol="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800" kern="1200" baseline="0" noProof="0" smtClean="0">
                <a:solidFill>
                  <a:schemeClr val="bg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spcAft>
                <a:spcPts val="0"/>
              </a:spcAft>
              <a:buFont typeface="Arial" pitchFamily="34" charset="0"/>
              <a:buNone/>
              <a:defRPr lang="de-DE" sz="800" kern="1200" baseline="0" noProof="0" smtClean="0">
                <a:solidFill>
                  <a:schemeClr val="bg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9pPr>
          </a:lstStyle>
          <a:p>
            <a:pPr algn="r"/>
            <a:r>
              <a:rPr lang="nl-NL" sz="900" dirty="0">
                <a:solidFill>
                  <a:schemeClr val="tx1"/>
                </a:solidFill>
                <a:latin typeface="+mj-lt"/>
              </a:rPr>
              <a:t>Base: splitrun 2, n=513</a:t>
            </a:r>
          </a:p>
        </p:txBody>
      </p:sp>
      <p:sp>
        <p:nvSpPr>
          <p:cNvPr id="23" name="Rectangle 22">
            <a:extLst>
              <a:ext uri="{FF2B5EF4-FFF2-40B4-BE49-F238E27FC236}">
                <a16:creationId xmlns:a16="http://schemas.microsoft.com/office/drawing/2014/main" xmlns="" id="{8C8289E4-15F5-436F-A7E6-8FD54EEEF9EC}"/>
              </a:ext>
            </a:extLst>
          </p:cNvPr>
          <p:cNvSpPr/>
          <p:nvPr/>
        </p:nvSpPr>
        <p:spPr bwMode="gray">
          <a:xfrm>
            <a:off x="2288288" y="4574850"/>
            <a:ext cx="7200000" cy="900000"/>
          </a:xfrm>
          <a:prstGeom prst="rect">
            <a:avLst/>
          </a:prstGeom>
          <a:solidFill>
            <a:schemeClr val="bg1">
              <a:lumMod val="95000"/>
            </a:schemeClr>
          </a:solidFill>
          <a:ln w="9525">
            <a:solidFill>
              <a:srgbClr val="5776B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r>
              <a:rPr lang="en-US" sz="1200" b="1" dirty="0">
                <a:solidFill>
                  <a:schemeClr val="tx1"/>
                </a:solidFill>
                <a:cs typeface="Arial" pitchFamily="34" charset="0"/>
              </a:rPr>
              <a:t>I don't mind sharing personal data if that means that the offer is better tailored to my personal preferences</a:t>
            </a:r>
          </a:p>
        </p:txBody>
      </p:sp>
      <p:sp>
        <p:nvSpPr>
          <p:cNvPr id="24" name="Rectangle 23">
            <a:extLst>
              <a:ext uri="{FF2B5EF4-FFF2-40B4-BE49-F238E27FC236}">
                <a16:creationId xmlns:a16="http://schemas.microsoft.com/office/drawing/2014/main" xmlns="" id="{A6CD8D95-A3B3-4EB5-89E2-1067E5582464}"/>
              </a:ext>
            </a:extLst>
          </p:cNvPr>
          <p:cNvSpPr/>
          <p:nvPr/>
        </p:nvSpPr>
        <p:spPr bwMode="gray">
          <a:xfrm>
            <a:off x="9602171" y="2552151"/>
            <a:ext cx="900000" cy="900000"/>
          </a:xfrm>
          <a:prstGeom prst="rect">
            <a:avLst/>
          </a:prstGeom>
          <a:solidFill>
            <a:srgbClr val="5776B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2000" b="1" dirty="0">
                <a:solidFill>
                  <a:schemeClr val="bg1"/>
                </a:solidFill>
                <a:cs typeface="Arial" pitchFamily="34" charset="0"/>
              </a:rPr>
              <a:t>49%</a:t>
            </a:r>
          </a:p>
        </p:txBody>
      </p:sp>
      <p:sp>
        <p:nvSpPr>
          <p:cNvPr id="25" name="Rectangle 24">
            <a:extLst>
              <a:ext uri="{FF2B5EF4-FFF2-40B4-BE49-F238E27FC236}">
                <a16:creationId xmlns:a16="http://schemas.microsoft.com/office/drawing/2014/main" xmlns="" id="{6141F244-82F9-47CB-853E-A56905458306}"/>
              </a:ext>
            </a:extLst>
          </p:cNvPr>
          <p:cNvSpPr/>
          <p:nvPr/>
        </p:nvSpPr>
        <p:spPr bwMode="gray">
          <a:xfrm>
            <a:off x="9598945" y="3557240"/>
            <a:ext cx="900000" cy="900000"/>
          </a:xfrm>
          <a:prstGeom prst="rect">
            <a:avLst/>
          </a:prstGeom>
          <a:solidFill>
            <a:srgbClr val="5776B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2000" b="1" dirty="0">
                <a:solidFill>
                  <a:schemeClr val="bg1"/>
                </a:solidFill>
                <a:cs typeface="Arial" pitchFamily="34" charset="0"/>
              </a:rPr>
              <a:t>29%</a:t>
            </a:r>
          </a:p>
        </p:txBody>
      </p:sp>
      <p:sp>
        <p:nvSpPr>
          <p:cNvPr id="26" name="Rectangle 25">
            <a:extLst>
              <a:ext uri="{FF2B5EF4-FFF2-40B4-BE49-F238E27FC236}">
                <a16:creationId xmlns:a16="http://schemas.microsoft.com/office/drawing/2014/main" xmlns="" id="{9AE6F35C-58E8-48A7-A4E1-BDB793FF19CE}"/>
              </a:ext>
            </a:extLst>
          </p:cNvPr>
          <p:cNvSpPr/>
          <p:nvPr/>
        </p:nvSpPr>
        <p:spPr bwMode="gray">
          <a:xfrm>
            <a:off x="9601017" y="4575268"/>
            <a:ext cx="900000" cy="900000"/>
          </a:xfrm>
          <a:prstGeom prst="rect">
            <a:avLst/>
          </a:prstGeom>
          <a:solidFill>
            <a:srgbClr val="5776B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nl-NL" sz="2000" b="1" dirty="0">
                <a:solidFill>
                  <a:schemeClr val="bg1"/>
                </a:solidFill>
                <a:cs typeface="Arial" pitchFamily="34" charset="0"/>
              </a:rPr>
              <a:t>21%</a:t>
            </a:r>
          </a:p>
        </p:txBody>
      </p:sp>
      <p:sp>
        <p:nvSpPr>
          <p:cNvPr id="28" name="Rectangle 27">
            <a:extLst>
              <a:ext uri="{FF2B5EF4-FFF2-40B4-BE49-F238E27FC236}">
                <a16:creationId xmlns:a16="http://schemas.microsoft.com/office/drawing/2014/main" xmlns="" id="{57CFB373-D312-429D-979A-101BC830193A}"/>
              </a:ext>
            </a:extLst>
          </p:cNvPr>
          <p:cNvSpPr/>
          <p:nvPr/>
        </p:nvSpPr>
        <p:spPr bwMode="gray">
          <a:xfrm>
            <a:off x="2288252" y="3557240"/>
            <a:ext cx="7200000" cy="900000"/>
          </a:xfrm>
          <a:prstGeom prst="rect">
            <a:avLst/>
          </a:prstGeom>
          <a:solidFill>
            <a:schemeClr val="bg1">
              <a:lumMod val="95000"/>
            </a:schemeClr>
          </a:solidFill>
          <a:ln w="9525">
            <a:solidFill>
              <a:srgbClr val="5776B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r>
              <a:rPr lang="en-US" sz="1200" b="1" dirty="0">
                <a:solidFill>
                  <a:schemeClr val="tx1"/>
                </a:solidFill>
                <a:cs typeface="Arial" pitchFamily="34" charset="0"/>
              </a:rPr>
              <a:t>I don't mind sharing personal data if it provides me with certain benefits, such as a discount or credit</a:t>
            </a:r>
          </a:p>
        </p:txBody>
      </p:sp>
      <p:sp>
        <p:nvSpPr>
          <p:cNvPr id="29" name="Rectangle 28">
            <a:extLst>
              <a:ext uri="{FF2B5EF4-FFF2-40B4-BE49-F238E27FC236}">
                <a16:creationId xmlns:a16="http://schemas.microsoft.com/office/drawing/2014/main" xmlns="" id="{F737DC85-D8B6-473A-878B-69DDAD5502AF}"/>
              </a:ext>
            </a:extLst>
          </p:cNvPr>
          <p:cNvSpPr/>
          <p:nvPr/>
        </p:nvSpPr>
        <p:spPr bwMode="gray">
          <a:xfrm>
            <a:off x="2288252" y="2552151"/>
            <a:ext cx="7200000" cy="900000"/>
          </a:xfrm>
          <a:prstGeom prst="rect">
            <a:avLst/>
          </a:prstGeom>
          <a:solidFill>
            <a:schemeClr val="bg1">
              <a:lumMod val="95000"/>
            </a:schemeClr>
          </a:solidFill>
          <a:ln w="9525">
            <a:solidFill>
              <a:srgbClr val="5776B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r>
              <a:rPr lang="en-US" sz="1200" b="1" dirty="0">
                <a:solidFill>
                  <a:schemeClr val="tx1"/>
                </a:solidFill>
                <a:cs typeface="Arial" pitchFamily="34" charset="0"/>
              </a:rPr>
              <a:t>I am not comfortable sharing personal information with shops or product providers</a:t>
            </a:r>
          </a:p>
        </p:txBody>
      </p:sp>
      <p:sp>
        <p:nvSpPr>
          <p:cNvPr id="30" name="Title 8">
            <a:extLst>
              <a:ext uri="{FF2B5EF4-FFF2-40B4-BE49-F238E27FC236}">
                <a16:creationId xmlns:a16="http://schemas.microsoft.com/office/drawing/2014/main" xmlns="" id="{8AA8A6DA-3170-4E93-8132-D3967C653AB7}"/>
              </a:ext>
            </a:extLst>
          </p:cNvPr>
          <p:cNvSpPr txBox="1">
            <a:spLocks/>
          </p:cNvSpPr>
          <p:nvPr/>
        </p:nvSpPr>
        <p:spPr bwMode="gray">
          <a:xfrm>
            <a:off x="9424425" y="2003239"/>
            <a:ext cx="1244056" cy="581442"/>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en-US" sz="1200" b="1" dirty="0">
                <a:latin typeface="+mj-lt"/>
              </a:rPr>
              <a:t>Top Box </a:t>
            </a:r>
            <a:br>
              <a:rPr lang="en-US" sz="1200" b="1" dirty="0">
                <a:latin typeface="+mj-lt"/>
              </a:rPr>
            </a:br>
            <a:r>
              <a:rPr lang="en-US" sz="1200" b="1" dirty="0">
                <a:latin typeface="+mj-lt"/>
              </a:rPr>
              <a:t>(Strongly) Agree</a:t>
            </a:r>
            <a:endParaRPr lang="nl-NL" sz="1200" b="1" dirty="0">
              <a:latin typeface="+mj-lt"/>
            </a:endParaRPr>
          </a:p>
        </p:txBody>
      </p:sp>
      <p:sp>
        <p:nvSpPr>
          <p:cNvPr id="6" name="Titel 5">
            <a:extLst>
              <a:ext uri="{FF2B5EF4-FFF2-40B4-BE49-F238E27FC236}">
                <a16:creationId xmlns:a16="http://schemas.microsoft.com/office/drawing/2014/main" xmlns="" id="{35D66686-5BFA-451B-A512-B0DA470012D1}"/>
              </a:ext>
            </a:extLst>
          </p:cNvPr>
          <p:cNvSpPr>
            <a:spLocks noGrp="1"/>
          </p:cNvSpPr>
          <p:nvPr>
            <p:ph type="title"/>
          </p:nvPr>
        </p:nvSpPr>
        <p:spPr/>
        <p:txBody>
          <a:bodyPr/>
          <a:lstStyle/>
          <a:p>
            <a:r>
              <a:rPr lang="en-US" sz="2400" dirty="0"/>
              <a:t>There is a hurdle: half of all consumers is not comfortable in sharing personal information with shops or product providers</a:t>
            </a:r>
          </a:p>
        </p:txBody>
      </p:sp>
    </p:spTree>
    <p:extLst>
      <p:ext uri="{BB962C8B-B14F-4D97-AF65-F5344CB8AC3E}">
        <p14:creationId xmlns:p14="http://schemas.microsoft.com/office/powerpoint/2010/main" val="1801194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5"/>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2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animBg="1"/>
      <p:bldP spid="25" grpId="0" animBg="1"/>
      <p:bldP spid="26" grpId="0" animBg="1"/>
      <p:bldP spid="28" grpId="0" animBg="1"/>
      <p:bldP spid="6"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5"/>
          </p:nvPr>
        </p:nvSpPr>
        <p:spPr/>
        <p:txBody>
          <a:bodyPr/>
          <a:lstStyle/>
          <a:p>
            <a:r>
              <a:rPr lang="en-US"/>
              <a:t>ShoppingTomorrow 2020</a:t>
            </a:r>
            <a:endParaRPr lang="en-US" dirty="0"/>
          </a:p>
        </p:txBody>
      </p:sp>
      <p:sp>
        <p:nvSpPr>
          <p:cNvPr id="4" name="Slide Number Placeholder 3"/>
          <p:cNvSpPr>
            <a:spLocks noGrp="1"/>
          </p:cNvSpPr>
          <p:nvPr>
            <p:ph type="sldNum" sz="quarter" idx="16"/>
          </p:nvPr>
        </p:nvSpPr>
        <p:spPr/>
        <p:txBody>
          <a:bodyPr/>
          <a:lstStyle/>
          <a:p>
            <a:fld id="{5F3E29E4-0979-4FCA-B4C5-5FC6044C982A}" type="slidenum">
              <a:rPr lang="en-US" smtClean="0"/>
              <a:pPr/>
              <a:t>17</a:t>
            </a:fld>
            <a:endParaRPr lang="en-US"/>
          </a:p>
        </p:txBody>
      </p:sp>
      <p:sp>
        <p:nvSpPr>
          <p:cNvPr id="8" name="Title 7"/>
          <p:cNvSpPr>
            <a:spLocks noGrp="1"/>
          </p:cNvSpPr>
          <p:nvPr>
            <p:ph type="title"/>
          </p:nvPr>
        </p:nvSpPr>
        <p:spPr>
          <a:xfrm>
            <a:off x="1075062" y="273979"/>
            <a:ext cx="9052163" cy="648000"/>
          </a:xfrm>
        </p:spPr>
        <p:txBody>
          <a:bodyPr/>
          <a:lstStyle/>
          <a:p>
            <a:r>
              <a:rPr lang="nl-NL" sz="2400" dirty="0" err="1"/>
              <a:t>Consumers</a:t>
            </a:r>
            <a:r>
              <a:rPr lang="nl-NL" sz="2400" dirty="0"/>
              <a:t>’ attitude </a:t>
            </a:r>
            <a:r>
              <a:rPr lang="nl-NL" sz="2400" dirty="0" err="1"/>
              <a:t>toward</a:t>
            </a:r>
            <a:r>
              <a:rPr lang="nl-NL" sz="2400" dirty="0"/>
              <a:t> </a:t>
            </a:r>
            <a:r>
              <a:rPr lang="nl-NL" sz="2400" dirty="0" err="1"/>
              <a:t>the</a:t>
            </a:r>
            <a:r>
              <a:rPr lang="nl-NL" sz="2400" dirty="0"/>
              <a:t> bodyscanner / </a:t>
            </a:r>
            <a:r>
              <a:rPr lang="nl-NL" sz="2400" dirty="0" err="1"/>
              <a:t>footscanner</a:t>
            </a:r>
            <a:r>
              <a:rPr lang="nl-NL" sz="2400" dirty="0"/>
              <a:t> </a:t>
            </a:r>
            <a:r>
              <a:rPr lang="nl-NL" sz="2400" dirty="0" err="1"/>
              <a:t>and</a:t>
            </a:r>
            <a:r>
              <a:rPr lang="nl-NL" sz="2400" dirty="0"/>
              <a:t> VR is most </a:t>
            </a:r>
            <a:r>
              <a:rPr lang="nl-NL" sz="2400" dirty="0" err="1"/>
              <a:t>positive</a:t>
            </a:r>
            <a:r>
              <a:rPr lang="nl-NL" sz="2400" dirty="0"/>
              <a:t> </a:t>
            </a:r>
            <a:r>
              <a:rPr lang="nl-NL" sz="2400" dirty="0" err="1"/>
              <a:t>among</a:t>
            </a:r>
            <a:r>
              <a:rPr lang="nl-NL" sz="2400" dirty="0"/>
              <a:t> </a:t>
            </a:r>
            <a:r>
              <a:rPr lang="nl-NL" sz="2400" dirty="0" err="1"/>
              <a:t>all</a:t>
            </a:r>
            <a:r>
              <a:rPr lang="nl-NL" sz="2400" dirty="0"/>
              <a:t> new </a:t>
            </a:r>
            <a:r>
              <a:rPr lang="nl-NL" sz="2400" dirty="0" err="1"/>
              <a:t>technologies</a:t>
            </a:r>
            <a:endParaRPr lang="en-US" sz="2400" dirty="0"/>
          </a:p>
        </p:txBody>
      </p:sp>
      <p:sp>
        <p:nvSpPr>
          <p:cNvPr id="15" name="Text Placeholder 14"/>
          <p:cNvSpPr>
            <a:spLocks noGrp="1"/>
          </p:cNvSpPr>
          <p:nvPr>
            <p:ph type="body" sz="quarter" idx="17"/>
          </p:nvPr>
        </p:nvSpPr>
        <p:spPr>
          <a:xfrm>
            <a:off x="1075063" y="6307665"/>
            <a:ext cx="8162717" cy="133200"/>
          </a:xfrm>
        </p:spPr>
        <p:txBody>
          <a:bodyPr/>
          <a:lstStyle/>
          <a:p>
            <a:r>
              <a:rPr lang="en-US" sz="900" dirty="0"/>
              <a:t>B03: To what extent would you have a positive or negative attitude toward the use of the following technologies in a physical store?</a:t>
            </a:r>
          </a:p>
        </p:txBody>
      </p:sp>
      <p:sp>
        <p:nvSpPr>
          <p:cNvPr id="14" name="Title 8">
            <a:extLst>
              <a:ext uri="{FF2B5EF4-FFF2-40B4-BE49-F238E27FC236}">
                <a16:creationId xmlns:a16="http://schemas.microsoft.com/office/drawing/2014/main" xmlns="" id="{336CB63B-7A5A-415F-A5B1-6039ADDE6631}"/>
              </a:ext>
            </a:extLst>
          </p:cNvPr>
          <p:cNvSpPr txBox="1">
            <a:spLocks/>
          </p:cNvSpPr>
          <p:nvPr/>
        </p:nvSpPr>
        <p:spPr bwMode="gray">
          <a:xfrm>
            <a:off x="1167319" y="1340722"/>
            <a:ext cx="10525328"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en-US" sz="1200" b="1" dirty="0">
                <a:latin typeface="+mj-lt"/>
              </a:rPr>
              <a:t>Attitude toward the use of new technologies in stores</a:t>
            </a:r>
          </a:p>
        </p:txBody>
      </p:sp>
      <p:cxnSp>
        <p:nvCxnSpPr>
          <p:cNvPr id="16" name="Straight Connector 15">
            <a:extLst>
              <a:ext uri="{FF2B5EF4-FFF2-40B4-BE49-F238E27FC236}">
                <a16:creationId xmlns:a16="http://schemas.microsoft.com/office/drawing/2014/main" xmlns="" id="{33F5F090-E00E-4DD8-B328-6CFB70193D9F}"/>
              </a:ext>
            </a:extLst>
          </p:cNvPr>
          <p:cNvCxnSpPr>
            <a:cxnSpLocks/>
          </p:cNvCxnSpPr>
          <p:nvPr/>
        </p:nvCxnSpPr>
        <p:spPr>
          <a:xfrm>
            <a:off x="1167319" y="1628754"/>
            <a:ext cx="10525328"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8" name="Text Placeholder 20">
            <a:extLst>
              <a:ext uri="{FF2B5EF4-FFF2-40B4-BE49-F238E27FC236}">
                <a16:creationId xmlns:a16="http://schemas.microsoft.com/office/drawing/2014/main" xmlns="" id="{69E5DD53-F07E-44D1-A4FF-E36EC346F892}"/>
              </a:ext>
            </a:extLst>
          </p:cNvPr>
          <p:cNvSpPr txBox="1">
            <a:spLocks/>
          </p:cNvSpPr>
          <p:nvPr/>
        </p:nvSpPr>
        <p:spPr bwMode="gray">
          <a:xfrm>
            <a:off x="10127226" y="6307665"/>
            <a:ext cx="1707443" cy="153986"/>
          </a:xfrm>
          <a:prstGeom prst="rect">
            <a:avLst/>
          </a:prstGeom>
        </p:spPr>
        <p:txBody>
          <a:bodyPr vert="horz" lIns="0" tIns="0" rIns="0" bIns="36000" rtlCol="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800" kern="1200" baseline="0" noProof="0" smtClean="0">
                <a:solidFill>
                  <a:schemeClr val="bg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spcAft>
                <a:spcPts val="0"/>
              </a:spcAft>
              <a:buFont typeface="Arial" pitchFamily="34" charset="0"/>
              <a:buNone/>
              <a:defRPr lang="de-DE" sz="800" kern="1200" baseline="0" noProof="0" smtClean="0">
                <a:solidFill>
                  <a:schemeClr val="bg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9pPr>
          </a:lstStyle>
          <a:p>
            <a:pPr algn="r"/>
            <a:r>
              <a:rPr lang="nl-NL" sz="900" dirty="0">
                <a:solidFill>
                  <a:schemeClr val="tx1"/>
                </a:solidFill>
                <a:latin typeface="+mj-lt"/>
              </a:rPr>
              <a:t>Base: all </a:t>
            </a:r>
            <a:r>
              <a:rPr lang="nl-NL" sz="900" dirty="0" err="1">
                <a:solidFill>
                  <a:schemeClr val="tx1"/>
                </a:solidFill>
                <a:latin typeface="+mj-lt"/>
              </a:rPr>
              <a:t>respondents</a:t>
            </a:r>
            <a:r>
              <a:rPr lang="nl-NL" sz="900" dirty="0">
                <a:solidFill>
                  <a:schemeClr val="tx1"/>
                </a:solidFill>
                <a:latin typeface="+mj-lt"/>
              </a:rPr>
              <a:t>, n=1.026</a:t>
            </a:r>
          </a:p>
        </p:txBody>
      </p:sp>
      <p:grpSp>
        <p:nvGrpSpPr>
          <p:cNvPr id="7" name="Group 6">
            <a:extLst>
              <a:ext uri="{FF2B5EF4-FFF2-40B4-BE49-F238E27FC236}">
                <a16:creationId xmlns:a16="http://schemas.microsoft.com/office/drawing/2014/main" xmlns="" id="{0F450608-DF1D-49F4-8826-C4DA59C0D947}"/>
              </a:ext>
            </a:extLst>
          </p:cNvPr>
          <p:cNvGrpSpPr>
            <a:grpSpLocks noChangeAspect="1"/>
          </p:cNvGrpSpPr>
          <p:nvPr/>
        </p:nvGrpSpPr>
        <p:grpSpPr>
          <a:xfrm>
            <a:off x="6922433" y="1734836"/>
            <a:ext cx="366000" cy="360000"/>
            <a:chOff x="10917963" y="2648037"/>
            <a:chExt cx="215296" cy="211767"/>
          </a:xfrm>
          <a:solidFill>
            <a:schemeClr val="accent6"/>
          </a:solidFill>
        </p:grpSpPr>
        <p:sp>
          <p:nvSpPr>
            <p:cNvPr id="22" name="Freeform 18">
              <a:extLst>
                <a:ext uri="{FF2B5EF4-FFF2-40B4-BE49-F238E27FC236}">
                  <a16:creationId xmlns:a16="http://schemas.microsoft.com/office/drawing/2014/main" xmlns="" id="{34F98711-1074-4294-A4DE-3CAE8B0BEF4E}"/>
                </a:ext>
              </a:extLst>
            </p:cNvPr>
            <p:cNvSpPr>
              <a:spLocks/>
            </p:cNvSpPr>
            <p:nvPr/>
          </p:nvSpPr>
          <p:spPr bwMode="auto">
            <a:xfrm>
              <a:off x="11090895" y="2711584"/>
              <a:ext cx="42364" cy="148220"/>
            </a:xfrm>
            <a:custGeom>
              <a:avLst/>
              <a:gdLst>
                <a:gd name="T0" fmla="*/ 320 w 320"/>
                <a:gd name="T1" fmla="*/ 1120 h 1120"/>
                <a:gd name="T2" fmla="*/ 200 w 320"/>
                <a:gd name="T3" fmla="*/ 1120 h 1120"/>
                <a:gd name="T4" fmla="*/ 0 w 320"/>
                <a:gd name="T5" fmla="*/ 920 h 1120"/>
                <a:gd name="T6" fmla="*/ 0 w 320"/>
                <a:gd name="T7" fmla="*/ 200 h 1120"/>
                <a:gd name="T8" fmla="*/ 200 w 320"/>
                <a:gd name="T9" fmla="*/ 0 h 1120"/>
                <a:gd name="T10" fmla="*/ 320 w 320"/>
                <a:gd name="T11" fmla="*/ 0 h 1120"/>
                <a:gd name="T12" fmla="*/ 320 w 320"/>
                <a:gd name="T13" fmla="*/ 1120 h 1120"/>
              </a:gdLst>
              <a:ahLst/>
              <a:cxnLst>
                <a:cxn ang="0">
                  <a:pos x="T0" y="T1"/>
                </a:cxn>
                <a:cxn ang="0">
                  <a:pos x="T2" y="T3"/>
                </a:cxn>
                <a:cxn ang="0">
                  <a:pos x="T4" y="T5"/>
                </a:cxn>
                <a:cxn ang="0">
                  <a:pos x="T6" y="T7"/>
                </a:cxn>
                <a:cxn ang="0">
                  <a:pos x="T8" y="T9"/>
                </a:cxn>
                <a:cxn ang="0">
                  <a:pos x="T10" y="T11"/>
                </a:cxn>
                <a:cxn ang="0">
                  <a:pos x="T12" y="T13"/>
                </a:cxn>
              </a:cxnLst>
              <a:rect l="0" t="0" r="r" b="b"/>
              <a:pathLst>
                <a:path w="320" h="1120">
                  <a:moveTo>
                    <a:pt x="320" y="1120"/>
                  </a:moveTo>
                  <a:cubicBezTo>
                    <a:pt x="200" y="1120"/>
                    <a:pt x="200" y="1120"/>
                    <a:pt x="200" y="1120"/>
                  </a:cubicBezTo>
                  <a:cubicBezTo>
                    <a:pt x="90" y="1120"/>
                    <a:pt x="0" y="1030"/>
                    <a:pt x="0" y="920"/>
                  </a:cubicBezTo>
                  <a:cubicBezTo>
                    <a:pt x="0" y="200"/>
                    <a:pt x="0" y="200"/>
                    <a:pt x="0" y="200"/>
                  </a:cubicBezTo>
                  <a:cubicBezTo>
                    <a:pt x="0" y="90"/>
                    <a:pt x="90" y="0"/>
                    <a:pt x="200" y="0"/>
                  </a:cubicBezTo>
                  <a:cubicBezTo>
                    <a:pt x="320" y="0"/>
                    <a:pt x="320" y="0"/>
                    <a:pt x="320" y="0"/>
                  </a:cubicBezTo>
                  <a:cubicBezTo>
                    <a:pt x="320" y="278"/>
                    <a:pt x="320" y="1022"/>
                    <a:pt x="320" y="112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23" name="Freeform 19">
              <a:extLst>
                <a:ext uri="{FF2B5EF4-FFF2-40B4-BE49-F238E27FC236}">
                  <a16:creationId xmlns:a16="http://schemas.microsoft.com/office/drawing/2014/main" xmlns="" id="{0800B1A7-F394-48BE-83B6-4FA48B535DC6}"/>
                </a:ext>
              </a:extLst>
            </p:cNvPr>
            <p:cNvSpPr>
              <a:spLocks/>
            </p:cNvSpPr>
            <p:nvPr/>
          </p:nvSpPr>
          <p:spPr bwMode="auto">
            <a:xfrm>
              <a:off x="10917963" y="2648037"/>
              <a:ext cx="162341" cy="211767"/>
            </a:xfrm>
            <a:custGeom>
              <a:avLst/>
              <a:gdLst>
                <a:gd name="T0" fmla="*/ 1226 w 1226"/>
                <a:gd name="T1" fmla="*/ 1440 h 1600"/>
                <a:gd name="T2" fmla="*/ 1100 w 1226"/>
                <a:gd name="T3" fmla="*/ 1440 h 1600"/>
                <a:gd name="T4" fmla="*/ 1018 w 1226"/>
                <a:gd name="T5" fmla="*/ 1452 h 1600"/>
                <a:gd name="T6" fmla="*/ 866 w 1226"/>
                <a:gd name="T7" fmla="*/ 1540 h 1600"/>
                <a:gd name="T8" fmla="*/ 770 w 1226"/>
                <a:gd name="T9" fmla="*/ 1585 h 1600"/>
                <a:gd name="T10" fmla="*/ 666 w 1226"/>
                <a:gd name="T11" fmla="*/ 1600 h 1600"/>
                <a:gd name="T12" fmla="*/ 426 w 1226"/>
                <a:gd name="T13" fmla="*/ 1600 h 1600"/>
                <a:gd name="T14" fmla="*/ 194 w 1226"/>
                <a:gd name="T15" fmla="*/ 1419 h 1600"/>
                <a:gd name="T16" fmla="*/ 20 w 1226"/>
                <a:gd name="T17" fmla="*/ 783 h 1600"/>
                <a:gd name="T18" fmla="*/ 61 w 1226"/>
                <a:gd name="T19" fmla="*/ 574 h 1600"/>
                <a:gd name="T20" fmla="*/ 252 w 1226"/>
                <a:gd name="T21" fmla="*/ 480 h 1600"/>
                <a:gd name="T22" fmla="*/ 484 w 1226"/>
                <a:gd name="T23" fmla="*/ 480 h 1600"/>
                <a:gd name="T24" fmla="*/ 450 w 1226"/>
                <a:gd name="T25" fmla="*/ 407 h 1600"/>
                <a:gd name="T26" fmla="*/ 457 w 1226"/>
                <a:gd name="T27" fmla="*/ 137 h 1600"/>
                <a:gd name="T28" fmla="*/ 706 w 1226"/>
                <a:gd name="T29" fmla="*/ 0 h 1600"/>
                <a:gd name="T30" fmla="*/ 746 w 1226"/>
                <a:gd name="T31" fmla="*/ 40 h 1600"/>
                <a:gd name="T32" fmla="*/ 854 w 1226"/>
                <a:gd name="T33" fmla="*/ 332 h 1600"/>
                <a:gd name="T34" fmla="*/ 1014 w 1226"/>
                <a:gd name="T35" fmla="*/ 492 h 1600"/>
                <a:gd name="T36" fmla="*/ 1070 w 1226"/>
                <a:gd name="T37" fmla="*/ 567 h 1600"/>
                <a:gd name="T38" fmla="*/ 1146 w 1226"/>
                <a:gd name="T39" fmla="*/ 640 h 1600"/>
                <a:gd name="T40" fmla="*/ 1226 w 1226"/>
                <a:gd name="T41" fmla="*/ 640 h 1600"/>
                <a:gd name="T42" fmla="*/ 1226 w 1226"/>
                <a:gd name="T43" fmla="*/ 1440 h 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6" h="1600">
                  <a:moveTo>
                    <a:pt x="1226" y="1440"/>
                  </a:moveTo>
                  <a:cubicBezTo>
                    <a:pt x="1100" y="1440"/>
                    <a:pt x="1100" y="1440"/>
                    <a:pt x="1100" y="1440"/>
                  </a:cubicBezTo>
                  <a:cubicBezTo>
                    <a:pt x="1071" y="1440"/>
                    <a:pt x="1044" y="1444"/>
                    <a:pt x="1018" y="1452"/>
                  </a:cubicBezTo>
                  <a:cubicBezTo>
                    <a:pt x="965" y="1468"/>
                    <a:pt x="912" y="1509"/>
                    <a:pt x="866" y="1540"/>
                  </a:cubicBezTo>
                  <a:cubicBezTo>
                    <a:pt x="836" y="1559"/>
                    <a:pt x="804" y="1575"/>
                    <a:pt x="770" y="1585"/>
                  </a:cubicBezTo>
                  <a:cubicBezTo>
                    <a:pt x="737" y="1595"/>
                    <a:pt x="703" y="1600"/>
                    <a:pt x="666" y="1600"/>
                  </a:cubicBezTo>
                  <a:cubicBezTo>
                    <a:pt x="426" y="1600"/>
                    <a:pt x="426" y="1600"/>
                    <a:pt x="426" y="1600"/>
                  </a:cubicBezTo>
                  <a:cubicBezTo>
                    <a:pt x="315" y="1600"/>
                    <a:pt x="222" y="1526"/>
                    <a:pt x="194" y="1419"/>
                  </a:cubicBezTo>
                  <a:cubicBezTo>
                    <a:pt x="20" y="783"/>
                    <a:pt x="20" y="783"/>
                    <a:pt x="20" y="783"/>
                  </a:cubicBezTo>
                  <a:cubicBezTo>
                    <a:pt x="0" y="709"/>
                    <a:pt x="14" y="636"/>
                    <a:pt x="61" y="574"/>
                  </a:cubicBezTo>
                  <a:cubicBezTo>
                    <a:pt x="108" y="514"/>
                    <a:pt x="175" y="480"/>
                    <a:pt x="252" y="480"/>
                  </a:cubicBezTo>
                  <a:cubicBezTo>
                    <a:pt x="484" y="480"/>
                    <a:pt x="484" y="480"/>
                    <a:pt x="484" y="480"/>
                  </a:cubicBezTo>
                  <a:cubicBezTo>
                    <a:pt x="450" y="407"/>
                    <a:pt x="450" y="407"/>
                    <a:pt x="450" y="407"/>
                  </a:cubicBezTo>
                  <a:cubicBezTo>
                    <a:pt x="412" y="325"/>
                    <a:pt x="415" y="216"/>
                    <a:pt x="457" y="137"/>
                  </a:cubicBezTo>
                  <a:cubicBezTo>
                    <a:pt x="508" y="41"/>
                    <a:pt x="602" y="0"/>
                    <a:pt x="706" y="0"/>
                  </a:cubicBezTo>
                  <a:cubicBezTo>
                    <a:pt x="728" y="0"/>
                    <a:pt x="746" y="18"/>
                    <a:pt x="746" y="40"/>
                  </a:cubicBezTo>
                  <a:cubicBezTo>
                    <a:pt x="746" y="128"/>
                    <a:pt x="791" y="268"/>
                    <a:pt x="854" y="332"/>
                  </a:cubicBezTo>
                  <a:cubicBezTo>
                    <a:pt x="1014" y="492"/>
                    <a:pt x="1014" y="492"/>
                    <a:pt x="1014" y="492"/>
                  </a:cubicBezTo>
                  <a:cubicBezTo>
                    <a:pt x="1036" y="514"/>
                    <a:pt x="1053" y="541"/>
                    <a:pt x="1070" y="567"/>
                  </a:cubicBezTo>
                  <a:cubicBezTo>
                    <a:pt x="1093" y="604"/>
                    <a:pt x="1115" y="640"/>
                    <a:pt x="1146" y="640"/>
                  </a:cubicBezTo>
                  <a:cubicBezTo>
                    <a:pt x="1226" y="640"/>
                    <a:pt x="1226" y="640"/>
                    <a:pt x="1226" y="640"/>
                  </a:cubicBezTo>
                  <a:lnTo>
                    <a:pt x="1226" y="1440"/>
                  </a:ln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b" anchorCtr="0" compatLnSpc="1">
              <a:prstTxWarp prst="textNoShape">
                <a:avLst/>
              </a:prstTxWarp>
            </a:bodyPr>
            <a:lstStyle/>
            <a:p>
              <a:pPr algn="ctr"/>
              <a:endParaRPr lang="en-US" sz="800" dirty="0">
                <a:solidFill>
                  <a:schemeClr val="bg1"/>
                </a:solidFill>
              </a:endParaRPr>
            </a:p>
          </p:txBody>
        </p:sp>
      </p:grpSp>
      <p:grpSp>
        <p:nvGrpSpPr>
          <p:cNvPr id="24" name="Group 23">
            <a:extLst>
              <a:ext uri="{FF2B5EF4-FFF2-40B4-BE49-F238E27FC236}">
                <a16:creationId xmlns:a16="http://schemas.microsoft.com/office/drawing/2014/main" xmlns="" id="{B31F2B02-9900-4898-9B16-8FC07AF12E0B}"/>
              </a:ext>
            </a:extLst>
          </p:cNvPr>
          <p:cNvGrpSpPr>
            <a:grpSpLocks noChangeAspect="1"/>
          </p:cNvGrpSpPr>
          <p:nvPr/>
        </p:nvGrpSpPr>
        <p:grpSpPr>
          <a:xfrm rot="10800000">
            <a:off x="9047491" y="1766604"/>
            <a:ext cx="366000" cy="360000"/>
            <a:chOff x="10917963" y="2648037"/>
            <a:chExt cx="215296" cy="211767"/>
          </a:xfrm>
          <a:solidFill>
            <a:schemeClr val="accent2"/>
          </a:solidFill>
        </p:grpSpPr>
        <p:sp>
          <p:nvSpPr>
            <p:cNvPr id="25" name="Freeform 18">
              <a:extLst>
                <a:ext uri="{FF2B5EF4-FFF2-40B4-BE49-F238E27FC236}">
                  <a16:creationId xmlns:a16="http://schemas.microsoft.com/office/drawing/2014/main" xmlns="" id="{078F4F47-538F-4883-BDBA-6A60DBCC68C1}"/>
                </a:ext>
              </a:extLst>
            </p:cNvPr>
            <p:cNvSpPr>
              <a:spLocks/>
            </p:cNvSpPr>
            <p:nvPr/>
          </p:nvSpPr>
          <p:spPr bwMode="auto">
            <a:xfrm>
              <a:off x="11090895" y="2711584"/>
              <a:ext cx="42364" cy="148220"/>
            </a:xfrm>
            <a:custGeom>
              <a:avLst/>
              <a:gdLst>
                <a:gd name="T0" fmla="*/ 320 w 320"/>
                <a:gd name="T1" fmla="*/ 1120 h 1120"/>
                <a:gd name="T2" fmla="*/ 200 w 320"/>
                <a:gd name="T3" fmla="*/ 1120 h 1120"/>
                <a:gd name="T4" fmla="*/ 0 w 320"/>
                <a:gd name="T5" fmla="*/ 920 h 1120"/>
                <a:gd name="T6" fmla="*/ 0 w 320"/>
                <a:gd name="T7" fmla="*/ 200 h 1120"/>
                <a:gd name="T8" fmla="*/ 200 w 320"/>
                <a:gd name="T9" fmla="*/ 0 h 1120"/>
                <a:gd name="T10" fmla="*/ 320 w 320"/>
                <a:gd name="T11" fmla="*/ 0 h 1120"/>
                <a:gd name="T12" fmla="*/ 320 w 320"/>
                <a:gd name="T13" fmla="*/ 1120 h 1120"/>
              </a:gdLst>
              <a:ahLst/>
              <a:cxnLst>
                <a:cxn ang="0">
                  <a:pos x="T0" y="T1"/>
                </a:cxn>
                <a:cxn ang="0">
                  <a:pos x="T2" y="T3"/>
                </a:cxn>
                <a:cxn ang="0">
                  <a:pos x="T4" y="T5"/>
                </a:cxn>
                <a:cxn ang="0">
                  <a:pos x="T6" y="T7"/>
                </a:cxn>
                <a:cxn ang="0">
                  <a:pos x="T8" y="T9"/>
                </a:cxn>
                <a:cxn ang="0">
                  <a:pos x="T10" y="T11"/>
                </a:cxn>
                <a:cxn ang="0">
                  <a:pos x="T12" y="T13"/>
                </a:cxn>
              </a:cxnLst>
              <a:rect l="0" t="0" r="r" b="b"/>
              <a:pathLst>
                <a:path w="320" h="1120">
                  <a:moveTo>
                    <a:pt x="320" y="1120"/>
                  </a:moveTo>
                  <a:cubicBezTo>
                    <a:pt x="200" y="1120"/>
                    <a:pt x="200" y="1120"/>
                    <a:pt x="200" y="1120"/>
                  </a:cubicBezTo>
                  <a:cubicBezTo>
                    <a:pt x="90" y="1120"/>
                    <a:pt x="0" y="1030"/>
                    <a:pt x="0" y="920"/>
                  </a:cubicBezTo>
                  <a:cubicBezTo>
                    <a:pt x="0" y="200"/>
                    <a:pt x="0" y="200"/>
                    <a:pt x="0" y="200"/>
                  </a:cubicBezTo>
                  <a:cubicBezTo>
                    <a:pt x="0" y="90"/>
                    <a:pt x="90" y="0"/>
                    <a:pt x="200" y="0"/>
                  </a:cubicBezTo>
                  <a:cubicBezTo>
                    <a:pt x="320" y="0"/>
                    <a:pt x="320" y="0"/>
                    <a:pt x="320" y="0"/>
                  </a:cubicBezTo>
                  <a:cubicBezTo>
                    <a:pt x="320" y="278"/>
                    <a:pt x="320" y="1022"/>
                    <a:pt x="320" y="1120"/>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a:p>
          </p:txBody>
        </p:sp>
        <p:sp>
          <p:nvSpPr>
            <p:cNvPr id="26" name="Freeform 19">
              <a:extLst>
                <a:ext uri="{FF2B5EF4-FFF2-40B4-BE49-F238E27FC236}">
                  <a16:creationId xmlns:a16="http://schemas.microsoft.com/office/drawing/2014/main" xmlns="" id="{6742EDF2-4EB0-479E-B89B-90393D2EEE62}"/>
                </a:ext>
              </a:extLst>
            </p:cNvPr>
            <p:cNvSpPr>
              <a:spLocks/>
            </p:cNvSpPr>
            <p:nvPr/>
          </p:nvSpPr>
          <p:spPr bwMode="auto">
            <a:xfrm>
              <a:off x="10917963" y="2648037"/>
              <a:ext cx="162341" cy="211767"/>
            </a:xfrm>
            <a:custGeom>
              <a:avLst/>
              <a:gdLst>
                <a:gd name="T0" fmla="*/ 1226 w 1226"/>
                <a:gd name="T1" fmla="*/ 1440 h 1600"/>
                <a:gd name="T2" fmla="*/ 1100 w 1226"/>
                <a:gd name="T3" fmla="*/ 1440 h 1600"/>
                <a:gd name="T4" fmla="*/ 1018 w 1226"/>
                <a:gd name="T5" fmla="*/ 1452 h 1600"/>
                <a:gd name="T6" fmla="*/ 866 w 1226"/>
                <a:gd name="T7" fmla="*/ 1540 h 1600"/>
                <a:gd name="T8" fmla="*/ 770 w 1226"/>
                <a:gd name="T9" fmla="*/ 1585 h 1600"/>
                <a:gd name="T10" fmla="*/ 666 w 1226"/>
                <a:gd name="T11" fmla="*/ 1600 h 1600"/>
                <a:gd name="T12" fmla="*/ 426 w 1226"/>
                <a:gd name="T13" fmla="*/ 1600 h 1600"/>
                <a:gd name="T14" fmla="*/ 194 w 1226"/>
                <a:gd name="T15" fmla="*/ 1419 h 1600"/>
                <a:gd name="T16" fmla="*/ 20 w 1226"/>
                <a:gd name="T17" fmla="*/ 783 h 1600"/>
                <a:gd name="T18" fmla="*/ 61 w 1226"/>
                <a:gd name="T19" fmla="*/ 574 h 1600"/>
                <a:gd name="T20" fmla="*/ 252 w 1226"/>
                <a:gd name="T21" fmla="*/ 480 h 1600"/>
                <a:gd name="T22" fmla="*/ 484 w 1226"/>
                <a:gd name="T23" fmla="*/ 480 h 1600"/>
                <a:gd name="T24" fmla="*/ 450 w 1226"/>
                <a:gd name="T25" fmla="*/ 407 h 1600"/>
                <a:gd name="T26" fmla="*/ 457 w 1226"/>
                <a:gd name="T27" fmla="*/ 137 h 1600"/>
                <a:gd name="T28" fmla="*/ 706 w 1226"/>
                <a:gd name="T29" fmla="*/ 0 h 1600"/>
                <a:gd name="T30" fmla="*/ 746 w 1226"/>
                <a:gd name="T31" fmla="*/ 40 h 1600"/>
                <a:gd name="T32" fmla="*/ 854 w 1226"/>
                <a:gd name="T33" fmla="*/ 332 h 1600"/>
                <a:gd name="T34" fmla="*/ 1014 w 1226"/>
                <a:gd name="T35" fmla="*/ 492 h 1600"/>
                <a:gd name="T36" fmla="*/ 1070 w 1226"/>
                <a:gd name="T37" fmla="*/ 567 h 1600"/>
                <a:gd name="T38" fmla="*/ 1146 w 1226"/>
                <a:gd name="T39" fmla="*/ 640 h 1600"/>
                <a:gd name="T40" fmla="*/ 1226 w 1226"/>
                <a:gd name="T41" fmla="*/ 640 h 1600"/>
                <a:gd name="T42" fmla="*/ 1226 w 1226"/>
                <a:gd name="T43" fmla="*/ 1440 h 1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6" h="1600">
                  <a:moveTo>
                    <a:pt x="1226" y="1440"/>
                  </a:moveTo>
                  <a:cubicBezTo>
                    <a:pt x="1100" y="1440"/>
                    <a:pt x="1100" y="1440"/>
                    <a:pt x="1100" y="1440"/>
                  </a:cubicBezTo>
                  <a:cubicBezTo>
                    <a:pt x="1071" y="1440"/>
                    <a:pt x="1044" y="1444"/>
                    <a:pt x="1018" y="1452"/>
                  </a:cubicBezTo>
                  <a:cubicBezTo>
                    <a:pt x="965" y="1468"/>
                    <a:pt x="912" y="1509"/>
                    <a:pt x="866" y="1540"/>
                  </a:cubicBezTo>
                  <a:cubicBezTo>
                    <a:pt x="836" y="1559"/>
                    <a:pt x="804" y="1575"/>
                    <a:pt x="770" y="1585"/>
                  </a:cubicBezTo>
                  <a:cubicBezTo>
                    <a:pt x="737" y="1595"/>
                    <a:pt x="703" y="1600"/>
                    <a:pt x="666" y="1600"/>
                  </a:cubicBezTo>
                  <a:cubicBezTo>
                    <a:pt x="426" y="1600"/>
                    <a:pt x="426" y="1600"/>
                    <a:pt x="426" y="1600"/>
                  </a:cubicBezTo>
                  <a:cubicBezTo>
                    <a:pt x="315" y="1600"/>
                    <a:pt x="222" y="1526"/>
                    <a:pt x="194" y="1419"/>
                  </a:cubicBezTo>
                  <a:cubicBezTo>
                    <a:pt x="20" y="783"/>
                    <a:pt x="20" y="783"/>
                    <a:pt x="20" y="783"/>
                  </a:cubicBezTo>
                  <a:cubicBezTo>
                    <a:pt x="0" y="709"/>
                    <a:pt x="14" y="636"/>
                    <a:pt x="61" y="574"/>
                  </a:cubicBezTo>
                  <a:cubicBezTo>
                    <a:pt x="108" y="514"/>
                    <a:pt x="175" y="480"/>
                    <a:pt x="252" y="480"/>
                  </a:cubicBezTo>
                  <a:cubicBezTo>
                    <a:pt x="484" y="480"/>
                    <a:pt x="484" y="480"/>
                    <a:pt x="484" y="480"/>
                  </a:cubicBezTo>
                  <a:cubicBezTo>
                    <a:pt x="450" y="407"/>
                    <a:pt x="450" y="407"/>
                    <a:pt x="450" y="407"/>
                  </a:cubicBezTo>
                  <a:cubicBezTo>
                    <a:pt x="412" y="325"/>
                    <a:pt x="415" y="216"/>
                    <a:pt x="457" y="137"/>
                  </a:cubicBezTo>
                  <a:cubicBezTo>
                    <a:pt x="508" y="41"/>
                    <a:pt x="602" y="0"/>
                    <a:pt x="706" y="0"/>
                  </a:cubicBezTo>
                  <a:cubicBezTo>
                    <a:pt x="728" y="0"/>
                    <a:pt x="746" y="18"/>
                    <a:pt x="746" y="40"/>
                  </a:cubicBezTo>
                  <a:cubicBezTo>
                    <a:pt x="746" y="128"/>
                    <a:pt x="791" y="268"/>
                    <a:pt x="854" y="332"/>
                  </a:cubicBezTo>
                  <a:cubicBezTo>
                    <a:pt x="1014" y="492"/>
                    <a:pt x="1014" y="492"/>
                    <a:pt x="1014" y="492"/>
                  </a:cubicBezTo>
                  <a:cubicBezTo>
                    <a:pt x="1036" y="514"/>
                    <a:pt x="1053" y="541"/>
                    <a:pt x="1070" y="567"/>
                  </a:cubicBezTo>
                  <a:cubicBezTo>
                    <a:pt x="1093" y="604"/>
                    <a:pt x="1115" y="640"/>
                    <a:pt x="1146" y="640"/>
                  </a:cubicBezTo>
                  <a:cubicBezTo>
                    <a:pt x="1226" y="640"/>
                    <a:pt x="1226" y="640"/>
                    <a:pt x="1226" y="640"/>
                  </a:cubicBezTo>
                  <a:lnTo>
                    <a:pt x="1226" y="1440"/>
                  </a:ln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b" anchorCtr="0" compatLnSpc="1">
              <a:prstTxWarp prst="textNoShape">
                <a:avLst/>
              </a:prstTxWarp>
            </a:bodyPr>
            <a:lstStyle/>
            <a:p>
              <a:pPr algn="ctr"/>
              <a:endParaRPr lang="en-US" sz="800" dirty="0">
                <a:solidFill>
                  <a:schemeClr val="bg1"/>
                </a:solidFill>
              </a:endParaRPr>
            </a:p>
          </p:txBody>
        </p:sp>
      </p:grpSp>
      <p:grpSp>
        <p:nvGrpSpPr>
          <p:cNvPr id="18" name="Group 17">
            <a:extLst>
              <a:ext uri="{FF2B5EF4-FFF2-40B4-BE49-F238E27FC236}">
                <a16:creationId xmlns:a16="http://schemas.microsoft.com/office/drawing/2014/main" xmlns="" id="{69FC5BCD-A494-4A27-B48F-1108BABAEC0D}"/>
              </a:ext>
            </a:extLst>
          </p:cNvPr>
          <p:cNvGrpSpPr/>
          <p:nvPr/>
        </p:nvGrpSpPr>
        <p:grpSpPr>
          <a:xfrm>
            <a:off x="769397" y="2132175"/>
            <a:ext cx="10600058" cy="4405515"/>
            <a:chOff x="769397" y="2132175"/>
            <a:chExt cx="10600058" cy="4405515"/>
          </a:xfrm>
        </p:grpSpPr>
        <p:grpSp>
          <p:nvGrpSpPr>
            <p:cNvPr id="34" name="Group 22">
              <a:extLst>
                <a:ext uri="{FF2B5EF4-FFF2-40B4-BE49-F238E27FC236}">
                  <a16:creationId xmlns:a16="http://schemas.microsoft.com/office/drawing/2014/main" xmlns="" id="{89ADD990-3CDE-4B8C-837E-414253647F3F}"/>
                </a:ext>
              </a:extLst>
            </p:cNvPr>
            <p:cNvGrpSpPr>
              <a:grpSpLocks noChangeAspect="1"/>
            </p:cNvGrpSpPr>
            <p:nvPr>
              <p:custDataLst>
                <p:tags r:id="rId6"/>
              </p:custDataLst>
            </p:nvPr>
          </p:nvGrpSpPr>
          <p:grpSpPr bwMode="auto">
            <a:xfrm>
              <a:off x="9885611" y="5658011"/>
              <a:ext cx="361359" cy="361500"/>
              <a:chOff x="331" y="-931"/>
              <a:chExt cx="5102" cy="5104"/>
            </a:xfrm>
            <a:solidFill>
              <a:schemeClr val="accent1">
                <a:lumMod val="60000"/>
                <a:lumOff val="40000"/>
              </a:schemeClr>
            </a:solidFill>
          </p:grpSpPr>
          <p:sp>
            <p:nvSpPr>
              <p:cNvPr id="35" name="Freeform 23">
                <a:extLst>
                  <a:ext uri="{FF2B5EF4-FFF2-40B4-BE49-F238E27FC236}">
                    <a16:creationId xmlns:a16="http://schemas.microsoft.com/office/drawing/2014/main" xmlns="" id="{91480737-03A6-4DB5-834B-8DBC264D7B1F}"/>
                  </a:ext>
                </a:extLst>
              </p:cNvPr>
              <p:cNvSpPr>
                <a:spLocks/>
              </p:cNvSpPr>
              <p:nvPr/>
            </p:nvSpPr>
            <p:spPr bwMode="auto">
              <a:xfrm>
                <a:off x="2585" y="-931"/>
                <a:ext cx="2848" cy="4349"/>
              </a:xfrm>
              <a:custGeom>
                <a:avLst/>
                <a:gdLst>
                  <a:gd name="T0" fmla="*/ 19 w 1206"/>
                  <a:gd name="T1" fmla="*/ 558 h 1841"/>
                  <a:gd name="T2" fmla="*/ 6 w 1206"/>
                  <a:gd name="T3" fmla="*/ 348 h 1841"/>
                  <a:gd name="T4" fmla="*/ 10 w 1206"/>
                  <a:gd name="T5" fmla="*/ 286 h 1841"/>
                  <a:gd name="T6" fmla="*/ 141 w 1206"/>
                  <a:gd name="T7" fmla="*/ 78 h 1841"/>
                  <a:gd name="T8" fmla="*/ 376 w 1206"/>
                  <a:gd name="T9" fmla="*/ 2 h 1841"/>
                  <a:gd name="T10" fmla="*/ 566 w 1206"/>
                  <a:gd name="T11" fmla="*/ 49 h 1841"/>
                  <a:gd name="T12" fmla="*/ 661 w 1206"/>
                  <a:gd name="T13" fmla="*/ 37 h 1841"/>
                  <a:gd name="T14" fmla="*/ 898 w 1206"/>
                  <a:gd name="T15" fmla="*/ 212 h 1841"/>
                  <a:gd name="T16" fmla="*/ 926 w 1206"/>
                  <a:gd name="T17" fmla="*/ 346 h 1841"/>
                  <a:gd name="T18" fmla="*/ 912 w 1206"/>
                  <a:gd name="T19" fmla="*/ 558 h 1841"/>
                  <a:gd name="T20" fmla="*/ 837 w 1206"/>
                  <a:gd name="T21" fmla="*/ 772 h 1841"/>
                  <a:gd name="T22" fmla="*/ 716 w 1206"/>
                  <a:gd name="T23" fmla="*/ 1010 h 1841"/>
                  <a:gd name="T24" fmla="*/ 726 w 1206"/>
                  <a:gd name="T25" fmla="*/ 1102 h 1841"/>
                  <a:gd name="T26" fmla="*/ 766 w 1206"/>
                  <a:gd name="T27" fmla="*/ 1170 h 1841"/>
                  <a:gd name="T28" fmla="*/ 874 w 1206"/>
                  <a:gd name="T29" fmla="*/ 1216 h 1841"/>
                  <a:gd name="T30" fmla="*/ 1083 w 1206"/>
                  <a:gd name="T31" fmla="*/ 1313 h 1841"/>
                  <a:gd name="T32" fmla="*/ 1173 w 1206"/>
                  <a:gd name="T33" fmla="*/ 1450 h 1841"/>
                  <a:gd name="T34" fmla="*/ 1206 w 1206"/>
                  <a:gd name="T35" fmla="*/ 1619 h 1841"/>
                  <a:gd name="T36" fmla="*/ 990 w 1206"/>
                  <a:gd name="T37" fmla="*/ 1786 h 1841"/>
                  <a:gd name="T38" fmla="*/ 466 w 1206"/>
                  <a:gd name="T39" fmla="*/ 1841 h 1841"/>
                  <a:gd name="T40" fmla="*/ 86 w 1206"/>
                  <a:gd name="T41" fmla="*/ 1814 h 1841"/>
                  <a:gd name="T42" fmla="*/ 86 w 1206"/>
                  <a:gd name="T43" fmla="*/ 1208 h 1841"/>
                  <a:gd name="T44" fmla="*/ 205 w 1206"/>
                  <a:gd name="T45" fmla="*/ 1102 h 1841"/>
                  <a:gd name="T46" fmla="*/ 216 w 1206"/>
                  <a:gd name="T47" fmla="*/ 1010 h 1841"/>
                  <a:gd name="T48" fmla="*/ 94 w 1206"/>
                  <a:gd name="T49" fmla="*/ 772 h 1841"/>
                  <a:gd name="T50" fmla="*/ 19 w 1206"/>
                  <a:gd name="T51" fmla="*/ 558 h 1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6" h="1841">
                    <a:moveTo>
                      <a:pt x="19" y="558"/>
                    </a:moveTo>
                    <a:cubicBezTo>
                      <a:pt x="15" y="490"/>
                      <a:pt x="6" y="415"/>
                      <a:pt x="6" y="348"/>
                    </a:cubicBezTo>
                    <a:cubicBezTo>
                      <a:pt x="5" y="326"/>
                      <a:pt x="6" y="306"/>
                      <a:pt x="10" y="286"/>
                    </a:cubicBezTo>
                    <a:cubicBezTo>
                      <a:pt x="24" y="197"/>
                      <a:pt x="74" y="126"/>
                      <a:pt x="141" y="78"/>
                    </a:cubicBezTo>
                    <a:cubicBezTo>
                      <a:pt x="207" y="30"/>
                      <a:pt x="291" y="3"/>
                      <a:pt x="376" y="2"/>
                    </a:cubicBezTo>
                    <a:cubicBezTo>
                      <a:pt x="447" y="0"/>
                      <a:pt x="505" y="12"/>
                      <a:pt x="566" y="49"/>
                    </a:cubicBezTo>
                    <a:cubicBezTo>
                      <a:pt x="597" y="37"/>
                      <a:pt x="629" y="34"/>
                      <a:pt x="661" y="37"/>
                    </a:cubicBezTo>
                    <a:cubicBezTo>
                      <a:pt x="762" y="46"/>
                      <a:pt x="854" y="122"/>
                      <a:pt x="898" y="212"/>
                    </a:cubicBezTo>
                    <a:cubicBezTo>
                      <a:pt x="919" y="254"/>
                      <a:pt x="930" y="301"/>
                      <a:pt x="926" y="346"/>
                    </a:cubicBezTo>
                    <a:cubicBezTo>
                      <a:pt x="912" y="558"/>
                      <a:pt x="912" y="558"/>
                      <a:pt x="912" y="558"/>
                    </a:cubicBezTo>
                    <a:cubicBezTo>
                      <a:pt x="932" y="636"/>
                      <a:pt x="906" y="727"/>
                      <a:pt x="837" y="772"/>
                    </a:cubicBezTo>
                    <a:cubicBezTo>
                      <a:pt x="814" y="849"/>
                      <a:pt x="770" y="949"/>
                      <a:pt x="716" y="1010"/>
                    </a:cubicBezTo>
                    <a:cubicBezTo>
                      <a:pt x="717" y="1038"/>
                      <a:pt x="719" y="1072"/>
                      <a:pt x="726" y="1102"/>
                    </a:cubicBezTo>
                    <a:cubicBezTo>
                      <a:pt x="733" y="1132"/>
                      <a:pt x="745" y="1159"/>
                      <a:pt x="766" y="1170"/>
                    </a:cubicBezTo>
                    <a:cubicBezTo>
                      <a:pt x="802" y="1194"/>
                      <a:pt x="833" y="1204"/>
                      <a:pt x="874" y="1216"/>
                    </a:cubicBezTo>
                    <a:cubicBezTo>
                      <a:pt x="940" y="1236"/>
                      <a:pt x="1037" y="1268"/>
                      <a:pt x="1083" y="1313"/>
                    </a:cubicBezTo>
                    <a:cubicBezTo>
                      <a:pt x="1122" y="1351"/>
                      <a:pt x="1152" y="1399"/>
                      <a:pt x="1173" y="1450"/>
                    </a:cubicBezTo>
                    <a:cubicBezTo>
                      <a:pt x="1194" y="1505"/>
                      <a:pt x="1206" y="1563"/>
                      <a:pt x="1206" y="1619"/>
                    </a:cubicBezTo>
                    <a:cubicBezTo>
                      <a:pt x="1206" y="1700"/>
                      <a:pt x="1115" y="1753"/>
                      <a:pt x="990" y="1786"/>
                    </a:cubicBezTo>
                    <a:cubicBezTo>
                      <a:pt x="827" y="1828"/>
                      <a:pt x="600" y="1841"/>
                      <a:pt x="466" y="1841"/>
                    </a:cubicBezTo>
                    <a:cubicBezTo>
                      <a:pt x="368" y="1841"/>
                      <a:pt x="221" y="1834"/>
                      <a:pt x="86" y="1814"/>
                    </a:cubicBezTo>
                    <a:cubicBezTo>
                      <a:pt x="86" y="1208"/>
                      <a:pt x="86" y="1208"/>
                      <a:pt x="86" y="1208"/>
                    </a:cubicBezTo>
                    <a:cubicBezTo>
                      <a:pt x="150" y="1187"/>
                      <a:pt x="188" y="1171"/>
                      <a:pt x="205" y="1102"/>
                    </a:cubicBezTo>
                    <a:cubicBezTo>
                      <a:pt x="212" y="1072"/>
                      <a:pt x="215" y="1038"/>
                      <a:pt x="216" y="1010"/>
                    </a:cubicBezTo>
                    <a:cubicBezTo>
                      <a:pt x="162" y="950"/>
                      <a:pt x="118" y="849"/>
                      <a:pt x="94" y="772"/>
                    </a:cubicBezTo>
                    <a:cubicBezTo>
                      <a:pt x="26" y="727"/>
                      <a:pt x="0" y="636"/>
                      <a:pt x="19" y="558"/>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p>
            </p:txBody>
          </p:sp>
          <p:sp>
            <p:nvSpPr>
              <p:cNvPr id="36" name="Freeform 24">
                <a:extLst>
                  <a:ext uri="{FF2B5EF4-FFF2-40B4-BE49-F238E27FC236}">
                    <a16:creationId xmlns:a16="http://schemas.microsoft.com/office/drawing/2014/main" xmlns="" id="{FE5902A0-7D46-4934-9D24-F19B25C5B3B8}"/>
                  </a:ext>
                </a:extLst>
              </p:cNvPr>
              <p:cNvSpPr>
                <a:spLocks noEditPoints="1"/>
              </p:cNvSpPr>
              <p:nvPr/>
            </p:nvSpPr>
            <p:spPr bwMode="auto">
              <a:xfrm>
                <a:off x="331" y="772"/>
                <a:ext cx="2268" cy="3401"/>
              </a:xfrm>
              <a:custGeom>
                <a:avLst/>
                <a:gdLst>
                  <a:gd name="T0" fmla="*/ 141 w 960"/>
                  <a:gd name="T1" fmla="*/ 0 h 1440"/>
                  <a:gd name="T2" fmla="*/ 818 w 960"/>
                  <a:gd name="T3" fmla="*/ 0 h 1440"/>
                  <a:gd name="T4" fmla="*/ 960 w 960"/>
                  <a:gd name="T5" fmla="*/ 142 h 1440"/>
                  <a:gd name="T6" fmla="*/ 960 w 960"/>
                  <a:gd name="T7" fmla="*/ 1299 h 1440"/>
                  <a:gd name="T8" fmla="*/ 818 w 960"/>
                  <a:gd name="T9" fmla="*/ 1440 h 1440"/>
                  <a:gd name="T10" fmla="*/ 141 w 960"/>
                  <a:gd name="T11" fmla="*/ 1440 h 1440"/>
                  <a:gd name="T12" fmla="*/ 0 w 960"/>
                  <a:gd name="T13" fmla="*/ 1299 h 1440"/>
                  <a:gd name="T14" fmla="*/ 0 w 960"/>
                  <a:gd name="T15" fmla="*/ 142 h 1440"/>
                  <a:gd name="T16" fmla="*/ 141 w 960"/>
                  <a:gd name="T17" fmla="*/ 0 h 1440"/>
                  <a:gd name="T18" fmla="*/ 400 w 960"/>
                  <a:gd name="T19" fmla="*/ 200 h 1440"/>
                  <a:gd name="T20" fmla="*/ 560 w 960"/>
                  <a:gd name="T21" fmla="*/ 200 h 1440"/>
                  <a:gd name="T22" fmla="*/ 600 w 960"/>
                  <a:gd name="T23" fmla="*/ 160 h 1440"/>
                  <a:gd name="T24" fmla="*/ 560 w 960"/>
                  <a:gd name="T25" fmla="*/ 120 h 1440"/>
                  <a:gd name="T26" fmla="*/ 400 w 960"/>
                  <a:gd name="T27" fmla="*/ 120 h 1440"/>
                  <a:gd name="T28" fmla="*/ 360 w 960"/>
                  <a:gd name="T29" fmla="*/ 160 h 1440"/>
                  <a:gd name="T30" fmla="*/ 400 w 960"/>
                  <a:gd name="T31" fmla="*/ 200 h 1440"/>
                  <a:gd name="T32" fmla="*/ 480 w 960"/>
                  <a:gd name="T33" fmla="*/ 1160 h 1440"/>
                  <a:gd name="T34" fmla="*/ 400 w 960"/>
                  <a:gd name="T35" fmla="*/ 1240 h 1440"/>
                  <a:gd name="T36" fmla="*/ 480 w 960"/>
                  <a:gd name="T37" fmla="*/ 1320 h 1440"/>
                  <a:gd name="T38" fmla="*/ 560 w 960"/>
                  <a:gd name="T39" fmla="*/ 1240 h 1440"/>
                  <a:gd name="T40" fmla="*/ 480 w 960"/>
                  <a:gd name="T41" fmla="*/ 1160 h 1440"/>
                  <a:gd name="T42" fmla="*/ 800 w 960"/>
                  <a:gd name="T43" fmla="*/ 240 h 1440"/>
                  <a:gd name="T44" fmla="*/ 160 w 960"/>
                  <a:gd name="T45" fmla="*/ 240 h 1440"/>
                  <a:gd name="T46" fmla="*/ 160 w 960"/>
                  <a:gd name="T47" fmla="*/ 1120 h 1440"/>
                  <a:gd name="T48" fmla="*/ 800 w 960"/>
                  <a:gd name="T49" fmla="*/ 1120 h 1440"/>
                  <a:gd name="T50" fmla="*/ 800 w 960"/>
                  <a:gd name="T51" fmla="*/ 240 h 1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60" h="1440">
                    <a:moveTo>
                      <a:pt x="141" y="0"/>
                    </a:moveTo>
                    <a:cubicBezTo>
                      <a:pt x="818" y="0"/>
                      <a:pt x="818" y="0"/>
                      <a:pt x="818" y="0"/>
                    </a:cubicBezTo>
                    <a:cubicBezTo>
                      <a:pt x="896" y="0"/>
                      <a:pt x="960" y="64"/>
                      <a:pt x="960" y="142"/>
                    </a:cubicBezTo>
                    <a:cubicBezTo>
                      <a:pt x="960" y="1299"/>
                      <a:pt x="960" y="1299"/>
                      <a:pt x="960" y="1299"/>
                    </a:cubicBezTo>
                    <a:cubicBezTo>
                      <a:pt x="960" y="1376"/>
                      <a:pt x="896" y="1440"/>
                      <a:pt x="818" y="1440"/>
                    </a:cubicBezTo>
                    <a:cubicBezTo>
                      <a:pt x="141" y="1440"/>
                      <a:pt x="141" y="1440"/>
                      <a:pt x="141" y="1440"/>
                    </a:cubicBezTo>
                    <a:cubicBezTo>
                      <a:pt x="64" y="1440"/>
                      <a:pt x="0" y="1376"/>
                      <a:pt x="0" y="1299"/>
                    </a:cubicBezTo>
                    <a:cubicBezTo>
                      <a:pt x="0" y="142"/>
                      <a:pt x="0" y="142"/>
                      <a:pt x="0" y="142"/>
                    </a:cubicBezTo>
                    <a:cubicBezTo>
                      <a:pt x="0" y="64"/>
                      <a:pt x="63" y="0"/>
                      <a:pt x="141" y="0"/>
                    </a:cubicBezTo>
                    <a:close/>
                    <a:moveTo>
                      <a:pt x="400" y="200"/>
                    </a:moveTo>
                    <a:cubicBezTo>
                      <a:pt x="560" y="200"/>
                      <a:pt x="560" y="200"/>
                      <a:pt x="560" y="200"/>
                    </a:cubicBezTo>
                    <a:cubicBezTo>
                      <a:pt x="582" y="200"/>
                      <a:pt x="600" y="182"/>
                      <a:pt x="600" y="160"/>
                    </a:cubicBezTo>
                    <a:cubicBezTo>
                      <a:pt x="600" y="138"/>
                      <a:pt x="582" y="120"/>
                      <a:pt x="560" y="120"/>
                    </a:cubicBezTo>
                    <a:cubicBezTo>
                      <a:pt x="400" y="120"/>
                      <a:pt x="400" y="120"/>
                      <a:pt x="400" y="120"/>
                    </a:cubicBezTo>
                    <a:cubicBezTo>
                      <a:pt x="378" y="120"/>
                      <a:pt x="360" y="138"/>
                      <a:pt x="360" y="160"/>
                    </a:cubicBezTo>
                    <a:cubicBezTo>
                      <a:pt x="360" y="182"/>
                      <a:pt x="378" y="200"/>
                      <a:pt x="400" y="200"/>
                    </a:cubicBezTo>
                    <a:close/>
                    <a:moveTo>
                      <a:pt x="480" y="1160"/>
                    </a:moveTo>
                    <a:cubicBezTo>
                      <a:pt x="436" y="1160"/>
                      <a:pt x="400" y="1196"/>
                      <a:pt x="400" y="1240"/>
                    </a:cubicBezTo>
                    <a:cubicBezTo>
                      <a:pt x="400" y="1284"/>
                      <a:pt x="436" y="1320"/>
                      <a:pt x="480" y="1320"/>
                    </a:cubicBezTo>
                    <a:cubicBezTo>
                      <a:pt x="524" y="1320"/>
                      <a:pt x="560" y="1284"/>
                      <a:pt x="560" y="1240"/>
                    </a:cubicBezTo>
                    <a:cubicBezTo>
                      <a:pt x="560" y="1196"/>
                      <a:pt x="524" y="1160"/>
                      <a:pt x="480" y="1160"/>
                    </a:cubicBezTo>
                    <a:close/>
                    <a:moveTo>
                      <a:pt x="800" y="240"/>
                    </a:moveTo>
                    <a:cubicBezTo>
                      <a:pt x="160" y="240"/>
                      <a:pt x="160" y="240"/>
                      <a:pt x="160" y="240"/>
                    </a:cubicBezTo>
                    <a:cubicBezTo>
                      <a:pt x="160" y="1120"/>
                      <a:pt x="160" y="1120"/>
                      <a:pt x="160" y="1120"/>
                    </a:cubicBezTo>
                    <a:cubicBezTo>
                      <a:pt x="800" y="1120"/>
                      <a:pt x="800" y="1120"/>
                      <a:pt x="800" y="1120"/>
                    </a:cubicBezTo>
                    <a:lnTo>
                      <a:pt x="800" y="240"/>
                    </a:ln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p>
            </p:txBody>
          </p:sp>
        </p:grpSp>
        <p:grpSp>
          <p:nvGrpSpPr>
            <p:cNvPr id="11" name="Group 10">
              <a:extLst>
                <a:ext uri="{FF2B5EF4-FFF2-40B4-BE49-F238E27FC236}">
                  <a16:creationId xmlns:a16="http://schemas.microsoft.com/office/drawing/2014/main" xmlns="" id="{34A97DB0-B937-4E44-B512-7AECCA254F22}"/>
                </a:ext>
              </a:extLst>
            </p:cNvPr>
            <p:cNvGrpSpPr/>
            <p:nvPr/>
          </p:nvGrpSpPr>
          <p:grpSpPr>
            <a:xfrm>
              <a:off x="9850566" y="5228227"/>
              <a:ext cx="389378" cy="335288"/>
              <a:chOff x="1404950" y="5025419"/>
              <a:chExt cx="608898" cy="544175"/>
            </a:xfrm>
            <a:solidFill>
              <a:schemeClr val="accent1">
                <a:lumMod val="60000"/>
                <a:lumOff val="40000"/>
              </a:schemeClr>
            </a:solidFill>
          </p:grpSpPr>
          <p:sp>
            <p:nvSpPr>
              <p:cNvPr id="38" name="Freeform 23">
                <a:extLst>
                  <a:ext uri="{FF2B5EF4-FFF2-40B4-BE49-F238E27FC236}">
                    <a16:creationId xmlns:a16="http://schemas.microsoft.com/office/drawing/2014/main" xmlns="" id="{55A13CC4-128B-44D1-AAA0-B51A102FDAE1}"/>
                  </a:ext>
                </a:extLst>
              </p:cNvPr>
              <p:cNvSpPr>
                <a:spLocks/>
              </p:cNvSpPr>
              <p:nvPr/>
            </p:nvSpPr>
            <p:spPr bwMode="auto">
              <a:xfrm>
                <a:off x="1752605" y="5025419"/>
                <a:ext cx="261243" cy="398928"/>
              </a:xfrm>
              <a:custGeom>
                <a:avLst/>
                <a:gdLst>
                  <a:gd name="T0" fmla="*/ 19 w 1206"/>
                  <a:gd name="T1" fmla="*/ 558 h 1841"/>
                  <a:gd name="T2" fmla="*/ 6 w 1206"/>
                  <a:gd name="T3" fmla="*/ 348 h 1841"/>
                  <a:gd name="T4" fmla="*/ 10 w 1206"/>
                  <a:gd name="T5" fmla="*/ 286 h 1841"/>
                  <a:gd name="T6" fmla="*/ 141 w 1206"/>
                  <a:gd name="T7" fmla="*/ 78 h 1841"/>
                  <a:gd name="T8" fmla="*/ 376 w 1206"/>
                  <a:gd name="T9" fmla="*/ 2 h 1841"/>
                  <a:gd name="T10" fmla="*/ 566 w 1206"/>
                  <a:gd name="T11" fmla="*/ 49 h 1841"/>
                  <a:gd name="T12" fmla="*/ 661 w 1206"/>
                  <a:gd name="T13" fmla="*/ 37 h 1841"/>
                  <a:gd name="T14" fmla="*/ 898 w 1206"/>
                  <a:gd name="T15" fmla="*/ 212 h 1841"/>
                  <a:gd name="T16" fmla="*/ 926 w 1206"/>
                  <a:gd name="T17" fmla="*/ 346 h 1841"/>
                  <a:gd name="T18" fmla="*/ 912 w 1206"/>
                  <a:gd name="T19" fmla="*/ 558 h 1841"/>
                  <a:gd name="T20" fmla="*/ 837 w 1206"/>
                  <a:gd name="T21" fmla="*/ 772 h 1841"/>
                  <a:gd name="T22" fmla="*/ 716 w 1206"/>
                  <a:gd name="T23" fmla="*/ 1010 h 1841"/>
                  <a:gd name="T24" fmla="*/ 726 w 1206"/>
                  <a:gd name="T25" fmla="*/ 1102 h 1841"/>
                  <a:gd name="T26" fmla="*/ 766 w 1206"/>
                  <a:gd name="T27" fmla="*/ 1170 h 1841"/>
                  <a:gd name="T28" fmla="*/ 874 w 1206"/>
                  <a:gd name="T29" fmla="*/ 1216 h 1841"/>
                  <a:gd name="T30" fmla="*/ 1083 w 1206"/>
                  <a:gd name="T31" fmla="*/ 1313 h 1841"/>
                  <a:gd name="T32" fmla="*/ 1173 w 1206"/>
                  <a:gd name="T33" fmla="*/ 1450 h 1841"/>
                  <a:gd name="T34" fmla="*/ 1206 w 1206"/>
                  <a:gd name="T35" fmla="*/ 1619 h 1841"/>
                  <a:gd name="T36" fmla="*/ 990 w 1206"/>
                  <a:gd name="T37" fmla="*/ 1786 h 1841"/>
                  <a:gd name="T38" fmla="*/ 466 w 1206"/>
                  <a:gd name="T39" fmla="*/ 1841 h 1841"/>
                  <a:gd name="T40" fmla="*/ 86 w 1206"/>
                  <a:gd name="T41" fmla="*/ 1814 h 1841"/>
                  <a:gd name="T42" fmla="*/ 86 w 1206"/>
                  <a:gd name="T43" fmla="*/ 1208 h 1841"/>
                  <a:gd name="T44" fmla="*/ 205 w 1206"/>
                  <a:gd name="T45" fmla="*/ 1102 h 1841"/>
                  <a:gd name="T46" fmla="*/ 216 w 1206"/>
                  <a:gd name="T47" fmla="*/ 1010 h 1841"/>
                  <a:gd name="T48" fmla="*/ 94 w 1206"/>
                  <a:gd name="T49" fmla="*/ 772 h 1841"/>
                  <a:gd name="T50" fmla="*/ 19 w 1206"/>
                  <a:gd name="T51" fmla="*/ 558 h 1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6" h="1841">
                    <a:moveTo>
                      <a:pt x="19" y="558"/>
                    </a:moveTo>
                    <a:cubicBezTo>
                      <a:pt x="15" y="490"/>
                      <a:pt x="6" y="415"/>
                      <a:pt x="6" y="348"/>
                    </a:cubicBezTo>
                    <a:cubicBezTo>
                      <a:pt x="5" y="326"/>
                      <a:pt x="6" y="306"/>
                      <a:pt x="10" y="286"/>
                    </a:cubicBezTo>
                    <a:cubicBezTo>
                      <a:pt x="24" y="197"/>
                      <a:pt x="74" y="126"/>
                      <a:pt x="141" y="78"/>
                    </a:cubicBezTo>
                    <a:cubicBezTo>
                      <a:pt x="207" y="30"/>
                      <a:pt x="291" y="3"/>
                      <a:pt x="376" y="2"/>
                    </a:cubicBezTo>
                    <a:cubicBezTo>
                      <a:pt x="447" y="0"/>
                      <a:pt x="505" y="12"/>
                      <a:pt x="566" y="49"/>
                    </a:cubicBezTo>
                    <a:cubicBezTo>
                      <a:pt x="597" y="37"/>
                      <a:pt x="629" y="34"/>
                      <a:pt x="661" y="37"/>
                    </a:cubicBezTo>
                    <a:cubicBezTo>
                      <a:pt x="762" y="46"/>
                      <a:pt x="854" y="122"/>
                      <a:pt x="898" y="212"/>
                    </a:cubicBezTo>
                    <a:cubicBezTo>
                      <a:pt x="919" y="254"/>
                      <a:pt x="930" y="301"/>
                      <a:pt x="926" y="346"/>
                    </a:cubicBezTo>
                    <a:cubicBezTo>
                      <a:pt x="912" y="558"/>
                      <a:pt x="912" y="558"/>
                      <a:pt x="912" y="558"/>
                    </a:cubicBezTo>
                    <a:cubicBezTo>
                      <a:pt x="932" y="636"/>
                      <a:pt x="906" y="727"/>
                      <a:pt x="837" y="772"/>
                    </a:cubicBezTo>
                    <a:cubicBezTo>
                      <a:pt x="814" y="849"/>
                      <a:pt x="770" y="949"/>
                      <a:pt x="716" y="1010"/>
                    </a:cubicBezTo>
                    <a:cubicBezTo>
                      <a:pt x="717" y="1038"/>
                      <a:pt x="719" y="1072"/>
                      <a:pt x="726" y="1102"/>
                    </a:cubicBezTo>
                    <a:cubicBezTo>
                      <a:pt x="733" y="1132"/>
                      <a:pt x="745" y="1159"/>
                      <a:pt x="766" y="1170"/>
                    </a:cubicBezTo>
                    <a:cubicBezTo>
                      <a:pt x="802" y="1194"/>
                      <a:pt x="833" y="1204"/>
                      <a:pt x="874" y="1216"/>
                    </a:cubicBezTo>
                    <a:cubicBezTo>
                      <a:pt x="940" y="1236"/>
                      <a:pt x="1037" y="1268"/>
                      <a:pt x="1083" y="1313"/>
                    </a:cubicBezTo>
                    <a:cubicBezTo>
                      <a:pt x="1122" y="1351"/>
                      <a:pt x="1152" y="1399"/>
                      <a:pt x="1173" y="1450"/>
                    </a:cubicBezTo>
                    <a:cubicBezTo>
                      <a:pt x="1194" y="1505"/>
                      <a:pt x="1206" y="1563"/>
                      <a:pt x="1206" y="1619"/>
                    </a:cubicBezTo>
                    <a:cubicBezTo>
                      <a:pt x="1206" y="1700"/>
                      <a:pt x="1115" y="1753"/>
                      <a:pt x="990" y="1786"/>
                    </a:cubicBezTo>
                    <a:cubicBezTo>
                      <a:pt x="827" y="1828"/>
                      <a:pt x="600" y="1841"/>
                      <a:pt x="466" y="1841"/>
                    </a:cubicBezTo>
                    <a:cubicBezTo>
                      <a:pt x="368" y="1841"/>
                      <a:pt x="221" y="1834"/>
                      <a:pt x="86" y="1814"/>
                    </a:cubicBezTo>
                    <a:cubicBezTo>
                      <a:pt x="86" y="1208"/>
                      <a:pt x="86" y="1208"/>
                      <a:pt x="86" y="1208"/>
                    </a:cubicBezTo>
                    <a:cubicBezTo>
                      <a:pt x="150" y="1187"/>
                      <a:pt x="188" y="1171"/>
                      <a:pt x="205" y="1102"/>
                    </a:cubicBezTo>
                    <a:cubicBezTo>
                      <a:pt x="212" y="1072"/>
                      <a:pt x="215" y="1038"/>
                      <a:pt x="216" y="1010"/>
                    </a:cubicBezTo>
                    <a:cubicBezTo>
                      <a:pt x="162" y="950"/>
                      <a:pt x="118" y="849"/>
                      <a:pt x="94" y="772"/>
                    </a:cubicBezTo>
                    <a:cubicBezTo>
                      <a:pt x="26" y="727"/>
                      <a:pt x="0" y="636"/>
                      <a:pt x="19" y="558"/>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p>
            </p:txBody>
          </p:sp>
          <p:sp>
            <p:nvSpPr>
              <p:cNvPr id="40" name="Freeform 26">
                <a:extLst>
                  <a:ext uri="{FF2B5EF4-FFF2-40B4-BE49-F238E27FC236}">
                    <a16:creationId xmlns:a16="http://schemas.microsoft.com/office/drawing/2014/main" xmlns="" id="{CFE88474-7C35-4041-8F84-A7AD4E85781F}"/>
                  </a:ext>
                </a:extLst>
              </p:cNvPr>
              <p:cNvSpPr>
                <a:spLocks noChangeAspect="1" noEditPoints="1"/>
              </p:cNvSpPr>
              <p:nvPr>
                <p:custDataLst>
                  <p:tags r:id="rId9"/>
                </p:custDataLst>
              </p:nvPr>
            </p:nvSpPr>
            <p:spPr bwMode="auto">
              <a:xfrm>
                <a:off x="1404950" y="5229246"/>
                <a:ext cx="372488" cy="340348"/>
              </a:xfrm>
              <a:custGeom>
                <a:avLst/>
                <a:gdLst>
                  <a:gd name="T0" fmla="*/ 1746 w 2080"/>
                  <a:gd name="T1" fmla="*/ 1384 h 1901"/>
                  <a:gd name="T2" fmla="*/ 1626 w 2080"/>
                  <a:gd name="T3" fmla="*/ 1677 h 1901"/>
                  <a:gd name="T4" fmla="*/ 1332 w 2080"/>
                  <a:gd name="T5" fmla="*/ 1878 h 1901"/>
                  <a:gd name="T6" fmla="*/ 1264 w 2080"/>
                  <a:gd name="T7" fmla="*/ 1901 h 1901"/>
                  <a:gd name="T8" fmla="*/ 1281 w 2080"/>
                  <a:gd name="T9" fmla="*/ 1830 h 1901"/>
                  <a:gd name="T10" fmla="*/ 1271 w 2080"/>
                  <a:gd name="T11" fmla="*/ 1665 h 1901"/>
                  <a:gd name="T12" fmla="*/ 1040 w 2080"/>
                  <a:gd name="T13" fmla="*/ 1600 h 1901"/>
                  <a:gd name="T14" fmla="*/ 309 w 2080"/>
                  <a:gd name="T15" fmla="*/ 1369 h 1901"/>
                  <a:gd name="T16" fmla="*/ 0 w 2080"/>
                  <a:gd name="T17" fmla="*/ 800 h 1901"/>
                  <a:gd name="T18" fmla="*/ 309 w 2080"/>
                  <a:gd name="T19" fmla="*/ 231 h 1901"/>
                  <a:gd name="T20" fmla="*/ 1040 w 2080"/>
                  <a:gd name="T21" fmla="*/ 0 h 1901"/>
                  <a:gd name="T22" fmla="*/ 1771 w 2080"/>
                  <a:gd name="T23" fmla="*/ 230 h 1901"/>
                  <a:gd name="T24" fmla="*/ 2080 w 2080"/>
                  <a:gd name="T25" fmla="*/ 798 h 1901"/>
                  <a:gd name="T26" fmla="*/ 1988 w 2080"/>
                  <a:gd name="T27" fmla="*/ 1127 h 1901"/>
                  <a:gd name="T28" fmla="*/ 1746 w 2080"/>
                  <a:gd name="T29" fmla="*/ 1384 h 1901"/>
                  <a:gd name="T30" fmla="*/ 560 w 2080"/>
                  <a:gd name="T31" fmla="*/ 480 h 1901"/>
                  <a:gd name="T32" fmla="*/ 560 w 2080"/>
                  <a:gd name="T33" fmla="*/ 560 h 1901"/>
                  <a:gd name="T34" fmla="*/ 1520 w 2080"/>
                  <a:gd name="T35" fmla="*/ 560 h 1901"/>
                  <a:gd name="T36" fmla="*/ 1520 w 2080"/>
                  <a:gd name="T37" fmla="*/ 480 h 1901"/>
                  <a:gd name="T38" fmla="*/ 560 w 2080"/>
                  <a:gd name="T39" fmla="*/ 480 h 1901"/>
                  <a:gd name="T40" fmla="*/ 560 w 2080"/>
                  <a:gd name="T41" fmla="*/ 760 h 1901"/>
                  <a:gd name="T42" fmla="*/ 560 w 2080"/>
                  <a:gd name="T43" fmla="*/ 840 h 1901"/>
                  <a:gd name="T44" fmla="*/ 1520 w 2080"/>
                  <a:gd name="T45" fmla="*/ 840 h 1901"/>
                  <a:gd name="T46" fmla="*/ 1520 w 2080"/>
                  <a:gd name="T47" fmla="*/ 760 h 1901"/>
                  <a:gd name="T48" fmla="*/ 560 w 2080"/>
                  <a:gd name="T49" fmla="*/ 760 h 1901"/>
                  <a:gd name="T50" fmla="*/ 560 w 2080"/>
                  <a:gd name="T51" fmla="*/ 1040 h 1901"/>
                  <a:gd name="T52" fmla="*/ 560 w 2080"/>
                  <a:gd name="T53" fmla="*/ 1120 h 1901"/>
                  <a:gd name="T54" fmla="*/ 1520 w 2080"/>
                  <a:gd name="T55" fmla="*/ 1120 h 1901"/>
                  <a:gd name="T56" fmla="*/ 1520 w 2080"/>
                  <a:gd name="T57" fmla="*/ 1040 h 1901"/>
                  <a:gd name="T58" fmla="*/ 560 w 2080"/>
                  <a:gd name="T59" fmla="*/ 1040 h 19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080" h="1901">
                    <a:moveTo>
                      <a:pt x="1746" y="1384"/>
                    </a:moveTo>
                    <a:cubicBezTo>
                      <a:pt x="1740" y="1484"/>
                      <a:pt x="1698" y="1588"/>
                      <a:pt x="1626" y="1677"/>
                    </a:cubicBezTo>
                    <a:cubicBezTo>
                      <a:pt x="1556" y="1764"/>
                      <a:pt x="1456" y="1837"/>
                      <a:pt x="1332" y="1878"/>
                    </a:cubicBezTo>
                    <a:cubicBezTo>
                      <a:pt x="1264" y="1901"/>
                      <a:pt x="1264" y="1901"/>
                      <a:pt x="1264" y="1901"/>
                    </a:cubicBezTo>
                    <a:cubicBezTo>
                      <a:pt x="1281" y="1830"/>
                      <a:pt x="1281" y="1830"/>
                      <a:pt x="1281" y="1830"/>
                    </a:cubicBezTo>
                    <a:cubicBezTo>
                      <a:pt x="1298" y="1762"/>
                      <a:pt x="1301" y="1703"/>
                      <a:pt x="1271" y="1665"/>
                    </a:cubicBezTo>
                    <a:cubicBezTo>
                      <a:pt x="1239" y="1624"/>
                      <a:pt x="1169" y="1600"/>
                      <a:pt x="1040" y="1600"/>
                    </a:cubicBezTo>
                    <a:cubicBezTo>
                      <a:pt x="755" y="1600"/>
                      <a:pt x="497" y="1512"/>
                      <a:pt x="309" y="1369"/>
                    </a:cubicBezTo>
                    <a:cubicBezTo>
                      <a:pt x="118" y="1224"/>
                      <a:pt x="0" y="1022"/>
                      <a:pt x="0" y="800"/>
                    </a:cubicBezTo>
                    <a:cubicBezTo>
                      <a:pt x="0" y="578"/>
                      <a:pt x="118" y="376"/>
                      <a:pt x="309" y="231"/>
                    </a:cubicBezTo>
                    <a:cubicBezTo>
                      <a:pt x="497" y="88"/>
                      <a:pt x="755" y="0"/>
                      <a:pt x="1040" y="0"/>
                    </a:cubicBezTo>
                    <a:cubicBezTo>
                      <a:pt x="1325" y="0"/>
                      <a:pt x="1584" y="88"/>
                      <a:pt x="1771" y="230"/>
                    </a:cubicBezTo>
                    <a:cubicBezTo>
                      <a:pt x="1962" y="375"/>
                      <a:pt x="2080" y="576"/>
                      <a:pt x="2080" y="798"/>
                    </a:cubicBezTo>
                    <a:cubicBezTo>
                      <a:pt x="2080" y="915"/>
                      <a:pt x="2047" y="1027"/>
                      <a:pt x="1988" y="1127"/>
                    </a:cubicBezTo>
                    <a:cubicBezTo>
                      <a:pt x="1930" y="1225"/>
                      <a:pt x="1847" y="1312"/>
                      <a:pt x="1746" y="1384"/>
                    </a:cubicBezTo>
                    <a:close/>
                    <a:moveTo>
                      <a:pt x="560" y="480"/>
                    </a:moveTo>
                    <a:cubicBezTo>
                      <a:pt x="560" y="560"/>
                      <a:pt x="560" y="560"/>
                      <a:pt x="560" y="560"/>
                    </a:cubicBezTo>
                    <a:cubicBezTo>
                      <a:pt x="1520" y="560"/>
                      <a:pt x="1520" y="560"/>
                      <a:pt x="1520" y="560"/>
                    </a:cubicBezTo>
                    <a:cubicBezTo>
                      <a:pt x="1520" y="480"/>
                      <a:pt x="1520" y="480"/>
                      <a:pt x="1520" y="480"/>
                    </a:cubicBezTo>
                    <a:lnTo>
                      <a:pt x="560" y="480"/>
                    </a:lnTo>
                    <a:close/>
                    <a:moveTo>
                      <a:pt x="560" y="760"/>
                    </a:moveTo>
                    <a:cubicBezTo>
                      <a:pt x="560" y="840"/>
                      <a:pt x="560" y="840"/>
                      <a:pt x="560" y="840"/>
                    </a:cubicBezTo>
                    <a:cubicBezTo>
                      <a:pt x="1520" y="840"/>
                      <a:pt x="1520" y="840"/>
                      <a:pt x="1520" y="840"/>
                    </a:cubicBezTo>
                    <a:cubicBezTo>
                      <a:pt x="1520" y="760"/>
                      <a:pt x="1520" y="760"/>
                      <a:pt x="1520" y="760"/>
                    </a:cubicBezTo>
                    <a:lnTo>
                      <a:pt x="560" y="760"/>
                    </a:lnTo>
                    <a:close/>
                    <a:moveTo>
                      <a:pt x="560" y="1040"/>
                    </a:moveTo>
                    <a:cubicBezTo>
                      <a:pt x="560" y="1120"/>
                      <a:pt x="560" y="1120"/>
                      <a:pt x="560" y="1120"/>
                    </a:cubicBezTo>
                    <a:cubicBezTo>
                      <a:pt x="1520" y="1120"/>
                      <a:pt x="1520" y="1120"/>
                      <a:pt x="1520" y="1120"/>
                    </a:cubicBezTo>
                    <a:cubicBezTo>
                      <a:pt x="1520" y="1040"/>
                      <a:pt x="1520" y="1040"/>
                      <a:pt x="1520" y="1040"/>
                    </a:cubicBezTo>
                    <a:lnTo>
                      <a:pt x="560" y="1040"/>
                    </a:lnTo>
                    <a:close/>
                  </a:path>
                </a:pathLst>
              </a:custGeom>
              <a:grpFill/>
              <a:ln>
                <a:noFill/>
              </a:ln>
            </p:spPr>
            <p:txBody>
              <a:bodyPr vert="horz" wrap="square" lIns="91440" tIns="45720" rIns="91440" bIns="45720" numCol="1" anchor="t" anchorCtr="0" compatLnSpc="1">
                <a:prstTxWarp prst="textNoShape">
                  <a:avLst/>
                </a:prstTxWarp>
              </a:bodyPr>
              <a:lstStyle/>
              <a:p>
                <a:endParaRPr lang="en-US" sz="1000"/>
              </a:p>
            </p:txBody>
          </p:sp>
        </p:grpSp>
        <p:grpSp>
          <p:nvGrpSpPr>
            <p:cNvPr id="44" name="Group 43">
              <a:extLst>
                <a:ext uri="{FF2B5EF4-FFF2-40B4-BE49-F238E27FC236}">
                  <a16:creationId xmlns:a16="http://schemas.microsoft.com/office/drawing/2014/main" xmlns="" id="{A224EB3E-50F1-43C7-A328-DCE7BAC8C773}"/>
                </a:ext>
              </a:extLst>
            </p:cNvPr>
            <p:cNvGrpSpPr>
              <a:grpSpLocks noChangeAspect="1"/>
            </p:cNvGrpSpPr>
            <p:nvPr/>
          </p:nvGrpSpPr>
          <p:grpSpPr>
            <a:xfrm>
              <a:off x="9935884" y="4713689"/>
              <a:ext cx="291545" cy="429177"/>
              <a:chOff x="7034579" y="1276441"/>
              <a:chExt cx="387857" cy="570955"/>
            </a:xfrm>
            <a:solidFill>
              <a:schemeClr val="accent1">
                <a:lumMod val="60000"/>
                <a:lumOff val="40000"/>
              </a:schemeClr>
            </a:solidFill>
          </p:grpSpPr>
          <p:sp>
            <p:nvSpPr>
              <p:cNvPr id="45" name="Freeform 45">
                <a:extLst>
                  <a:ext uri="{FF2B5EF4-FFF2-40B4-BE49-F238E27FC236}">
                    <a16:creationId xmlns:a16="http://schemas.microsoft.com/office/drawing/2014/main" xmlns="" id="{35E782D0-20AC-48E6-8A43-5D9F7F9F6C55}"/>
                  </a:ext>
                </a:extLst>
              </p:cNvPr>
              <p:cNvSpPr>
                <a:spLocks noChangeAspect="1" noEditPoints="1"/>
              </p:cNvSpPr>
              <p:nvPr>
                <p:custDataLst>
                  <p:tags r:id="rId7"/>
                </p:custDataLst>
              </p:nvPr>
            </p:nvSpPr>
            <p:spPr bwMode="gray">
              <a:xfrm>
                <a:off x="7034579" y="1276441"/>
                <a:ext cx="387857" cy="570955"/>
              </a:xfrm>
              <a:custGeom>
                <a:avLst/>
                <a:gdLst>
                  <a:gd name="T0" fmla="*/ 600 w 1440"/>
                  <a:gd name="T1" fmla="*/ 240 h 2120"/>
                  <a:gd name="T2" fmla="*/ 840 w 1440"/>
                  <a:gd name="T3" fmla="*/ 240 h 2120"/>
                  <a:gd name="T4" fmla="*/ 880 w 1440"/>
                  <a:gd name="T5" fmla="*/ 200 h 2120"/>
                  <a:gd name="T6" fmla="*/ 840 w 1440"/>
                  <a:gd name="T7" fmla="*/ 160 h 2120"/>
                  <a:gd name="T8" fmla="*/ 600 w 1440"/>
                  <a:gd name="T9" fmla="*/ 160 h 2120"/>
                  <a:gd name="T10" fmla="*/ 560 w 1440"/>
                  <a:gd name="T11" fmla="*/ 200 h 2120"/>
                  <a:gd name="T12" fmla="*/ 600 w 1440"/>
                  <a:gd name="T13" fmla="*/ 240 h 2120"/>
                  <a:gd name="T14" fmla="*/ 721 w 1440"/>
                  <a:gd name="T15" fmla="*/ 1759 h 2120"/>
                  <a:gd name="T16" fmla="*/ 601 w 1440"/>
                  <a:gd name="T17" fmla="*/ 1879 h 2120"/>
                  <a:gd name="T18" fmla="*/ 721 w 1440"/>
                  <a:gd name="T19" fmla="*/ 1999 h 2120"/>
                  <a:gd name="T20" fmla="*/ 841 w 1440"/>
                  <a:gd name="T21" fmla="*/ 1879 h 2120"/>
                  <a:gd name="T22" fmla="*/ 721 w 1440"/>
                  <a:gd name="T23" fmla="*/ 1759 h 2120"/>
                  <a:gd name="T24" fmla="*/ 200 w 1440"/>
                  <a:gd name="T25" fmla="*/ 0 h 2120"/>
                  <a:gd name="T26" fmla="*/ 1240 w 1440"/>
                  <a:gd name="T27" fmla="*/ 0 h 2120"/>
                  <a:gd name="T28" fmla="*/ 1440 w 1440"/>
                  <a:gd name="T29" fmla="*/ 200 h 2120"/>
                  <a:gd name="T30" fmla="*/ 1440 w 1440"/>
                  <a:gd name="T31" fmla="*/ 1920 h 2120"/>
                  <a:gd name="T32" fmla="*/ 1240 w 1440"/>
                  <a:gd name="T33" fmla="*/ 2120 h 2120"/>
                  <a:gd name="T34" fmla="*/ 200 w 1440"/>
                  <a:gd name="T35" fmla="*/ 2120 h 2120"/>
                  <a:gd name="T36" fmla="*/ 0 w 1440"/>
                  <a:gd name="T37" fmla="*/ 1920 h 2120"/>
                  <a:gd name="T38" fmla="*/ 0 w 1440"/>
                  <a:gd name="T39" fmla="*/ 200 h 2120"/>
                  <a:gd name="T40" fmla="*/ 200 w 1440"/>
                  <a:gd name="T41" fmla="*/ 0 h 2120"/>
                  <a:gd name="T42" fmla="*/ 200 w 1440"/>
                  <a:gd name="T43" fmla="*/ 360 h 2120"/>
                  <a:gd name="T44" fmla="*/ 200 w 1440"/>
                  <a:gd name="T45" fmla="*/ 1680 h 2120"/>
                  <a:gd name="T46" fmla="*/ 1240 w 1440"/>
                  <a:gd name="T47" fmla="*/ 1680 h 2120"/>
                  <a:gd name="T48" fmla="*/ 1240 w 1440"/>
                  <a:gd name="T49" fmla="*/ 360 h 2120"/>
                  <a:gd name="T50" fmla="*/ 200 w 1440"/>
                  <a:gd name="T51" fmla="*/ 360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0" h="2120">
                    <a:moveTo>
                      <a:pt x="600" y="240"/>
                    </a:moveTo>
                    <a:cubicBezTo>
                      <a:pt x="840" y="240"/>
                      <a:pt x="840" y="240"/>
                      <a:pt x="840" y="240"/>
                    </a:cubicBezTo>
                    <a:cubicBezTo>
                      <a:pt x="862" y="240"/>
                      <a:pt x="880" y="222"/>
                      <a:pt x="880" y="200"/>
                    </a:cubicBezTo>
                    <a:cubicBezTo>
                      <a:pt x="880" y="178"/>
                      <a:pt x="862" y="160"/>
                      <a:pt x="840" y="160"/>
                    </a:cubicBezTo>
                    <a:cubicBezTo>
                      <a:pt x="600" y="160"/>
                      <a:pt x="600" y="160"/>
                      <a:pt x="600" y="160"/>
                    </a:cubicBezTo>
                    <a:cubicBezTo>
                      <a:pt x="578" y="160"/>
                      <a:pt x="560" y="178"/>
                      <a:pt x="560" y="200"/>
                    </a:cubicBezTo>
                    <a:cubicBezTo>
                      <a:pt x="560" y="222"/>
                      <a:pt x="578" y="240"/>
                      <a:pt x="600" y="240"/>
                    </a:cubicBezTo>
                    <a:close/>
                    <a:moveTo>
                      <a:pt x="721" y="1759"/>
                    </a:moveTo>
                    <a:cubicBezTo>
                      <a:pt x="655" y="1759"/>
                      <a:pt x="601" y="1813"/>
                      <a:pt x="601" y="1879"/>
                    </a:cubicBezTo>
                    <a:cubicBezTo>
                      <a:pt x="601" y="1945"/>
                      <a:pt x="655" y="1999"/>
                      <a:pt x="721" y="1999"/>
                    </a:cubicBezTo>
                    <a:cubicBezTo>
                      <a:pt x="787" y="1999"/>
                      <a:pt x="841" y="1945"/>
                      <a:pt x="841" y="1879"/>
                    </a:cubicBezTo>
                    <a:cubicBezTo>
                      <a:pt x="841" y="1813"/>
                      <a:pt x="787" y="1759"/>
                      <a:pt x="721" y="1759"/>
                    </a:cubicBezTo>
                    <a:close/>
                    <a:moveTo>
                      <a:pt x="200" y="0"/>
                    </a:moveTo>
                    <a:cubicBezTo>
                      <a:pt x="1240" y="0"/>
                      <a:pt x="1240" y="0"/>
                      <a:pt x="1240" y="0"/>
                    </a:cubicBezTo>
                    <a:cubicBezTo>
                      <a:pt x="1350" y="0"/>
                      <a:pt x="1440" y="90"/>
                      <a:pt x="1440" y="200"/>
                    </a:cubicBezTo>
                    <a:cubicBezTo>
                      <a:pt x="1440" y="1920"/>
                      <a:pt x="1440" y="1920"/>
                      <a:pt x="1440" y="1920"/>
                    </a:cubicBezTo>
                    <a:cubicBezTo>
                      <a:pt x="1440" y="2030"/>
                      <a:pt x="1350" y="2120"/>
                      <a:pt x="1240" y="2120"/>
                    </a:cubicBezTo>
                    <a:cubicBezTo>
                      <a:pt x="200" y="2120"/>
                      <a:pt x="200" y="2120"/>
                      <a:pt x="200" y="2120"/>
                    </a:cubicBezTo>
                    <a:cubicBezTo>
                      <a:pt x="90" y="2120"/>
                      <a:pt x="0" y="2030"/>
                      <a:pt x="0" y="1920"/>
                    </a:cubicBezTo>
                    <a:cubicBezTo>
                      <a:pt x="0" y="200"/>
                      <a:pt x="0" y="200"/>
                      <a:pt x="0" y="200"/>
                    </a:cubicBezTo>
                    <a:cubicBezTo>
                      <a:pt x="0" y="90"/>
                      <a:pt x="90" y="0"/>
                      <a:pt x="200" y="0"/>
                    </a:cubicBezTo>
                    <a:close/>
                    <a:moveTo>
                      <a:pt x="200" y="360"/>
                    </a:moveTo>
                    <a:cubicBezTo>
                      <a:pt x="200" y="1680"/>
                      <a:pt x="200" y="1680"/>
                      <a:pt x="200" y="1680"/>
                    </a:cubicBezTo>
                    <a:cubicBezTo>
                      <a:pt x="1240" y="1680"/>
                      <a:pt x="1240" y="1680"/>
                      <a:pt x="1240" y="1680"/>
                    </a:cubicBezTo>
                    <a:cubicBezTo>
                      <a:pt x="1240" y="360"/>
                      <a:pt x="1240" y="360"/>
                      <a:pt x="1240" y="360"/>
                    </a:cubicBezTo>
                    <a:lnTo>
                      <a:pt x="200" y="360"/>
                    </a:lnTo>
                    <a:close/>
                  </a:path>
                </a:pathLst>
              </a:custGeom>
              <a:grpFill/>
              <a:ln>
                <a:noFill/>
              </a:ln>
            </p:spPr>
            <p:txBody>
              <a:bodyPr vert="horz" wrap="square" lIns="121920" tIns="60960" rIns="121920" bIns="60960" numCol="1" anchor="t" anchorCtr="0" compatLnSpc="1">
                <a:prstTxWarp prst="textNoShape">
                  <a:avLst/>
                </a:prstTxWarp>
              </a:bodyPr>
              <a:lstStyle/>
              <a:p>
                <a:endParaRPr lang="en-US" sz="1333" noProof="1"/>
              </a:p>
            </p:txBody>
          </p:sp>
          <p:sp>
            <p:nvSpPr>
              <p:cNvPr id="46" name="Freeform 43">
                <a:extLst>
                  <a:ext uri="{FF2B5EF4-FFF2-40B4-BE49-F238E27FC236}">
                    <a16:creationId xmlns:a16="http://schemas.microsoft.com/office/drawing/2014/main" xmlns="" id="{734A55D9-9F6F-43AB-B53D-B3168C304E01}"/>
                  </a:ext>
                </a:extLst>
              </p:cNvPr>
              <p:cNvSpPr>
                <a:spLocks noChangeAspect="1" noEditPoints="1"/>
              </p:cNvSpPr>
              <p:nvPr>
                <p:custDataLst>
                  <p:tags r:id="rId8"/>
                </p:custDataLst>
              </p:nvPr>
            </p:nvSpPr>
            <p:spPr bwMode="gray">
              <a:xfrm>
                <a:off x="7112847" y="1447622"/>
                <a:ext cx="231320" cy="228591"/>
              </a:xfrm>
              <a:custGeom>
                <a:avLst/>
                <a:gdLst>
                  <a:gd name="T0" fmla="*/ 1774 w 2044"/>
                  <a:gd name="T1" fmla="*/ 120 h 2020"/>
                  <a:gd name="T2" fmla="*/ 1431 w 2044"/>
                  <a:gd name="T3" fmla="*/ 1165 h 2020"/>
                  <a:gd name="T4" fmla="*/ 1619 w 2044"/>
                  <a:gd name="T5" fmla="*/ 1533 h 2020"/>
                  <a:gd name="T6" fmla="*/ 1451 w 2044"/>
                  <a:gd name="T7" fmla="*/ 1640 h 2020"/>
                  <a:gd name="T8" fmla="*/ 1364 w 2044"/>
                  <a:gd name="T9" fmla="*/ 2020 h 2020"/>
                  <a:gd name="T10" fmla="*/ 1277 w 2044"/>
                  <a:gd name="T11" fmla="*/ 1640 h 2020"/>
                  <a:gd name="T12" fmla="*/ 524 w 2044"/>
                  <a:gd name="T13" fmla="*/ 1820 h 2020"/>
                  <a:gd name="T14" fmla="*/ 124 w 2044"/>
                  <a:gd name="T15" fmla="*/ 1820 h 2020"/>
                  <a:gd name="T16" fmla="*/ 124 w 2044"/>
                  <a:gd name="T17" fmla="*/ 1640 h 2020"/>
                  <a:gd name="T18" fmla="*/ 1454 w 2044"/>
                  <a:gd name="T19" fmla="*/ 1520 h 2020"/>
                  <a:gd name="T20" fmla="*/ 1499 w 2044"/>
                  <a:gd name="T21" fmla="*/ 1420 h 2020"/>
                  <a:gd name="T22" fmla="*/ 487 w 2044"/>
                  <a:gd name="T23" fmla="*/ 1220 h 2020"/>
                  <a:gd name="T24" fmla="*/ 9 w 2044"/>
                  <a:gd name="T25" fmla="*/ 367 h 2020"/>
                  <a:gd name="T26" fmla="*/ 84 w 2044"/>
                  <a:gd name="T27" fmla="*/ 260 h 2020"/>
                  <a:gd name="T28" fmla="*/ 1602 w 2044"/>
                  <a:gd name="T29" fmla="*/ 131 h 2020"/>
                  <a:gd name="T30" fmla="*/ 2044 w 2044"/>
                  <a:gd name="T31" fmla="*/ 0 h 2020"/>
                  <a:gd name="T32" fmla="*/ 1344 w 2044"/>
                  <a:gd name="T33" fmla="*/ 1032 h 2020"/>
                  <a:gd name="T34" fmla="*/ 1344 w 2044"/>
                  <a:gd name="T35" fmla="*/ 1000 h 2020"/>
                  <a:gd name="T36" fmla="*/ 1387 w 2044"/>
                  <a:gd name="T37" fmla="*/ 880 h 2020"/>
                  <a:gd name="T38" fmla="*/ 1344 w 2044"/>
                  <a:gd name="T39" fmla="*/ 680 h 2020"/>
                  <a:gd name="T40" fmla="*/ 1387 w 2044"/>
                  <a:gd name="T41" fmla="*/ 880 h 2020"/>
                  <a:gd name="T42" fmla="*/ 1536 w 2044"/>
                  <a:gd name="T43" fmla="*/ 360 h 2020"/>
                  <a:gd name="T44" fmla="*/ 1344 w 2044"/>
                  <a:gd name="T45" fmla="*/ 560 h 2020"/>
                  <a:gd name="T46" fmla="*/ 1024 w 2044"/>
                  <a:gd name="T47" fmla="*/ 360 h 2020"/>
                  <a:gd name="T48" fmla="*/ 1224 w 2044"/>
                  <a:gd name="T49" fmla="*/ 560 h 2020"/>
                  <a:gd name="T50" fmla="*/ 1024 w 2044"/>
                  <a:gd name="T51" fmla="*/ 360 h 2020"/>
                  <a:gd name="T52" fmla="*/ 1224 w 2044"/>
                  <a:gd name="T53" fmla="*/ 1000 h 2020"/>
                  <a:gd name="T54" fmla="*/ 1024 w 2044"/>
                  <a:gd name="T55" fmla="*/ 1120 h 2020"/>
                  <a:gd name="T56" fmla="*/ 904 w 2044"/>
                  <a:gd name="T57" fmla="*/ 1120 h 2020"/>
                  <a:gd name="T58" fmla="*/ 704 w 2044"/>
                  <a:gd name="T59" fmla="*/ 1000 h 2020"/>
                  <a:gd name="T60" fmla="*/ 904 w 2044"/>
                  <a:gd name="T61" fmla="*/ 1120 h 2020"/>
                  <a:gd name="T62" fmla="*/ 584 w 2044"/>
                  <a:gd name="T63" fmla="*/ 1000 h 2020"/>
                  <a:gd name="T64" fmla="*/ 384 w 2044"/>
                  <a:gd name="T65" fmla="*/ 1076 h 2020"/>
                  <a:gd name="T66" fmla="*/ 584 w 2044"/>
                  <a:gd name="T67" fmla="*/ 1120 h 2020"/>
                  <a:gd name="T68" fmla="*/ 264 w 2044"/>
                  <a:gd name="T69" fmla="*/ 680 h 2020"/>
                  <a:gd name="T70" fmla="*/ 264 w 2044"/>
                  <a:gd name="T71" fmla="*/ 777 h 2020"/>
                  <a:gd name="T72" fmla="*/ 264 w 2044"/>
                  <a:gd name="T73" fmla="*/ 560 h 2020"/>
                  <a:gd name="T74" fmla="*/ 112 w 2044"/>
                  <a:gd name="T75" fmla="*/ 360 h 2020"/>
                  <a:gd name="T76" fmla="*/ 384 w 2044"/>
                  <a:gd name="T77" fmla="*/ 360 h 2020"/>
                  <a:gd name="T78" fmla="*/ 584 w 2044"/>
                  <a:gd name="T79" fmla="*/ 560 h 2020"/>
                  <a:gd name="T80" fmla="*/ 384 w 2044"/>
                  <a:gd name="T81" fmla="*/ 360 h 2020"/>
                  <a:gd name="T82" fmla="*/ 704 w 2044"/>
                  <a:gd name="T83" fmla="*/ 560 h 2020"/>
                  <a:gd name="T84" fmla="*/ 904 w 2044"/>
                  <a:gd name="T85" fmla="*/ 360 h 2020"/>
                  <a:gd name="T86" fmla="*/ 1024 w 2044"/>
                  <a:gd name="T87" fmla="*/ 680 h 2020"/>
                  <a:gd name="T88" fmla="*/ 1224 w 2044"/>
                  <a:gd name="T89" fmla="*/ 880 h 2020"/>
                  <a:gd name="T90" fmla="*/ 1024 w 2044"/>
                  <a:gd name="T91" fmla="*/ 680 h 2020"/>
                  <a:gd name="T92" fmla="*/ 904 w 2044"/>
                  <a:gd name="T93" fmla="*/ 680 h 2020"/>
                  <a:gd name="T94" fmla="*/ 704 w 2044"/>
                  <a:gd name="T95" fmla="*/ 880 h 2020"/>
                  <a:gd name="T96" fmla="*/ 384 w 2044"/>
                  <a:gd name="T97" fmla="*/ 880 h 2020"/>
                  <a:gd name="T98" fmla="*/ 584 w 2044"/>
                  <a:gd name="T99" fmla="*/ 680 h 2020"/>
                  <a:gd name="T100" fmla="*/ 384 w 2044"/>
                  <a:gd name="T101" fmla="*/ 880 h 2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44" h="2020">
                    <a:moveTo>
                      <a:pt x="2044" y="120"/>
                    </a:moveTo>
                    <a:cubicBezTo>
                      <a:pt x="1774" y="120"/>
                      <a:pt x="1774" y="120"/>
                      <a:pt x="1774" y="120"/>
                    </a:cubicBezTo>
                    <a:cubicBezTo>
                      <a:pt x="1747" y="120"/>
                      <a:pt x="1724" y="137"/>
                      <a:pt x="1717" y="164"/>
                    </a:cubicBezTo>
                    <a:cubicBezTo>
                      <a:pt x="1431" y="1165"/>
                      <a:pt x="1431" y="1165"/>
                      <a:pt x="1431" y="1165"/>
                    </a:cubicBezTo>
                    <a:cubicBezTo>
                      <a:pt x="1588" y="1340"/>
                      <a:pt x="1588" y="1340"/>
                      <a:pt x="1588" y="1340"/>
                    </a:cubicBezTo>
                    <a:cubicBezTo>
                      <a:pt x="1636" y="1393"/>
                      <a:pt x="1648" y="1468"/>
                      <a:pt x="1619" y="1533"/>
                    </a:cubicBezTo>
                    <a:cubicBezTo>
                      <a:pt x="1590" y="1599"/>
                      <a:pt x="1526" y="1640"/>
                      <a:pt x="1454" y="1640"/>
                    </a:cubicBezTo>
                    <a:cubicBezTo>
                      <a:pt x="1451" y="1640"/>
                      <a:pt x="1451" y="1640"/>
                      <a:pt x="1451" y="1640"/>
                    </a:cubicBezTo>
                    <a:cubicBezTo>
                      <a:pt x="1518" y="1672"/>
                      <a:pt x="1564" y="1741"/>
                      <a:pt x="1564" y="1820"/>
                    </a:cubicBezTo>
                    <a:cubicBezTo>
                      <a:pt x="1564" y="1930"/>
                      <a:pt x="1474" y="2020"/>
                      <a:pt x="1364" y="2020"/>
                    </a:cubicBezTo>
                    <a:cubicBezTo>
                      <a:pt x="1254" y="2020"/>
                      <a:pt x="1164" y="1930"/>
                      <a:pt x="1164" y="1820"/>
                    </a:cubicBezTo>
                    <a:cubicBezTo>
                      <a:pt x="1164" y="1741"/>
                      <a:pt x="1210" y="1672"/>
                      <a:pt x="1277" y="1640"/>
                    </a:cubicBezTo>
                    <a:cubicBezTo>
                      <a:pt x="411" y="1640"/>
                      <a:pt x="411" y="1640"/>
                      <a:pt x="411" y="1640"/>
                    </a:cubicBezTo>
                    <a:cubicBezTo>
                      <a:pt x="478" y="1672"/>
                      <a:pt x="524" y="1741"/>
                      <a:pt x="524" y="1820"/>
                    </a:cubicBezTo>
                    <a:cubicBezTo>
                      <a:pt x="524" y="1930"/>
                      <a:pt x="434" y="2020"/>
                      <a:pt x="324" y="2020"/>
                    </a:cubicBezTo>
                    <a:cubicBezTo>
                      <a:pt x="214" y="2020"/>
                      <a:pt x="124" y="1930"/>
                      <a:pt x="124" y="1820"/>
                    </a:cubicBezTo>
                    <a:cubicBezTo>
                      <a:pt x="124" y="1741"/>
                      <a:pt x="170" y="1672"/>
                      <a:pt x="237" y="1640"/>
                    </a:cubicBezTo>
                    <a:cubicBezTo>
                      <a:pt x="124" y="1640"/>
                      <a:pt x="124" y="1640"/>
                      <a:pt x="124" y="1640"/>
                    </a:cubicBezTo>
                    <a:cubicBezTo>
                      <a:pt x="124" y="1520"/>
                      <a:pt x="124" y="1520"/>
                      <a:pt x="124" y="1520"/>
                    </a:cubicBezTo>
                    <a:cubicBezTo>
                      <a:pt x="1454" y="1520"/>
                      <a:pt x="1454" y="1520"/>
                      <a:pt x="1454" y="1520"/>
                    </a:cubicBezTo>
                    <a:cubicBezTo>
                      <a:pt x="1480" y="1520"/>
                      <a:pt x="1499" y="1507"/>
                      <a:pt x="1510" y="1484"/>
                    </a:cubicBezTo>
                    <a:cubicBezTo>
                      <a:pt x="1520" y="1462"/>
                      <a:pt x="1516" y="1438"/>
                      <a:pt x="1499" y="1420"/>
                    </a:cubicBezTo>
                    <a:cubicBezTo>
                      <a:pt x="1320" y="1220"/>
                      <a:pt x="1320" y="1220"/>
                      <a:pt x="1320" y="1220"/>
                    </a:cubicBezTo>
                    <a:cubicBezTo>
                      <a:pt x="487" y="1220"/>
                      <a:pt x="487" y="1220"/>
                      <a:pt x="487" y="1220"/>
                    </a:cubicBezTo>
                    <a:cubicBezTo>
                      <a:pt x="385" y="1220"/>
                      <a:pt x="296" y="1158"/>
                      <a:pt x="262" y="1062"/>
                    </a:cubicBezTo>
                    <a:cubicBezTo>
                      <a:pt x="9" y="367"/>
                      <a:pt x="9" y="367"/>
                      <a:pt x="9" y="367"/>
                    </a:cubicBezTo>
                    <a:cubicBezTo>
                      <a:pt x="0" y="342"/>
                      <a:pt x="4" y="316"/>
                      <a:pt x="18" y="294"/>
                    </a:cubicBezTo>
                    <a:cubicBezTo>
                      <a:pt x="34" y="272"/>
                      <a:pt x="57" y="260"/>
                      <a:pt x="84" y="260"/>
                    </a:cubicBezTo>
                    <a:cubicBezTo>
                      <a:pt x="1564" y="260"/>
                      <a:pt x="1564" y="260"/>
                      <a:pt x="1564" y="260"/>
                    </a:cubicBezTo>
                    <a:cubicBezTo>
                      <a:pt x="1602" y="131"/>
                      <a:pt x="1602" y="131"/>
                      <a:pt x="1602" y="131"/>
                    </a:cubicBezTo>
                    <a:cubicBezTo>
                      <a:pt x="1624" y="53"/>
                      <a:pt x="1694" y="0"/>
                      <a:pt x="1774" y="0"/>
                    </a:cubicBezTo>
                    <a:cubicBezTo>
                      <a:pt x="2044" y="0"/>
                      <a:pt x="2044" y="0"/>
                      <a:pt x="2044" y="0"/>
                    </a:cubicBezTo>
                    <a:lnTo>
                      <a:pt x="2044" y="120"/>
                    </a:lnTo>
                    <a:close/>
                    <a:moveTo>
                      <a:pt x="1344" y="1032"/>
                    </a:moveTo>
                    <a:cubicBezTo>
                      <a:pt x="1353" y="1000"/>
                      <a:pt x="1353" y="1000"/>
                      <a:pt x="1353" y="1000"/>
                    </a:cubicBezTo>
                    <a:cubicBezTo>
                      <a:pt x="1344" y="1000"/>
                      <a:pt x="1344" y="1000"/>
                      <a:pt x="1344" y="1000"/>
                    </a:cubicBezTo>
                    <a:lnTo>
                      <a:pt x="1344" y="1032"/>
                    </a:lnTo>
                    <a:close/>
                    <a:moveTo>
                      <a:pt x="1387" y="880"/>
                    </a:moveTo>
                    <a:cubicBezTo>
                      <a:pt x="1444" y="680"/>
                      <a:pt x="1444" y="680"/>
                      <a:pt x="1444" y="680"/>
                    </a:cubicBezTo>
                    <a:cubicBezTo>
                      <a:pt x="1344" y="680"/>
                      <a:pt x="1344" y="680"/>
                      <a:pt x="1344" y="680"/>
                    </a:cubicBezTo>
                    <a:cubicBezTo>
                      <a:pt x="1344" y="880"/>
                      <a:pt x="1344" y="880"/>
                      <a:pt x="1344" y="880"/>
                    </a:cubicBezTo>
                    <a:lnTo>
                      <a:pt x="1387" y="880"/>
                    </a:lnTo>
                    <a:close/>
                    <a:moveTo>
                      <a:pt x="1479" y="560"/>
                    </a:moveTo>
                    <a:cubicBezTo>
                      <a:pt x="1536" y="360"/>
                      <a:pt x="1536" y="360"/>
                      <a:pt x="1536" y="360"/>
                    </a:cubicBezTo>
                    <a:cubicBezTo>
                      <a:pt x="1344" y="360"/>
                      <a:pt x="1344" y="360"/>
                      <a:pt x="1344" y="360"/>
                    </a:cubicBezTo>
                    <a:cubicBezTo>
                      <a:pt x="1344" y="560"/>
                      <a:pt x="1344" y="560"/>
                      <a:pt x="1344" y="560"/>
                    </a:cubicBezTo>
                    <a:lnTo>
                      <a:pt x="1479" y="560"/>
                    </a:lnTo>
                    <a:close/>
                    <a:moveTo>
                      <a:pt x="1024" y="360"/>
                    </a:moveTo>
                    <a:cubicBezTo>
                      <a:pt x="1024" y="560"/>
                      <a:pt x="1024" y="560"/>
                      <a:pt x="1024" y="560"/>
                    </a:cubicBezTo>
                    <a:cubicBezTo>
                      <a:pt x="1224" y="560"/>
                      <a:pt x="1224" y="560"/>
                      <a:pt x="1224" y="560"/>
                    </a:cubicBezTo>
                    <a:cubicBezTo>
                      <a:pt x="1224" y="360"/>
                      <a:pt x="1224" y="360"/>
                      <a:pt x="1224" y="360"/>
                    </a:cubicBezTo>
                    <a:lnTo>
                      <a:pt x="1024" y="360"/>
                    </a:lnTo>
                    <a:close/>
                    <a:moveTo>
                      <a:pt x="1224" y="1120"/>
                    </a:moveTo>
                    <a:cubicBezTo>
                      <a:pt x="1224" y="1000"/>
                      <a:pt x="1224" y="1000"/>
                      <a:pt x="1224" y="1000"/>
                    </a:cubicBezTo>
                    <a:cubicBezTo>
                      <a:pt x="1024" y="1000"/>
                      <a:pt x="1024" y="1000"/>
                      <a:pt x="1024" y="1000"/>
                    </a:cubicBezTo>
                    <a:cubicBezTo>
                      <a:pt x="1024" y="1120"/>
                      <a:pt x="1024" y="1120"/>
                      <a:pt x="1024" y="1120"/>
                    </a:cubicBezTo>
                    <a:lnTo>
                      <a:pt x="1224" y="1120"/>
                    </a:lnTo>
                    <a:close/>
                    <a:moveTo>
                      <a:pt x="904" y="1120"/>
                    </a:moveTo>
                    <a:cubicBezTo>
                      <a:pt x="904" y="1000"/>
                      <a:pt x="904" y="1000"/>
                      <a:pt x="904" y="1000"/>
                    </a:cubicBezTo>
                    <a:cubicBezTo>
                      <a:pt x="704" y="1000"/>
                      <a:pt x="704" y="1000"/>
                      <a:pt x="704" y="1000"/>
                    </a:cubicBezTo>
                    <a:cubicBezTo>
                      <a:pt x="704" y="1120"/>
                      <a:pt x="704" y="1120"/>
                      <a:pt x="704" y="1120"/>
                    </a:cubicBezTo>
                    <a:lnTo>
                      <a:pt x="904" y="1120"/>
                    </a:lnTo>
                    <a:close/>
                    <a:moveTo>
                      <a:pt x="584" y="1120"/>
                    </a:moveTo>
                    <a:cubicBezTo>
                      <a:pt x="584" y="1000"/>
                      <a:pt x="584" y="1000"/>
                      <a:pt x="584" y="1000"/>
                    </a:cubicBezTo>
                    <a:cubicBezTo>
                      <a:pt x="384" y="1000"/>
                      <a:pt x="384" y="1000"/>
                      <a:pt x="384" y="1000"/>
                    </a:cubicBezTo>
                    <a:cubicBezTo>
                      <a:pt x="384" y="1076"/>
                      <a:pt x="384" y="1076"/>
                      <a:pt x="384" y="1076"/>
                    </a:cubicBezTo>
                    <a:cubicBezTo>
                      <a:pt x="410" y="1104"/>
                      <a:pt x="446" y="1120"/>
                      <a:pt x="487" y="1120"/>
                    </a:cubicBezTo>
                    <a:lnTo>
                      <a:pt x="584" y="1120"/>
                    </a:lnTo>
                    <a:close/>
                    <a:moveTo>
                      <a:pt x="264" y="777"/>
                    </a:moveTo>
                    <a:cubicBezTo>
                      <a:pt x="264" y="680"/>
                      <a:pt x="264" y="680"/>
                      <a:pt x="264" y="680"/>
                    </a:cubicBezTo>
                    <a:cubicBezTo>
                      <a:pt x="229" y="680"/>
                      <a:pt x="229" y="680"/>
                      <a:pt x="229" y="680"/>
                    </a:cubicBezTo>
                    <a:lnTo>
                      <a:pt x="264" y="777"/>
                    </a:lnTo>
                    <a:close/>
                    <a:moveTo>
                      <a:pt x="185" y="560"/>
                    </a:moveTo>
                    <a:cubicBezTo>
                      <a:pt x="264" y="560"/>
                      <a:pt x="264" y="560"/>
                      <a:pt x="264" y="560"/>
                    </a:cubicBezTo>
                    <a:cubicBezTo>
                      <a:pt x="264" y="360"/>
                      <a:pt x="264" y="360"/>
                      <a:pt x="264" y="360"/>
                    </a:cubicBezTo>
                    <a:cubicBezTo>
                      <a:pt x="112" y="360"/>
                      <a:pt x="112" y="360"/>
                      <a:pt x="112" y="360"/>
                    </a:cubicBezTo>
                    <a:lnTo>
                      <a:pt x="185" y="560"/>
                    </a:lnTo>
                    <a:close/>
                    <a:moveTo>
                      <a:pt x="384" y="360"/>
                    </a:moveTo>
                    <a:cubicBezTo>
                      <a:pt x="384" y="560"/>
                      <a:pt x="384" y="560"/>
                      <a:pt x="384" y="560"/>
                    </a:cubicBezTo>
                    <a:cubicBezTo>
                      <a:pt x="584" y="560"/>
                      <a:pt x="584" y="560"/>
                      <a:pt x="584" y="560"/>
                    </a:cubicBezTo>
                    <a:cubicBezTo>
                      <a:pt x="584" y="360"/>
                      <a:pt x="584" y="360"/>
                      <a:pt x="584" y="360"/>
                    </a:cubicBezTo>
                    <a:lnTo>
                      <a:pt x="384" y="360"/>
                    </a:lnTo>
                    <a:close/>
                    <a:moveTo>
                      <a:pt x="704" y="360"/>
                    </a:moveTo>
                    <a:cubicBezTo>
                      <a:pt x="704" y="560"/>
                      <a:pt x="704" y="560"/>
                      <a:pt x="704" y="560"/>
                    </a:cubicBezTo>
                    <a:cubicBezTo>
                      <a:pt x="904" y="560"/>
                      <a:pt x="904" y="560"/>
                      <a:pt x="904" y="560"/>
                    </a:cubicBezTo>
                    <a:cubicBezTo>
                      <a:pt x="904" y="360"/>
                      <a:pt x="904" y="360"/>
                      <a:pt x="904" y="360"/>
                    </a:cubicBezTo>
                    <a:lnTo>
                      <a:pt x="704" y="360"/>
                    </a:lnTo>
                    <a:close/>
                    <a:moveTo>
                      <a:pt x="1024" y="680"/>
                    </a:moveTo>
                    <a:cubicBezTo>
                      <a:pt x="1024" y="880"/>
                      <a:pt x="1024" y="880"/>
                      <a:pt x="1024" y="880"/>
                    </a:cubicBezTo>
                    <a:cubicBezTo>
                      <a:pt x="1224" y="880"/>
                      <a:pt x="1224" y="880"/>
                      <a:pt x="1224" y="880"/>
                    </a:cubicBezTo>
                    <a:cubicBezTo>
                      <a:pt x="1224" y="680"/>
                      <a:pt x="1224" y="680"/>
                      <a:pt x="1224" y="680"/>
                    </a:cubicBezTo>
                    <a:lnTo>
                      <a:pt x="1024" y="680"/>
                    </a:lnTo>
                    <a:close/>
                    <a:moveTo>
                      <a:pt x="904" y="880"/>
                    </a:moveTo>
                    <a:cubicBezTo>
                      <a:pt x="904" y="680"/>
                      <a:pt x="904" y="680"/>
                      <a:pt x="904" y="680"/>
                    </a:cubicBezTo>
                    <a:cubicBezTo>
                      <a:pt x="704" y="680"/>
                      <a:pt x="704" y="680"/>
                      <a:pt x="704" y="680"/>
                    </a:cubicBezTo>
                    <a:cubicBezTo>
                      <a:pt x="704" y="880"/>
                      <a:pt x="704" y="880"/>
                      <a:pt x="704" y="880"/>
                    </a:cubicBezTo>
                    <a:lnTo>
                      <a:pt x="904" y="880"/>
                    </a:lnTo>
                    <a:close/>
                    <a:moveTo>
                      <a:pt x="384" y="880"/>
                    </a:moveTo>
                    <a:cubicBezTo>
                      <a:pt x="584" y="880"/>
                      <a:pt x="584" y="880"/>
                      <a:pt x="584" y="880"/>
                    </a:cubicBezTo>
                    <a:cubicBezTo>
                      <a:pt x="584" y="680"/>
                      <a:pt x="584" y="680"/>
                      <a:pt x="584" y="680"/>
                    </a:cubicBezTo>
                    <a:cubicBezTo>
                      <a:pt x="384" y="680"/>
                      <a:pt x="384" y="680"/>
                      <a:pt x="384" y="680"/>
                    </a:cubicBezTo>
                    <a:lnTo>
                      <a:pt x="384" y="880"/>
                    </a:lnTo>
                    <a:close/>
                  </a:path>
                </a:pathLst>
              </a:custGeom>
              <a:grpFill/>
              <a:ln>
                <a:noFill/>
              </a:ln>
            </p:spPr>
            <p:txBody>
              <a:bodyPr vert="horz" wrap="square" lIns="121920" tIns="60960" rIns="121920" bIns="60960" numCol="1" anchor="t" anchorCtr="0" compatLnSpc="1">
                <a:prstTxWarp prst="textNoShape">
                  <a:avLst/>
                </a:prstTxWarp>
              </a:bodyPr>
              <a:lstStyle/>
              <a:p>
                <a:endParaRPr lang="en-US" sz="1333" dirty="0"/>
              </a:p>
            </p:txBody>
          </p:sp>
        </p:grpSp>
        <p:sp>
          <p:nvSpPr>
            <p:cNvPr id="10" name="Rectangle 9">
              <a:extLst>
                <a:ext uri="{FF2B5EF4-FFF2-40B4-BE49-F238E27FC236}">
                  <a16:creationId xmlns:a16="http://schemas.microsoft.com/office/drawing/2014/main" xmlns="" id="{99FA681E-91DC-46E7-AD15-D820A7FBF976}"/>
                </a:ext>
              </a:extLst>
            </p:cNvPr>
            <p:cNvSpPr/>
            <p:nvPr/>
          </p:nvSpPr>
          <p:spPr>
            <a:xfrm>
              <a:off x="2404533" y="4708804"/>
              <a:ext cx="8964922" cy="4469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nl-NL" sz="1600" dirty="0"/>
            </a:p>
          </p:txBody>
        </p:sp>
        <p:graphicFrame>
          <p:nvGraphicFramePr>
            <p:cNvPr id="64" name="Chart 63">
              <a:extLst>
                <a:ext uri="{FF2B5EF4-FFF2-40B4-BE49-F238E27FC236}">
                  <a16:creationId xmlns:a16="http://schemas.microsoft.com/office/drawing/2014/main" xmlns="" id="{C5202002-7405-4D3E-A2BD-2974C8F04610}"/>
                </a:ext>
              </a:extLst>
            </p:cNvPr>
            <p:cNvGraphicFramePr>
              <a:graphicFrameLocks/>
            </p:cNvGraphicFramePr>
            <p:nvPr>
              <p:extLst>
                <p:ext uri="{D42A27DB-BD31-4B8C-83A1-F6EECF244321}">
                  <p14:modId xmlns:p14="http://schemas.microsoft.com/office/powerpoint/2010/main" val="3062957674"/>
                </p:ext>
              </p:extLst>
            </p:nvPr>
          </p:nvGraphicFramePr>
          <p:xfrm>
            <a:off x="769397" y="2132175"/>
            <a:ext cx="8551448" cy="4405515"/>
          </p:xfrm>
          <a:graphic>
            <a:graphicData uri="http://schemas.openxmlformats.org/drawingml/2006/chart">
              <c:chart xmlns:c="http://schemas.openxmlformats.org/drawingml/2006/chart" xmlns:r="http://schemas.openxmlformats.org/officeDocument/2006/relationships" r:id="rId12"/>
            </a:graphicData>
          </a:graphic>
        </p:graphicFrame>
      </p:grpSp>
      <p:sp>
        <p:nvSpPr>
          <p:cNvPr id="17" name="Rectangle 16">
            <a:extLst>
              <a:ext uri="{FF2B5EF4-FFF2-40B4-BE49-F238E27FC236}">
                <a16:creationId xmlns:a16="http://schemas.microsoft.com/office/drawing/2014/main" xmlns="" id="{4172266E-490B-4B1F-942E-02509E6D4123}"/>
              </a:ext>
            </a:extLst>
          </p:cNvPr>
          <p:cNvSpPr/>
          <p:nvPr/>
        </p:nvSpPr>
        <p:spPr>
          <a:xfrm>
            <a:off x="1685925" y="2216200"/>
            <a:ext cx="7921641" cy="30120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nl-NL" sz="1600" dirty="0"/>
          </a:p>
        </p:txBody>
      </p:sp>
      <p:grpSp>
        <p:nvGrpSpPr>
          <p:cNvPr id="19" name="Group 18">
            <a:extLst>
              <a:ext uri="{FF2B5EF4-FFF2-40B4-BE49-F238E27FC236}">
                <a16:creationId xmlns:a16="http://schemas.microsoft.com/office/drawing/2014/main" xmlns="" id="{74B2E8C5-3797-496E-B06C-CFF9A8BECFE7}"/>
              </a:ext>
            </a:extLst>
          </p:cNvPr>
          <p:cNvGrpSpPr/>
          <p:nvPr/>
        </p:nvGrpSpPr>
        <p:grpSpPr>
          <a:xfrm>
            <a:off x="850803" y="2067457"/>
            <a:ext cx="10246175" cy="2708360"/>
            <a:chOff x="850803" y="2067457"/>
            <a:chExt cx="10246175" cy="2708360"/>
          </a:xfrm>
        </p:grpSpPr>
        <p:grpSp>
          <p:nvGrpSpPr>
            <p:cNvPr id="27" name="Group 40">
              <a:extLst>
                <a:ext uri="{FF2B5EF4-FFF2-40B4-BE49-F238E27FC236}">
                  <a16:creationId xmlns:a16="http://schemas.microsoft.com/office/drawing/2014/main" xmlns="" id="{E07EA82D-14FB-4D75-86EC-5417BD177E21}"/>
                </a:ext>
              </a:extLst>
            </p:cNvPr>
            <p:cNvGrpSpPr>
              <a:grpSpLocks noChangeAspect="1"/>
            </p:cNvGrpSpPr>
            <p:nvPr>
              <p:custDataLst>
                <p:tags r:id="rId1"/>
              </p:custDataLst>
            </p:nvPr>
          </p:nvGrpSpPr>
          <p:grpSpPr bwMode="auto">
            <a:xfrm>
              <a:off x="9776884" y="2635329"/>
              <a:ext cx="553639" cy="288000"/>
              <a:chOff x="417" y="879"/>
              <a:chExt cx="4927" cy="2563"/>
            </a:xfrm>
            <a:solidFill>
              <a:schemeClr val="accent1">
                <a:lumMod val="60000"/>
                <a:lumOff val="40000"/>
              </a:schemeClr>
            </a:solidFill>
          </p:grpSpPr>
          <p:sp>
            <p:nvSpPr>
              <p:cNvPr id="29" name="Freeform 41">
                <a:extLst>
                  <a:ext uri="{FF2B5EF4-FFF2-40B4-BE49-F238E27FC236}">
                    <a16:creationId xmlns:a16="http://schemas.microsoft.com/office/drawing/2014/main" xmlns="" id="{DF2E4F7D-F252-417E-A18D-334FB2497EDA}"/>
                  </a:ext>
                </a:extLst>
              </p:cNvPr>
              <p:cNvSpPr>
                <a:spLocks noEditPoints="1"/>
              </p:cNvSpPr>
              <p:nvPr/>
            </p:nvSpPr>
            <p:spPr bwMode="auto">
              <a:xfrm>
                <a:off x="417" y="1684"/>
                <a:ext cx="4927" cy="1758"/>
              </a:xfrm>
              <a:custGeom>
                <a:avLst/>
                <a:gdLst>
                  <a:gd name="T0" fmla="*/ 1949 w 2086"/>
                  <a:gd name="T1" fmla="*/ 115 h 744"/>
                  <a:gd name="T2" fmla="*/ 1416 w 2086"/>
                  <a:gd name="T3" fmla="*/ 0 h 744"/>
                  <a:gd name="T4" fmla="*/ 1160 w 2086"/>
                  <a:gd name="T5" fmla="*/ 87 h 744"/>
                  <a:gd name="T6" fmla="*/ 983 w 2086"/>
                  <a:gd name="T7" fmla="*/ 112 h 744"/>
                  <a:gd name="T8" fmla="*/ 880 w 2086"/>
                  <a:gd name="T9" fmla="*/ 49 h 744"/>
                  <a:gd name="T10" fmla="*/ 418 w 2086"/>
                  <a:gd name="T11" fmla="*/ 0 h 744"/>
                  <a:gd name="T12" fmla="*/ 248 w 2086"/>
                  <a:gd name="T13" fmla="*/ 0 h 744"/>
                  <a:gd name="T14" fmla="*/ 45 w 2086"/>
                  <a:gd name="T15" fmla="*/ 0 h 744"/>
                  <a:gd name="T16" fmla="*/ 0 w 2086"/>
                  <a:gd name="T17" fmla="*/ 225 h 744"/>
                  <a:gd name="T18" fmla="*/ 78 w 2086"/>
                  <a:gd name="T19" fmla="*/ 271 h 744"/>
                  <a:gd name="T20" fmla="*/ 151 w 2086"/>
                  <a:gd name="T21" fmla="*/ 555 h 744"/>
                  <a:gd name="T22" fmla="*/ 634 w 2086"/>
                  <a:gd name="T23" fmla="*/ 744 h 744"/>
                  <a:gd name="T24" fmla="*/ 891 w 2086"/>
                  <a:gd name="T25" fmla="*/ 526 h 744"/>
                  <a:gd name="T26" fmla="*/ 1011 w 2086"/>
                  <a:gd name="T27" fmla="*/ 372 h 744"/>
                  <a:gd name="T28" fmla="*/ 1144 w 2086"/>
                  <a:gd name="T29" fmla="*/ 415 h 744"/>
                  <a:gd name="T30" fmla="*/ 1293 w 2086"/>
                  <a:gd name="T31" fmla="*/ 677 h 744"/>
                  <a:gd name="T32" fmla="*/ 1713 w 2086"/>
                  <a:gd name="T33" fmla="*/ 744 h 744"/>
                  <a:gd name="T34" fmla="*/ 1972 w 2086"/>
                  <a:gd name="T35" fmla="*/ 323 h 744"/>
                  <a:gd name="T36" fmla="*/ 2086 w 2086"/>
                  <a:gd name="T37" fmla="*/ 261 h 744"/>
                  <a:gd name="T38" fmla="*/ 2011 w 2086"/>
                  <a:gd name="T39" fmla="*/ 149 h 744"/>
                  <a:gd name="T40" fmla="*/ 174 w 2086"/>
                  <a:gd name="T41" fmla="*/ 135 h 744"/>
                  <a:gd name="T42" fmla="*/ 72 w 2086"/>
                  <a:gd name="T43" fmla="*/ 135 h 744"/>
                  <a:gd name="T44" fmla="*/ 857 w 2086"/>
                  <a:gd name="T45" fmla="*/ 336 h 744"/>
                  <a:gd name="T46" fmla="*/ 715 w 2086"/>
                  <a:gd name="T47" fmla="*/ 598 h 744"/>
                  <a:gd name="T48" fmla="*/ 374 w 2086"/>
                  <a:gd name="T49" fmla="*/ 633 h 744"/>
                  <a:gd name="T50" fmla="*/ 225 w 2086"/>
                  <a:gd name="T51" fmla="*/ 308 h 744"/>
                  <a:gd name="T52" fmla="*/ 248 w 2086"/>
                  <a:gd name="T53" fmla="*/ 271 h 744"/>
                  <a:gd name="T54" fmla="*/ 463 w 2086"/>
                  <a:gd name="T55" fmla="*/ 225 h 744"/>
                  <a:gd name="T56" fmla="*/ 671 w 2086"/>
                  <a:gd name="T57" fmla="*/ 112 h 744"/>
                  <a:gd name="T58" fmla="*/ 857 w 2086"/>
                  <a:gd name="T59" fmla="*/ 195 h 744"/>
                  <a:gd name="T60" fmla="*/ 1862 w 2086"/>
                  <a:gd name="T61" fmla="*/ 308 h 744"/>
                  <a:gd name="T62" fmla="*/ 1713 w 2086"/>
                  <a:gd name="T63" fmla="*/ 633 h 744"/>
                  <a:gd name="T64" fmla="*/ 1372 w 2086"/>
                  <a:gd name="T65" fmla="*/ 598 h 744"/>
                  <a:gd name="T66" fmla="*/ 1230 w 2086"/>
                  <a:gd name="T67" fmla="*/ 336 h 744"/>
                  <a:gd name="T68" fmla="*/ 1265 w 2086"/>
                  <a:gd name="T69" fmla="*/ 144 h 744"/>
                  <a:gd name="T70" fmla="*/ 1713 w 2086"/>
                  <a:gd name="T71" fmla="*/ 112 h 744"/>
                  <a:gd name="T72" fmla="*/ 1862 w 2086"/>
                  <a:gd name="T73" fmla="*/ 308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86" h="744">
                    <a:moveTo>
                      <a:pt x="2011" y="149"/>
                    </a:moveTo>
                    <a:cubicBezTo>
                      <a:pt x="1986" y="149"/>
                      <a:pt x="1963" y="137"/>
                      <a:pt x="1949" y="115"/>
                    </a:cubicBezTo>
                    <a:cubicBezTo>
                      <a:pt x="1902" y="44"/>
                      <a:pt x="1796" y="0"/>
                      <a:pt x="1713" y="0"/>
                    </a:cubicBezTo>
                    <a:cubicBezTo>
                      <a:pt x="1416" y="0"/>
                      <a:pt x="1416" y="0"/>
                      <a:pt x="1416" y="0"/>
                    </a:cubicBezTo>
                    <a:cubicBezTo>
                      <a:pt x="1333" y="0"/>
                      <a:pt x="1259" y="17"/>
                      <a:pt x="1207" y="49"/>
                    </a:cubicBezTo>
                    <a:cubicBezTo>
                      <a:pt x="1188" y="60"/>
                      <a:pt x="1173" y="73"/>
                      <a:pt x="1160" y="87"/>
                    </a:cubicBezTo>
                    <a:cubicBezTo>
                      <a:pt x="1145" y="104"/>
                      <a:pt x="1126" y="112"/>
                      <a:pt x="1104" y="112"/>
                    </a:cubicBezTo>
                    <a:cubicBezTo>
                      <a:pt x="983" y="112"/>
                      <a:pt x="983" y="112"/>
                      <a:pt x="983" y="112"/>
                    </a:cubicBezTo>
                    <a:cubicBezTo>
                      <a:pt x="961" y="112"/>
                      <a:pt x="942" y="104"/>
                      <a:pt x="927" y="87"/>
                    </a:cubicBezTo>
                    <a:cubicBezTo>
                      <a:pt x="914" y="73"/>
                      <a:pt x="899" y="60"/>
                      <a:pt x="880" y="49"/>
                    </a:cubicBezTo>
                    <a:cubicBezTo>
                      <a:pt x="828" y="17"/>
                      <a:pt x="754" y="0"/>
                      <a:pt x="671" y="0"/>
                    </a:cubicBezTo>
                    <a:cubicBezTo>
                      <a:pt x="418" y="0"/>
                      <a:pt x="418" y="0"/>
                      <a:pt x="418" y="0"/>
                    </a:cubicBezTo>
                    <a:cubicBezTo>
                      <a:pt x="374" y="0"/>
                      <a:pt x="374" y="0"/>
                      <a:pt x="374" y="0"/>
                    </a:cubicBezTo>
                    <a:cubicBezTo>
                      <a:pt x="248" y="0"/>
                      <a:pt x="248" y="0"/>
                      <a:pt x="248" y="0"/>
                    </a:cubicBezTo>
                    <a:cubicBezTo>
                      <a:pt x="215" y="0"/>
                      <a:pt x="215" y="0"/>
                      <a:pt x="215" y="0"/>
                    </a:cubicBezTo>
                    <a:cubicBezTo>
                      <a:pt x="45" y="0"/>
                      <a:pt x="45" y="0"/>
                      <a:pt x="45" y="0"/>
                    </a:cubicBezTo>
                    <a:cubicBezTo>
                      <a:pt x="20" y="0"/>
                      <a:pt x="0" y="20"/>
                      <a:pt x="0" y="45"/>
                    </a:cubicBezTo>
                    <a:cubicBezTo>
                      <a:pt x="0" y="225"/>
                      <a:pt x="0" y="225"/>
                      <a:pt x="0" y="225"/>
                    </a:cubicBezTo>
                    <a:cubicBezTo>
                      <a:pt x="0" y="250"/>
                      <a:pt x="20" y="271"/>
                      <a:pt x="45" y="271"/>
                    </a:cubicBezTo>
                    <a:cubicBezTo>
                      <a:pt x="78" y="271"/>
                      <a:pt x="78" y="271"/>
                      <a:pt x="78" y="271"/>
                    </a:cubicBezTo>
                    <a:cubicBezTo>
                      <a:pt x="97" y="281"/>
                      <a:pt x="111" y="300"/>
                      <a:pt x="115" y="323"/>
                    </a:cubicBezTo>
                    <a:cubicBezTo>
                      <a:pt x="151" y="555"/>
                      <a:pt x="151" y="555"/>
                      <a:pt x="151" y="555"/>
                    </a:cubicBezTo>
                    <a:cubicBezTo>
                      <a:pt x="165" y="643"/>
                      <a:pt x="287" y="744"/>
                      <a:pt x="374" y="744"/>
                    </a:cubicBezTo>
                    <a:cubicBezTo>
                      <a:pt x="634" y="744"/>
                      <a:pt x="634" y="744"/>
                      <a:pt x="634" y="744"/>
                    </a:cubicBezTo>
                    <a:cubicBezTo>
                      <a:pt x="701" y="744"/>
                      <a:pt x="752" y="719"/>
                      <a:pt x="794" y="677"/>
                    </a:cubicBezTo>
                    <a:cubicBezTo>
                      <a:pt x="833" y="638"/>
                      <a:pt x="863" y="585"/>
                      <a:pt x="891" y="526"/>
                    </a:cubicBezTo>
                    <a:cubicBezTo>
                      <a:pt x="943" y="415"/>
                      <a:pt x="943" y="415"/>
                      <a:pt x="943" y="415"/>
                    </a:cubicBezTo>
                    <a:cubicBezTo>
                      <a:pt x="956" y="388"/>
                      <a:pt x="981" y="372"/>
                      <a:pt x="1011" y="372"/>
                    </a:cubicBezTo>
                    <a:cubicBezTo>
                      <a:pt x="1076" y="372"/>
                      <a:pt x="1076" y="372"/>
                      <a:pt x="1076" y="372"/>
                    </a:cubicBezTo>
                    <a:cubicBezTo>
                      <a:pt x="1106" y="372"/>
                      <a:pt x="1131" y="388"/>
                      <a:pt x="1144" y="415"/>
                    </a:cubicBezTo>
                    <a:cubicBezTo>
                      <a:pt x="1196" y="526"/>
                      <a:pt x="1196" y="526"/>
                      <a:pt x="1196" y="526"/>
                    </a:cubicBezTo>
                    <a:cubicBezTo>
                      <a:pt x="1224" y="585"/>
                      <a:pt x="1254" y="638"/>
                      <a:pt x="1293" y="677"/>
                    </a:cubicBezTo>
                    <a:cubicBezTo>
                      <a:pt x="1335" y="719"/>
                      <a:pt x="1386" y="744"/>
                      <a:pt x="1453" y="744"/>
                    </a:cubicBezTo>
                    <a:cubicBezTo>
                      <a:pt x="1713" y="744"/>
                      <a:pt x="1713" y="744"/>
                      <a:pt x="1713" y="744"/>
                    </a:cubicBezTo>
                    <a:cubicBezTo>
                      <a:pt x="1800" y="744"/>
                      <a:pt x="1922" y="643"/>
                      <a:pt x="1936" y="555"/>
                    </a:cubicBezTo>
                    <a:cubicBezTo>
                      <a:pt x="1972" y="323"/>
                      <a:pt x="1972" y="323"/>
                      <a:pt x="1972" y="323"/>
                    </a:cubicBezTo>
                    <a:cubicBezTo>
                      <a:pt x="1978" y="287"/>
                      <a:pt x="2009" y="261"/>
                      <a:pt x="2046" y="261"/>
                    </a:cubicBezTo>
                    <a:cubicBezTo>
                      <a:pt x="2086" y="261"/>
                      <a:pt x="2086" y="261"/>
                      <a:pt x="2086" y="261"/>
                    </a:cubicBezTo>
                    <a:cubicBezTo>
                      <a:pt x="2086" y="149"/>
                      <a:pt x="2086" y="149"/>
                      <a:pt x="2086" y="149"/>
                    </a:cubicBezTo>
                    <a:cubicBezTo>
                      <a:pt x="2011" y="149"/>
                      <a:pt x="2011" y="149"/>
                      <a:pt x="2011" y="149"/>
                    </a:cubicBezTo>
                    <a:close/>
                    <a:moveTo>
                      <a:pt x="123" y="85"/>
                    </a:moveTo>
                    <a:cubicBezTo>
                      <a:pt x="151" y="85"/>
                      <a:pt x="174" y="107"/>
                      <a:pt x="174" y="135"/>
                    </a:cubicBezTo>
                    <a:cubicBezTo>
                      <a:pt x="174" y="163"/>
                      <a:pt x="151" y="186"/>
                      <a:pt x="123" y="186"/>
                    </a:cubicBezTo>
                    <a:cubicBezTo>
                      <a:pt x="95" y="186"/>
                      <a:pt x="72" y="163"/>
                      <a:pt x="72" y="135"/>
                    </a:cubicBezTo>
                    <a:cubicBezTo>
                      <a:pt x="72" y="107"/>
                      <a:pt x="95" y="85"/>
                      <a:pt x="123" y="85"/>
                    </a:cubicBezTo>
                    <a:close/>
                    <a:moveTo>
                      <a:pt x="857" y="336"/>
                    </a:moveTo>
                    <a:cubicBezTo>
                      <a:pt x="790" y="478"/>
                      <a:pt x="790" y="478"/>
                      <a:pt x="790" y="478"/>
                    </a:cubicBezTo>
                    <a:cubicBezTo>
                      <a:pt x="771" y="518"/>
                      <a:pt x="747" y="566"/>
                      <a:pt x="715" y="598"/>
                    </a:cubicBezTo>
                    <a:cubicBezTo>
                      <a:pt x="692" y="621"/>
                      <a:pt x="667" y="633"/>
                      <a:pt x="634" y="633"/>
                    </a:cubicBezTo>
                    <a:cubicBezTo>
                      <a:pt x="374" y="633"/>
                      <a:pt x="374" y="633"/>
                      <a:pt x="374" y="633"/>
                    </a:cubicBezTo>
                    <a:cubicBezTo>
                      <a:pt x="342" y="633"/>
                      <a:pt x="266" y="571"/>
                      <a:pt x="261" y="538"/>
                    </a:cubicBezTo>
                    <a:cubicBezTo>
                      <a:pt x="225" y="308"/>
                      <a:pt x="225" y="308"/>
                      <a:pt x="225" y="308"/>
                    </a:cubicBezTo>
                    <a:cubicBezTo>
                      <a:pt x="225" y="271"/>
                      <a:pt x="225" y="271"/>
                      <a:pt x="225" y="271"/>
                    </a:cubicBezTo>
                    <a:cubicBezTo>
                      <a:pt x="248" y="271"/>
                      <a:pt x="248" y="271"/>
                      <a:pt x="248" y="271"/>
                    </a:cubicBezTo>
                    <a:cubicBezTo>
                      <a:pt x="418" y="271"/>
                      <a:pt x="418" y="271"/>
                      <a:pt x="418" y="271"/>
                    </a:cubicBezTo>
                    <a:cubicBezTo>
                      <a:pt x="442" y="271"/>
                      <a:pt x="463" y="250"/>
                      <a:pt x="463" y="225"/>
                    </a:cubicBezTo>
                    <a:cubicBezTo>
                      <a:pt x="463" y="112"/>
                      <a:pt x="463" y="112"/>
                      <a:pt x="463" y="112"/>
                    </a:cubicBezTo>
                    <a:cubicBezTo>
                      <a:pt x="671" y="112"/>
                      <a:pt x="671" y="112"/>
                      <a:pt x="671" y="112"/>
                    </a:cubicBezTo>
                    <a:cubicBezTo>
                      <a:pt x="720" y="112"/>
                      <a:pt x="780" y="119"/>
                      <a:pt x="823" y="144"/>
                    </a:cubicBezTo>
                    <a:cubicBezTo>
                      <a:pt x="841" y="156"/>
                      <a:pt x="857" y="172"/>
                      <a:pt x="857" y="195"/>
                    </a:cubicBezTo>
                    <a:cubicBezTo>
                      <a:pt x="857" y="336"/>
                      <a:pt x="857" y="336"/>
                      <a:pt x="857" y="336"/>
                    </a:cubicBezTo>
                    <a:close/>
                    <a:moveTo>
                      <a:pt x="1862" y="308"/>
                    </a:moveTo>
                    <a:cubicBezTo>
                      <a:pt x="1826" y="538"/>
                      <a:pt x="1826" y="538"/>
                      <a:pt x="1826" y="538"/>
                    </a:cubicBezTo>
                    <a:cubicBezTo>
                      <a:pt x="1821" y="571"/>
                      <a:pt x="1745" y="633"/>
                      <a:pt x="1713" y="633"/>
                    </a:cubicBezTo>
                    <a:cubicBezTo>
                      <a:pt x="1453" y="633"/>
                      <a:pt x="1453" y="633"/>
                      <a:pt x="1453" y="633"/>
                    </a:cubicBezTo>
                    <a:cubicBezTo>
                      <a:pt x="1420" y="633"/>
                      <a:pt x="1395" y="621"/>
                      <a:pt x="1372" y="598"/>
                    </a:cubicBezTo>
                    <a:cubicBezTo>
                      <a:pt x="1340" y="566"/>
                      <a:pt x="1316" y="518"/>
                      <a:pt x="1297" y="478"/>
                    </a:cubicBezTo>
                    <a:cubicBezTo>
                      <a:pt x="1230" y="336"/>
                      <a:pt x="1230" y="336"/>
                      <a:pt x="1230" y="336"/>
                    </a:cubicBezTo>
                    <a:cubicBezTo>
                      <a:pt x="1230" y="195"/>
                      <a:pt x="1230" y="195"/>
                      <a:pt x="1230" y="195"/>
                    </a:cubicBezTo>
                    <a:cubicBezTo>
                      <a:pt x="1230" y="172"/>
                      <a:pt x="1246" y="156"/>
                      <a:pt x="1265" y="144"/>
                    </a:cubicBezTo>
                    <a:cubicBezTo>
                      <a:pt x="1307" y="119"/>
                      <a:pt x="1367" y="112"/>
                      <a:pt x="1416" y="112"/>
                    </a:cubicBezTo>
                    <a:cubicBezTo>
                      <a:pt x="1713" y="112"/>
                      <a:pt x="1713" y="112"/>
                      <a:pt x="1713" y="112"/>
                    </a:cubicBezTo>
                    <a:cubicBezTo>
                      <a:pt x="1751" y="112"/>
                      <a:pt x="1862" y="145"/>
                      <a:pt x="1862" y="195"/>
                    </a:cubicBezTo>
                    <a:cubicBezTo>
                      <a:pt x="1862" y="308"/>
                      <a:pt x="1862" y="308"/>
                      <a:pt x="1862" y="30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42">
                <a:extLst>
                  <a:ext uri="{FF2B5EF4-FFF2-40B4-BE49-F238E27FC236}">
                    <a16:creationId xmlns:a16="http://schemas.microsoft.com/office/drawing/2014/main" xmlns="" id="{F7EE6D96-C568-4A57-99F4-06A1AE91D530}"/>
                  </a:ext>
                </a:extLst>
              </p:cNvPr>
              <p:cNvSpPr>
                <a:spLocks/>
              </p:cNvSpPr>
              <p:nvPr/>
            </p:nvSpPr>
            <p:spPr bwMode="auto">
              <a:xfrm>
                <a:off x="698" y="1273"/>
                <a:ext cx="449" cy="159"/>
              </a:xfrm>
              <a:custGeom>
                <a:avLst/>
                <a:gdLst>
                  <a:gd name="T0" fmla="*/ 0 w 190"/>
                  <a:gd name="T1" fmla="*/ 44 h 67"/>
                  <a:gd name="T2" fmla="*/ 27 w 190"/>
                  <a:gd name="T3" fmla="*/ 67 h 67"/>
                  <a:gd name="T4" fmla="*/ 95 w 190"/>
                  <a:gd name="T5" fmla="*/ 36 h 67"/>
                  <a:gd name="T6" fmla="*/ 163 w 190"/>
                  <a:gd name="T7" fmla="*/ 67 h 67"/>
                  <a:gd name="T8" fmla="*/ 190 w 190"/>
                  <a:gd name="T9" fmla="*/ 44 h 67"/>
                  <a:gd name="T10" fmla="*/ 95 w 190"/>
                  <a:gd name="T11" fmla="*/ 0 h 67"/>
                  <a:gd name="T12" fmla="*/ 0 w 190"/>
                  <a:gd name="T13" fmla="*/ 44 h 67"/>
                </a:gdLst>
                <a:ahLst/>
                <a:cxnLst>
                  <a:cxn ang="0">
                    <a:pos x="T0" y="T1"/>
                  </a:cxn>
                  <a:cxn ang="0">
                    <a:pos x="T2" y="T3"/>
                  </a:cxn>
                  <a:cxn ang="0">
                    <a:pos x="T4" y="T5"/>
                  </a:cxn>
                  <a:cxn ang="0">
                    <a:pos x="T6" y="T7"/>
                  </a:cxn>
                  <a:cxn ang="0">
                    <a:pos x="T8" y="T9"/>
                  </a:cxn>
                  <a:cxn ang="0">
                    <a:pos x="T10" y="T11"/>
                  </a:cxn>
                  <a:cxn ang="0">
                    <a:pos x="T12" y="T13"/>
                  </a:cxn>
                </a:cxnLst>
                <a:rect l="0" t="0" r="r" b="b"/>
                <a:pathLst>
                  <a:path w="190" h="67">
                    <a:moveTo>
                      <a:pt x="0" y="44"/>
                    </a:moveTo>
                    <a:cubicBezTo>
                      <a:pt x="27" y="67"/>
                      <a:pt x="27" y="67"/>
                      <a:pt x="27" y="67"/>
                    </a:cubicBezTo>
                    <a:cubicBezTo>
                      <a:pt x="44" y="47"/>
                      <a:pt x="69" y="36"/>
                      <a:pt x="95" y="36"/>
                    </a:cubicBezTo>
                    <a:cubicBezTo>
                      <a:pt x="121" y="36"/>
                      <a:pt x="146" y="47"/>
                      <a:pt x="163" y="67"/>
                    </a:cubicBezTo>
                    <a:cubicBezTo>
                      <a:pt x="190" y="44"/>
                      <a:pt x="190" y="44"/>
                      <a:pt x="190" y="44"/>
                    </a:cubicBezTo>
                    <a:cubicBezTo>
                      <a:pt x="166" y="16"/>
                      <a:pt x="132" y="0"/>
                      <a:pt x="95" y="0"/>
                    </a:cubicBezTo>
                    <a:cubicBezTo>
                      <a:pt x="58" y="0"/>
                      <a:pt x="24" y="16"/>
                      <a:pt x="0" y="4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43">
                <a:extLst>
                  <a:ext uri="{FF2B5EF4-FFF2-40B4-BE49-F238E27FC236}">
                    <a16:creationId xmlns:a16="http://schemas.microsoft.com/office/drawing/2014/main" xmlns="" id="{4629EA12-9CEF-4186-BCCF-FC539CF85732}"/>
                  </a:ext>
                </a:extLst>
              </p:cNvPr>
              <p:cNvSpPr>
                <a:spLocks/>
              </p:cNvSpPr>
              <p:nvPr/>
            </p:nvSpPr>
            <p:spPr bwMode="auto">
              <a:xfrm>
                <a:off x="559" y="1075"/>
                <a:ext cx="727" cy="217"/>
              </a:xfrm>
              <a:custGeom>
                <a:avLst/>
                <a:gdLst>
                  <a:gd name="T0" fmla="*/ 281 w 308"/>
                  <a:gd name="T1" fmla="*/ 92 h 92"/>
                  <a:gd name="T2" fmla="*/ 308 w 308"/>
                  <a:gd name="T3" fmla="*/ 68 h 92"/>
                  <a:gd name="T4" fmla="*/ 154 w 308"/>
                  <a:gd name="T5" fmla="*/ 0 h 92"/>
                  <a:gd name="T6" fmla="*/ 0 w 308"/>
                  <a:gd name="T7" fmla="*/ 68 h 92"/>
                  <a:gd name="T8" fmla="*/ 27 w 308"/>
                  <a:gd name="T9" fmla="*/ 92 h 92"/>
                  <a:gd name="T10" fmla="*/ 154 w 308"/>
                  <a:gd name="T11" fmla="*/ 36 h 92"/>
                  <a:gd name="T12" fmla="*/ 281 w 308"/>
                  <a:gd name="T13" fmla="*/ 92 h 92"/>
                </a:gdLst>
                <a:ahLst/>
                <a:cxnLst>
                  <a:cxn ang="0">
                    <a:pos x="T0" y="T1"/>
                  </a:cxn>
                  <a:cxn ang="0">
                    <a:pos x="T2" y="T3"/>
                  </a:cxn>
                  <a:cxn ang="0">
                    <a:pos x="T4" y="T5"/>
                  </a:cxn>
                  <a:cxn ang="0">
                    <a:pos x="T6" y="T7"/>
                  </a:cxn>
                  <a:cxn ang="0">
                    <a:pos x="T8" y="T9"/>
                  </a:cxn>
                  <a:cxn ang="0">
                    <a:pos x="T10" y="T11"/>
                  </a:cxn>
                  <a:cxn ang="0">
                    <a:pos x="T12" y="T13"/>
                  </a:cxn>
                </a:cxnLst>
                <a:rect l="0" t="0" r="r" b="b"/>
                <a:pathLst>
                  <a:path w="308" h="92">
                    <a:moveTo>
                      <a:pt x="281" y="92"/>
                    </a:moveTo>
                    <a:cubicBezTo>
                      <a:pt x="308" y="68"/>
                      <a:pt x="308" y="68"/>
                      <a:pt x="308" y="68"/>
                    </a:cubicBezTo>
                    <a:cubicBezTo>
                      <a:pt x="268" y="25"/>
                      <a:pt x="213" y="0"/>
                      <a:pt x="154" y="0"/>
                    </a:cubicBezTo>
                    <a:cubicBezTo>
                      <a:pt x="95" y="0"/>
                      <a:pt x="40" y="25"/>
                      <a:pt x="0" y="68"/>
                    </a:cubicBezTo>
                    <a:cubicBezTo>
                      <a:pt x="27" y="92"/>
                      <a:pt x="27" y="92"/>
                      <a:pt x="27" y="92"/>
                    </a:cubicBezTo>
                    <a:cubicBezTo>
                      <a:pt x="59" y="56"/>
                      <a:pt x="105" y="36"/>
                      <a:pt x="154" y="36"/>
                    </a:cubicBezTo>
                    <a:cubicBezTo>
                      <a:pt x="203" y="36"/>
                      <a:pt x="249" y="56"/>
                      <a:pt x="281" y="9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44">
                <a:extLst>
                  <a:ext uri="{FF2B5EF4-FFF2-40B4-BE49-F238E27FC236}">
                    <a16:creationId xmlns:a16="http://schemas.microsoft.com/office/drawing/2014/main" xmlns="" id="{7DBA87CB-3656-49D6-9AC9-7C9424B418DE}"/>
                  </a:ext>
                </a:extLst>
              </p:cNvPr>
              <p:cNvSpPr>
                <a:spLocks/>
              </p:cNvSpPr>
              <p:nvPr/>
            </p:nvSpPr>
            <p:spPr bwMode="auto">
              <a:xfrm>
                <a:off x="422" y="879"/>
                <a:ext cx="1004" cy="276"/>
              </a:xfrm>
              <a:custGeom>
                <a:avLst/>
                <a:gdLst>
                  <a:gd name="T0" fmla="*/ 212 w 425"/>
                  <a:gd name="T1" fmla="*/ 36 h 117"/>
                  <a:gd name="T2" fmla="*/ 399 w 425"/>
                  <a:gd name="T3" fmla="*/ 117 h 117"/>
                  <a:gd name="T4" fmla="*/ 425 w 425"/>
                  <a:gd name="T5" fmla="*/ 92 h 117"/>
                  <a:gd name="T6" fmla="*/ 212 w 425"/>
                  <a:gd name="T7" fmla="*/ 0 h 117"/>
                  <a:gd name="T8" fmla="*/ 0 w 425"/>
                  <a:gd name="T9" fmla="*/ 92 h 117"/>
                  <a:gd name="T10" fmla="*/ 26 w 425"/>
                  <a:gd name="T11" fmla="*/ 116 h 117"/>
                  <a:gd name="T12" fmla="*/ 212 w 425"/>
                  <a:gd name="T13" fmla="*/ 36 h 117"/>
                </a:gdLst>
                <a:ahLst/>
                <a:cxnLst>
                  <a:cxn ang="0">
                    <a:pos x="T0" y="T1"/>
                  </a:cxn>
                  <a:cxn ang="0">
                    <a:pos x="T2" y="T3"/>
                  </a:cxn>
                  <a:cxn ang="0">
                    <a:pos x="T4" y="T5"/>
                  </a:cxn>
                  <a:cxn ang="0">
                    <a:pos x="T6" y="T7"/>
                  </a:cxn>
                  <a:cxn ang="0">
                    <a:pos x="T8" y="T9"/>
                  </a:cxn>
                  <a:cxn ang="0">
                    <a:pos x="T10" y="T11"/>
                  </a:cxn>
                  <a:cxn ang="0">
                    <a:pos x="T12" y="T13"/>
                  </a:cxn>
                </a:cxnLst>
                <a:rect l="0" t="0" r="r" b="b"/>
                <a:pathLst>
                  <a:path w="425" h="117">
                    <a:moveTo>
                      <a:pt x="212" y="36"/>
                    </a:moveTo>
                    <a:cubicBezTo>
                      <a:pt x="283" y="36"/>
                      <a:pt x="350" y="65"/>
                      <a:pt x="399" y="117"/>
                    </a:cubicBezTo>
                    <a:cubicBezTo>
                      <a:pt x="425" y="92"/>
                      <a:pt x="425" y="92"/>
                      <a:pt x="425" y="92"/>
                    </a:cubicBezTo>
                    <a:cubicBezTo>
                      <a:pt x="369" y="33"/>
                      <a:pt x="293" y="0"/>
                      <a:pt x="212" y="0"/>
                    </a:cubicBezTo>
                    <a:cubicBezTo>
                      <a:pt x="131" y="0"/>
                      <a:pt x="55" y="33"/>
                      <a:pt x="0" y="92"/>
                    </a:cubicBezTo>
                    <a:cubicBezTo>
                      <a:pt x="26" y="116"/>
                      <a:pt x="26" y="116"/>
                      <a:pt x="26" y="116"/>
                    </a:cubicBezTo>
                    <a:cubicBezTo>
                      <a:pt x="74" y="65"/>
                      <a:pt x="141" y="36"/>
                      <a:pt x="212" y="3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13" name="Group 12">
              <a:extLst>
                <a:ext uri="{FF2B5EF4-FFF2-40B4-BE49-F238E27FC236}">
                  <a16:creationId xmlns:a16="http://schemas.microsoft.com/office/drawing/2014/main" xmlns="" id="{647F1D92-00B1-4826-8B86-5D79036BEB6F}"/>
                </a:ext>
              </a:extLst>
            </p:cNvPr>
            <p:cNvGrpSpPr>
              <a:grpSpLocks noChangeAspect="1"/>
            </p:cNvGrpSpPr>
            <p:nvPr/>
          </p:nvGrpSpPr>
          <p:grpSpPr>
            <a:xfrm>
              <a:off x="9907716" y="4017238"/>
              <a:ext cx="261996" cy="385676"/>
              <a:chOff x="2089044" y="773318"/>
              <a:chExt cx="269009" cy="396000"/>
            </a:xfrm>
            <a:solidFill>
              <a:schemeClr val="accent1">
                <a:lumMod val="60000"/>
                <a:lumOff val="40000"/>
              </a:schemeClr>
            </a:solidFill>
          </p:grpSpPr>
          <p:sp>
            <p:nvSpPr>
              <p:cNvPr id="52" name="Freeform 45">
                <a:extLst>
                  <a:ext uri="{FF2B5EF4-FFF2-40B4-BE49-F238E27FC236}">
                    <a16:creationId xmlns:a16="http://schemas.microsoft.com/office/drawing/2014/main" xmlns="" id="{72E4EB53-1D0C-411C-BE0F-7D910467AE4F}"/>
                  </a:ext>
                </a:extLst>
              </p:cNvPr>
              <p:cNvSpPr>
                <a:spLocks noChangeAspect="1" noEditPoints="1"/>
              </p:cNvSpPr>
              <p:nvPr>
                <p:custDataLst>
                  <p:tags r:id="rId5"/>
                </p:custDataLst>
              </p:nvPr>
            </p:nvSpPr>
            <p:spPr bwMode="gray">
              <a:xfrm>
                <a:off x="2089044" y="773318"/>
                <a:ext cx="269009" cy="396000"/>
              </a:xfrm>
              <a:custGeom>
                <a:avLst/>
                <a:gdLst>
                  <a:gd name="T0" fmla="*/ 600 w 1440"/>
                  <a:gd name="T1" fmla="*/ 240 h 2120"/>
                  <a:gd name="T2" fmla="*/ 840 w 1440"/>
                  <a:gd name="T3" fmla="*/ 240 h 2120"/>
                  <a:gd name="T4" fmla="*/ 880 w 1440"/>
                  <a:gd name="T5" fmla="*/ 200 h 2120"/>
                  <a:gd name="T6" fmla="*/ 840 w 1440"/>
                  <a:gd name="T7" fmla="*/ 160 h 2120"/>
                  <a:gd name="T8" fmla="*/ 600 w 1440"/>
                  <a:gd name="T9" fmla="*/ 160 h 2120"/>
                  <a:gd name="T10" fmla="*/ 560 w 1440"/>
                  <a:gd name="T11" fmla="*/ 200 h 2120"/>
                  <a:gd name="T12" fmla="*/ 600 w 1440"/>
                  <a:gd name="T13" fmla="*/ 240 h 2120"/>
                  <a:gd name="T14" fmla="*/ 721 w 1440"/>
                  <a:gd name="T15" fmla="*/ 1759 h 2120"/>
                  <a:gd name="T16" fmla="*/ 601 w 1440"/>
                  <a:gd name="T17" fmla="*/ 1879 h 2120"/>
                  <a:gd name="T18" fmla="*/ 721 w 1440"/>
                  <a:gd name="T19" fmla="*/ 1999 h 2120"/>
                  <a:gd name="T20" fmla="*/ 841 w 1440"/>
                  <a:gd name="T21" fmla="*/ 1879 h 2120"/>
                  <a:gd name="T22" fmla="*/ 721 w 1440"/>
                  <a:gd name="T23" fmla="*/ 1759 h 2120"/>
                  <a:gd name="T24" fmla="*/ 200 w 1440"/>
                  <a:gd name="T25" fmla="*/ 0 h 2120"/>
                  <a:gd name="T26" fmla="*/ 1240 w 1440"/>
                  <a:gd name="T27" fmla="*/ 0 h 2120"/>
                  <a:gd name="T28" fmla="*/ 1440 w 1440"/>
                  <a:gd name="T29" fmla="*/ 200 h 2120"/>
                  <a:gd name="T30" fmla="*/ 1440 w 1440"/>
                  <a:gd name="T31" fmla="*/ 1920 h 2120"/>
                  <a:gd name="T32" fmla="*/ 1240 w 1440"/>
                  <a:gd name="T33" fmla="*/ 2120 h 2120"/>
                  <a:gd name="T34" fmla="*/ 200 w 1440"/>
                  <a:gd name="T35" fmla="*/ 2120 h 2120"/>
                  <a:gd name="T36" fmla="*/ 0 w 1440"/>
                  <a:gd name="T37" fmla="*/ 1920 h 2120"/>
                  <a:gd name="T38" fmla="*/ 0 w 1440"/>
                  <a:gd name="T39" fmla="*/ 200 h 2120"/>
                  <a:gd name="T40" fmla="*/ 200 w 1440"/>
                  <a:gd name="T41" fmla="*/ 0 h 2120"/>
                  <a:gd name="T42" fmla="*/ 200 w 1440"/>
                  <a:gd name="T43" fmla="*/ 360 h 2120"/>
                  <a:gd name="T44" fmla="*/ 200 w 1440"/>
                  <a:gd name="T45" fmla="*/ 1680 h 2120"/>
                  <a:gd name="T46" fmla="*/ 1240 w 1440"/>
                  <a:gd name="T47" fmla="*/ 1680 h 2120"/>
                  <a:gd name="T48" fmla="*/ 1240 w 1440"/>
                  <a:gd name="T49" fmla="*/ 360 h 2120"/>
                  <a:gd name="T50" fmla="*/ 200 w 1440"/>
                  <a:gd name="T51" fmla="*/ 360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0" h="2120">
                    <a:moveTo>
                      <a:pt x="600" y="240"/>
                    </a:moveTo>
                    <a:cubicBezTo>
                      <a:pt x="840" y="240"/>
                      <a:pt x="840" y="240"/>
                      <a:pt x="840" y="240"/>
                    </a:cubicBezTo>
                    <a:cubicBezTo>
                      <a:pt x="862" y="240"/>
                      <a:pt x="880" y="222"/>
                      <a:pt x="880" y="200"/>
                    </a:cubicBezTo>
                    <a:cubicBezTo>
                      <a:pt x="880" y="178"/>
                      <a:pt x="862" y="160"/>
                      <a:pt x="840" y="160"/>
                    </a:cubicBezTo>
                    <a:cubicBezTo>
                      <a:pt x="600" y="160"/>
                      <a:pt x="600" y="160"/>
                      <a:pt x="600" y="160"/>
                    </a:cubicBezTo>
                    <a:cubicBezTo>
                      <a:pt x="578" y="160"/>
                      <a:pt x="560" y="178"/>
                      <a:pt x="560" y="200"/>
                    </a:cubicBezTo>
                    <a:cubicBezTo>
                      <a:pt x="560" y="222"/>
                      <a:pt x="578" y="240"/>
                      <a:pt x="600" y="240"/>
                    </a:cubicBezTo>
                    <a:close/>
                    <a:moveTo>
                      <a:pt x="721" y="1759"/>
                    </a:moveTo>
                    <a:cubicBezTo>
                      <a:pt x="655" y="1759"/>
                      <a:pt x="601" y="1813"/>
                      <a:pt x="601" y="1879"/>
                    </a:cubicBezTo>
                    <a:cubicBezTo>
                      <a:pt x="601" y="1945"/>
                      <a:pt x="655" y="1999"/>
                      <a:pt x="721" y="1999"/>
                    </a:cubicBezTo>
                    <a:cubicBezTo>
                      <a:pt x="787" y="1999"/>
                      <a:pt x="841" y="1945"/>
                      <a:pt x="841" y="1879"/>
                    </a:cubicBezTo>
                    <a:cubicBezTo>
                      <a:pt x="841" y="1813"/>
                      <a:pt x="787" y="1759"/>
                      <a:pt x="721" y="1759"/>
                    </a:cubicBezTo>
                    <a:close/>
                    <a:moveTo>
                      <a:pt x="200" y="0"/>
                    </a:moveTo>
                    <a:cubicBezTo>
                      <a:pt x="1240" y="0"/>
                      <a:pt x="1240" y="0"/>
                      <a:pt x="1240" y="0"/>
                    </a:cubicBezTo>
                    <a:cubicBezTo>
                      <a:pt x="1350" y="0"/>
                      <a:pt x="1440" y="90"/>
                      <a:pt x="1440" y="200"/>
                    </a:cubicBezTo>
                    <a:cubicBezTo>
                      <a:pt x="1440" y="1920"/>
                      <a:pt x="1440" y="1920"/>
                      <a:pt x="1440" y="1920"/>
                    </a:cubicBezTo>
                    <a:cubicBezTo>
                      <a:pt x="1440" y="2030"/>
                      <a:pt x="1350" y="2120"/>
                      <a:pt x="1240" y="2120"/>
                    </a:cubicBezTo>
                    <a:cubicBezTo>
                      <a:pt x="200" y="2120"/>
                      <a:pt x="200" y="2120"/>
                      <a:pt x="200" y="2120"/>
                    </a:cubicBezTo>
                    <a:cubicBezTo>
                      <a:pt x="90" y="2120"/>
                      <a:pt x="0" y="2030"/>
                      <a:pt x="0" y="1920"/>
                    </a:cubicBezTo>
                    <a:cubicBezTo>
                      <a:pt x="0" y="200"/>
                      <a:pt x="0" y="200"/>
                      <a:pt x="0" y="200"/>
                    </a:cubicBezTo>
                    <a:cubicBezTo>
                      <a:pt x="0" y="90"/>
                      <a:pt x="90" y="0"/>
                      <a:pt x="200" y="0"/>
                    </a:cubicBezTo>
                    <a:close/>
                    <a:moveTo>
                      <a:pt x="200" y="360"/>
                    </a:moveTo>
                    <a:cubicBezTo>
                      <a:pt x="200" y="1680"/>
                      <a:pt x="200" y="1680"/>
                      <a:pt x="200" y="1680"/>
                    </a:cubicBezTo>
                    <a:cubicBezTo>
                      <a:pt x="1240" y="1680"/>
                      <a:pt x="1240" y="1680"/>
                      <a:pt x="1240" y="1680"/>
                    </a:cubicBezTo>
                    <a:cubicBezTo>
                      <a:pt x="1240" y="360"/>
                      <a:pt x="1240" y="360"/>
                      <a:pt x="1240" y="360"/>
                    </a:cubicBezTo>
                    <a:lnTo>
                      <a:pt x="200" y="360"/>
                    </a:lnTo>
                    <a:close/>
                  </a:path>
                </a:pathLst>
              </a:custGeom>
              <a:grpFill/>
              <a:ln>
                <a:noFill/>
              </a:ln>
            </p:spPr>
            <p:txBody>
              <a:bodyPr vert="horz" wrap="square" lIns="121920" tIns="60960" rIns="121920" bIns="60960" numCol="1" anchor="t" anchorCtr="0" compatLnSpc="1">
                <a:prstTxWarp prst="textNoShape">
                  <a:avLst/>
                </a:prstTxWarp>
              </a:bodyPr>
              <a:lstStyle/>
              <a:p>
                <a:endParaRPr lang="en-US" sz="1333" noProof="1"/>
              </a:p>
            </p:txBody>
          </p:sp>
          <p:sp>
            <p:nvSpPr>
              <p:cNvPr id="54" name="Freeform 23">
                <a:extLst>
                  <a:ext uri="{FF2B5EF4-FFF2-40B4-BE49-F238E27FC236}">
                    <a16:creationId xmlns:a16="http://schemas.microsoft.com/office/drawing/2014/main" xmlns="" id="{2FFF1918-A18A-40E6-91A4-DD2B6B026B4F}"/>
                  </a:ext>
                </a:extLst>
              </p:cNvPr>
              <p:cNvSpPr>
                <a:spLocks noChangeAspect="1"/>
              </p:cNvSpPr>
              <p:nvPr/>
            </p:nvSpPr>
            <p:spPr bwMode="auto">
              <a:xfrm>
                <a:off x="2163332" y="876338"/>
                <a:ext cx="117876" cy="180000"/>
              </a:xfrm>
              <a:custGeom>
                <a:avLst/>
                <a:gdLst>
                  <a:gd name="T0" fmla="*/ 19 w 1206"/>
                  <a:gd name="T1" fmla="*/ 558 h 1841"/>
                  <a:gd name="T2" fmla="*/ 6 w 1206"/>
                  <a:gd name="T3" fmla="*/ 348 h 1841"/>
                  <a:gd name="T4" fmla="*/ 10 w 1206"/>
                  <a:gd name="T5" fmla="*/ 286 h 1841"/>
                  <a:gd name="T6" fmla="*/ 141 w 1206"/>
                  <a:gd name="T7" fmla="*/ 78 h 1841"/>
                  <a:gd name="T8" fmla="*/ 376 w 1206"/>
                  <a:gd name="T9" fmla="*/ 2 h 1841"/>
                  <a:gd name="T10" fmla="*/ 566 w 1206"/>
                  <a:gd name="T11" fmla="*/ 49 h 1841"/>
                  <a:gd name="T12" fmla="*/ 661 w 1206"/>
                  <a:gd name="T13" fmla="*/ 37 h 1841"/>
                  <a:gd name="T14" fmla="*/ 898 w 1206"/>
                  <a:gd name="T15" fmla="*/ 212 h 1841"/>
                  <a:gd name="T16" fmla="*/ 926 w 1206"/>
                  <a:gd name="T17" fmla="*/ 346 h 1841"/>
                  <a:gd name="T18" fmla="*/ 912 w 1206"/>
                  <a:gd name="T19" fmla="*/ 558 h 1841"/>
                  <a:gd name="T20" fmla="*/ 837 w 1206"/>
                  <a:gd name="T21" fmla="*/ 772 h 1841"/>
                  <a:gd name="T22" fmla="*/ 716 w 1206"/>
                  <a:gd name="T23" fmla="*/ 1010 h 1841"/>
                  <a:gd name="T24" fmla="*/ 726 w 1206"/>
                  <a:gd name="T25" fmla="*/ 1102 h 1841"/>
                  <a:gd name="T26" fmla="*/ 766 w 1206"/>
                  <a:gd name="T27" fmla="*/ 1170 h 1841"/>
                  <a:gd name="T28" fmla="*/ 874 w 1206"/>
                  <a:gd name="T29" fmla="*/ 1216 h 1841"/>
                  <a:gd name="T30" fmla="*/ 1083 w 1206"/>
                  <a:gd name="T31" fmla="*/ 1313 h 1841"/>
                  <a:gd name="T32" fmla="*/ 1173 w 1206"/>
                  <a:gd name="T33" fmla="*/ 1450 h 1841"/>
                  <a:gd name="T34" fmla="*/ 1206 w 1206"/>
                  <a:gd name="T35" fmla="*/ 1619 h 1841"/>
                  <a:gd name="T36" fmla="*/ 990 w 1206"/>
                  <a:gd name="T37" fmla="*/ 1786 h 1841"/>
                  <a:gd name="T38" fmla="*/ 466 w 1206"/>
                  <a:gd name="T39" fmla="*/ 1841 h 1841"/>
                  <a:gd name="T40" fmla="*/ 86 w 1206"/>
                  <a:gd name="T41" fmla="*/ 1814 h 1841"/>
                  <a:gd name="T42" fmla="*/ 86 w 1206"/>
                  <a:gd name="T43" fmla="*/ 1208 h 1841"/>
                  <a:gd name="T44" fmla="*/ 205 w 1206"/>
                  <a:gd name="T45" fmla="*/ 1102 h 1841"/>
                  <a:gd name="T46" fmla="*/ 216 w 1206"/>
                  <a:gd name="T47" fmla="*/ 1010 h 1841"/>
                  <a:gd name="T48" fmla="*/ 94 w 1206"/>
                  <a:gd name="T49" fmla="*/ 772 h 1841"/>
                  <a:gd name="T50" fmla="*/ 19 w 1206"/>
                  <a:gd name="T51" fmla="*/ 558 h 18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206" h="1841">
                    <a:moveTo>
                      <a:pt x="19" y="558"/>
                    </a:moveTo>
                    <a:cubicBezTo>
                      <a:pt x="15" y="490"/>
                      <a:pt x="6" y="415"/>
                      <a:pt x="6" y="348"/>
                    </a:cubicBezTo>
                    <a:cubicBezTo>
                      <a:pt x="5" y="326"/>
                      <a:pt x="6" y="306"/>
                      <a:pt x="10" y="286"/>
                    </a:cubicBezTo>
                    <a:cubicBezTo>
                      <a:pt x="24" y="197"/>
                      <a:pt x="74" y="126"/>
                      <a:pt x="141" y="78"/>
                    </a:cubicBezTo>
                    <a:cubicBezTo>
                      <a:pt x="207" y="30"/>
                      <a:pt x="291" y="3"/>
                      <a:pt x="376" y="2"/>
                    </a:cubicBezTo>
                    <a:cubicBezTo>
                      <a:pt x="447" y="0"/>
                      <a:pt x="505" y="12"/>
                      <a:pt x="566" y="49"/>
                    </a:cubicBezTo>
                    <a:cubicBezTo>
                      <a:pt x="597" y="37"/>
                      <a:pt x="629" y="34"/>
                      <a:pt x="661" y="37"/>
                    </a:cubicBezTo>
                    <a:cubicBezTo>
                      <a:pt x="762" y="46"/>
                      <a:pt x="854" y="122"/>
                      <a:pt x="898" y="212"/>
                    </a:cubicBezTo>
                    <a:cubicBezTo>
                      <a:pt x="919" y="254"/>
                      <a:pt x="930" y="301"/>
                      <a:pt x="926" y="346"/>
                    </a:cubicBezTo>
                    <a:cubicBezTo>
                      <a:pt x="912" y="558"/>
                      <a:pt x="912" y="558"/>
                      <a:pt x="912" y="558"/>
                    </a:cubicBezTo>
                    <a:cubicBezTo>
                      <a:pt x="932" y="636"/>
                      <a:pt x="906" y="727"/>
                      <a:pt x="837" y="772"/>
                    </a:cubicBezTo>
                    <a:cubicBezTo>
                      <a:pt x="814" y="849"/>
                      <a:pt x="770" y="949"/>
                      <a:pt x="716" y="1010"/>
                    </a:cubicBezTo>
                    <a:cubicBezTo>
                      <a:pt x="717" y="1038"/>
                      <a:pt x="719" y="1072"/>
                      <a:pt x="726" y="1102"/>
                    </a:cubicBezTo>
                    <a:cubicBezTo>
                      <a:pt x="733" y="1132"/>
                      <a:pt x="745" y="1159"/>
                      <a:pt x="766" y="1170"/>
                    </a:cubicBezTo>
                    <a:cubicBezTo>
                      <a:pt x="802" y="1194"/>
                      <a:pt x="833" y="1204"/>
                      <a:pt x="874" y="1216"/>
                    </a:cubicBezTo>
                    <a:cubicBezTo>
                      <a:pt x="940" y="1236"/>
                      <a:pt x="1037" y="1268"/>
                      <a:pt x="1083" y="1313"/>
                    </a:cubicBezTo>
                    <a:cubicBezTo>
                      <a:pt x="1122" y="1351"/>
                      <a:pt x="1152" y="1399"/>
                      <a:pt x="1173" y="1450"/>
                    </a:cubicBezTo>
                    <a:cubicBezTo>
                      <a:pt x="1194" y="1505"/>
                      <a:pt x="1206" y="1563"/>
                      <a:pt x="1206" y="1619"/>
                    </a:cubicBezTo>
                    <a:cubicBezTo>
                      <a:pt x="1206" y="1700"/>
                      <a:pt x="1115" y="1753"/>
                      <a:pt x="990" y="1786"/>
                    </a:cubicBezTo>
                    <a:cubicBezTo>
                      <a:pt x="827" y="1828"/>
                      <a:pt x="600" y="1841"/>
                      <a:pt x="466" y="1841"/>
                    </a:cubicBezTo>
                    <a:cubicBezTo>
                      <a:pt x="368" y="1841"/>
                      <a:pt x="221" y="1834"/>
                      <a:pt x="86" y="1814"/>
                    </a:cubicBezTo>
                    <a:cubicBezTo>
                      <a:pt x="86" y="1208"/>
                      <a:pt x="86" y="1208"/>
                      <a:pt x="86" y="1208"/>
                    </a:cubicBezTo>
                    <a:cubicBezTo>
                      <a:pt x="150" y="1187"/>
                      <a:pt x="188" y="1171"/>
                      <a:pt x="205" y="1102"/>
                    </a:cubicBezTo>
                    <a:cubicBezTo>
                      <a:pt x="212" y="1072"/>
                      <a:pt x="215" y="1038"/>
                      <a:pt x="216" y="1010"/>
                    </a:cubicBezTo>
                    <a:cubicBezTo>
                      <a:pt x="162" y="950"/>
                      <a:pt x="118" y="849"/>
                      <a:pt x="94" y="772"/>
                    </a:cubicBezTo>
                    <a:cubicBezTo>
                      <a:pt x="26" y="727"/>
                      <a:pt x="0" y="636"/>
                      <a:pt x="19" y="558"/>
                    </a:cubicBez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1"/>
              </a:p>
            </p:txBody>
          </p:sp>
        </p:grpSp>
        <p:sp>
          <p:nvSpPr>
            <p:cNvPr id="57" name="Freeform 6">
              <a:extLst>
                <a:ext uri="{FF2B5EF4-FFF2-40B4-BE49-F238E27FC236}">
                  <a16:creationId xmlns:a16="http://schemas.microsoft.com/office/drawing/2014/main" xmlns="" id="{F3AA9D0E-1E51-4BB7-9E08-0B6FEA817EF4}"/>
                </a:ext>
              </a:extLst>
            </p:cNvPr>
            <p:cNvSpPr>
              <a:spLocks noChangeAspect="1"/>
            </p:cNvSpPr>
            <p:nvPr>
              <p:custDataLst>
                <p:tags r:id="rId2"/>
              </p:custDataLst>
            </p:nvPr>
          </p:nvSpPr>
          <p:spPr bwMode="auto">
            <a:xfrm>
              <a:off x="9821078" y="3060293"/>
              <a:ext cx="438321" cy="380612"/>
            </a:xfrm>
            <a:custGeom>
              <a:avLst/>
              <a:gdLst>
                <a:gd name="T0" fmla="*/ 2074 w 2074"/>
                <a:gd name="T1" fmla="*/ 336 h 1801"/>
                <a:gd name="T2" fmla="*/ 1355 w 2074"/>
                <a:gd name="T3" fmla="*/ 0 h 1801"/>
                <a:gd name="T4" fmla="*/ 1036 w 2074"/>
                <a:gd name="T5" fmla="*/ 132 h 1801"/>
                <a:gd name="T6" fmla="*/ 719 w 2074"/>
                <a:gd name="T7" fmla="*/ 0 h 1801"/>
                <a:gd name="T8" fmla="*/ 0 w 2074"/>
                <a:gd name="T9" fmla="*/ 336 h 1801"/>
                <a:gd name="T10" fmla="*/ 182 w 2074"/>
                <a:gd name="T11" fmla="*/ 752 h 1801"/>
                <a:gd name="T12" fmla="*/ 512 w 2074"/>
                <a:gd name="T13" fmla="*/ 576 h 1801"/>
                <a:gd name="T14" fmla="*/ 512 w 2074"/>
                <a:gd name="T15" fmla="*/ 1801 h 1801"/>
                <a:gd name="T16" fmla="*/ 1037 w 2074"/>
                <a:gd name="T17" fmla="*/ 1801 h 1801"/>
                <a:gd name="T18" fmla="*/ 1562 w 2074"/>
                <a:gd name="T19" fmla="*/ 1801 h 1801"/>
                <a:gd name="T20" fmla="*/ 1562 w 2074"/>
                <a:gd name="T21" fmla="*/ 576 h 1801"/>
                <a:gd name="T22" fmla="*/ 1892 w 2074"/>
                <a:gd name="T23" fmla="*/ 752 h 1801"/>
                <a:gd name="T24" fmla="*/ 2074 w 2074"/>
                <a:gd name="T25" fmla="*/ 336 h 18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074" h="1801">
                  <a:moveTo>
                    <a:pt x="2074" y="336"/>
                  </a:moveTo>
                  <a:cubicBezTo>
                    <a:pt x="1355" y="0"/>
                    <a:pt x="1355" y="0"/>
                    <a:pt x="1355" y="0"/>
                  </a:cubicBezTo>
                  <a:cubicBezTo>
                    <a:pt x="1355" y="0"/>
                    <a:pt x="1209" y="132"/>
                    <a:pt x="1036" y="132"/>
                  </a:cubicBezTo>
                  <a:cubicBezTo>
                    <a:pt x="864" y="132"/>
                    <a:pt x="719" y="0"/>
                    <a:pt x="719" y="0"/>
                  </a:cubicBezTo>
                  <a:cubicBezTo>
                    <a:pt x="0" y="336"/>
                    <a:pt x="0" y="336"/>
                    <a:pt x="0" y="336"/>
                  </a:cubicBezTo>
                  <a:cubicBezTo>
                    <a:pt x="182" y="752"/>
                    <a:pt x="182" y="752"/>
                    <a:pt x="182" y="752"/>
                  </a:cubicBezTo>
                  <a:cubicBezTo>
                    <a:pt x="512" y="576"/>
                    <a:pt x="512" y="576"/>
                    <a:pt x="512" y="576"/>
                  </a:cubicBezTo>
                  <a:cubicBezTo>
                    <a:pt x="512" y="1801"/>
                    <a:pt x="512" y="1801"/>
                    <a:pt x="512" y="1801"/>
                  </a:cubicBezTo>
                  <a:cubicBezTo>
                    <a:pt x="1037" y="1801"/>
                    <a:pt x="1037" y="1801"/>
                    <a:pt x="1037" y="1801"/>
                  </a:cubicBezTo>
                  <a:cubicBezTo>
                    <a:pt x="1562" y="1801"/>
                    <a:pt x="1562" y="1801"/>
                    <a:pt x="1562" y="1801"/>
                  </a:cubicBezTo>
                  <a:cubicBezTo>
                    <a:pt x="1562" y="576"/>
                    <a:pt x="1562" y="576"/>
                    <a:pt x="1562" y="576"/>
                  </a:cubicBezTo>
                  <a:cubicBezTo>
                    <a:pt x="1892" y="752"/>
                    <a:pt x="1892" y="752"/>
                    <a:pt x="1892" y="752"/>
                  </a:cubicBezTo>
                  <a:lnTo>
                    <a:pt x="2074" y="336"/>
                  </a:lnTo>
                  <a:close/>
                </a:path>
              </a:pathLst>
            </a:custGeom>
            <a:solidFill>
              <a:schemeClr val="accent1">
                <a:lumMod val="60000"/>
                <a:lumOff val="40000"/>
              </a:schemeClr>
            </a:solidFill>
            <a:ln>
              <a:noFill/>
            </a:ln>
          </p:spPr>
          <p:txBody>
            <a:bodyPr vert="horz" wrap="square" lIns="121920" tIns="60960" rIns="121920" bIns="60960" numCol="1" anchor="t" anchorCtr="0" compatLnSpc="1">
              <a:prstTxWarp prst="textNoShape">
                <a:avLst/>
              </a:prstTxWarp>
            </a:bodyPr>
            <a:lstStyle/>
            <a:p>
              <a:endParaRPr lang="en-US" sz="2400"/>
            </a:p>
          </p:txBody>
        </p:sp>
        <p:sp>
          <p:nvSpPr>
            <p:cNvPr id="59" name="Freeform 16">
              <a:extLst>
                <a:ext uri="{FF2B5EF4-FFF2-40B4-BE49-F238E27FC236}">
                  <a16:creationId xmlns:a16="http://schemas.microsoft.com/office/drawing/2014/main" xmlns="" id="{E113E34F-731B-4B42-BF1D-BB24EF4AC42B}"/>
                </a:ext>
              </a:extLst>
            </p:cNvPr>
            <p:cNvSpPr>
              <a:spLocks noChangeAspect="1" noEditPoints="1"/>
            </p:cNvSpPr>
            <p:nvPr>
              <p:custDataLst>
                <p:tags r:id="rId3"/>
              </p:custDataLst>
            </p:nvPr>
          </p:nvSpPr>
          <p:spPr bwMode="auto">
            <a:xfrm>
              <a:off x="10268280" y="2067457"/>
              <a:ext cx="297485" cy="297485"/>
            </a:xfrm>
            <a:custGeom>
              <a:avLst/>
              <a:gdLst>
                <a:gd name="T0" fmla="*/ 1920 w 1920"/>
                <a:gd name="T1" fmla="*/ 1920 h 1920"/>
                <a:gd name="T2" fmla="*/ 1088 w 1920"/>
                <a:gd name="T3" fmla="*/ 1028 h 1920"/>
                <a:gd name="T4" fmla="*/ 240 w 1920"/>
                <a:gd name="T5" fmla="*/ 720 h 1920"/>
                <a:gd name="T6" fmla="*/ 1100 w 1920"/>
                <a:gd name="T7" fmla="*/ 1154 h 1920"/>
                <a:gd name="T8" fmla="*/ 80 w 1920"/>
                <a:gd name="T9" fmla="*/ 240 h 1920"/>
                <a:gd name="T10" fmla="*/ 240 w 1920"/>
                <a:gd name="T11" fmla="*/ 160 h 1920"/>
                <a:gd name="T12" fmla="*/ 80 w 1920"/>
                <a:gd name="T13" fmla="*/ 240 h 1920"/>
                <a:gd name="T14" fmla="*/ 560 w 1920"/>
                <a:gd name="T15" fmla="*/ 160 h 1920"/>
                <a:gd name="T16" fmla="*/ 720 w 1920"/>
                <a:gd name="T17" fmla="*/ 80 h 1920"/>
                <a:gd name="T18" fmla="*/ 880 w 1920"/>
                <a:gd name="T19" fmla="*/ 80 h 1920"/>
                <a:gd name="T20" fmla="*/ 1040 w 1920"/>
                <a:gd name="T21" fmla="*/ 160 h 1920"/>
                <a:gd name="T22" fmla="*/ 1040 w 1920"/>
                <a:gd name="T23" fmla="*/ 80 h 1920"/>
                <a:gd name="T24" fmla="*/ 1520 w 1920"/>
                <a:gd name="T25" fmla="*/ 160 h 1920"/>
                <a:gd name="T26" fmla="*/ 1680 w 1920"/>
                <a:gd name="T27" fmla="*/ 80 h 1920"/>
                <a:gd name="T28" fmla="*/ 1760 w 1920"/>
                <a:gd name="T29" fmla="*/ 240 h 1920"/>
                <a:gd name="T30" fmla="*/ 1680 w 1920"/>
                <a:gd name="T31" fmla="*/ 80 h 1920"/>
                <a:gd name="T32" fmla="*/ 1760 w 1920"/>
                <a:gd name="T33" fmla="*/ 560 h 1920"/>
                <a:gd name="T34" fmla="*/ 1840 w 1920"/>
                <a:gd name="T35" fmla="*/ 720 h 1920"/>
                <a:gd name="T36" fmla="*/ 1840 w 1920"/>
                <a:gd name="T37" fmla="*/ 880 h 1920"/>
                <a:gd name="T38" fmla="*/ 1760 w 1920"/>
                <a:gd name="T39" fmla="*/ 1040 h 1920"/>
                <a:gd name="T40" fmla="*/ 1840 w 1920"/>
                <a:gd name="T41" fmla="*/ 1040 h 1920"/>
                <a:gd name="T42" fmla="*/ 1760 w 1920"/>
                <a:gd name="T43" fmla="*/ 1520 h 1920"/>
                <a:gd name="T44" fmla="*/ 1840 w 1920"/>
                <a:gd name="T45" fmla="*/ 1680 h 1920"/>
                <a:gd name="T46" fmla="*/ 1680 w 1920"/>
                <a:gd name="T47" fmla="*/ 1760 h 1920"/>
                <a:gd name="T48" fmla="*/ 1840 w 1920"/>
                <a:gd name="T49" fmla="*/ 1680 h 1920"/>
                <a:gd name="T50" fmla="*/ 1360 w 1920"/>
                <a:gd name="T51" fmla="*/ 1760 h 1920"/>
                <a:gd name="T52" fmla="*/ 1200 w 1920"/>
                <a:gd name="T53" fmla="*/ 1840 h 1920"/>
                <a:gd name="T54" fmla="*/ 1040 w 1920"/>
                <a:gd name="T55" fmla="*/ 1840 h 1920"/>
                <a:gd name="T56" fmla="*/ 880 w 1920"/>
                <a:gd name="T57" fmla="*/ 1760 h 1920"/>
                <a:gd name="T58" fmla="*/ 880 w 1920"/>
                <a:gd name="T59" fmla="*/ 1840 h 1920"/>
                <a:gd name="T60" fmla="*/ 400 w 1920"/>
                <a:gd name="T61" fmla="*/ 1760 h 1920"/>
                <a:gd name="T62" fmla="*/ 240 w 1920"/>
                <a:gd name="T63" fmla="*/ 1840 h 1920"/>
                <a:gd name="T64" fmla="*/ 160 w 1920"/>
                <a:gd name="T65" fmla="*/ 1680 h 1920"/>
                <a:gd name="T66" fmla="*/ 240 w 1920"/>
                <a:gd name="T67" fmla="*/ 1840 h 1920"/>
                <a:gd name="T68" fmla="*/ 160 w 1920"/>
                <a:gd name="T69" fmla="*/ 1360 h 1920"/>
                <a:gd name="T70" fmla="*/ 80 w 1920"/>
                <a:gd name="T71" fmla="*/ 1200 h 1920"/>
                <a:gd name="T72" fmla="*/ 80 w 1920"/>
                <a:gd name="T73" fmla="*/ 1040 h 1920"/>
                <a:gd name="T74" fmla="*/ 160 w 1920"/>
                <a:gd name="T75" fmla="*/ 880 h 1920"/>
                <a:gd name="T76" fmla="*/ 80 w 1920"/>
                <a:gd name="T77" fmla="*/ 880 h 1920"/>
                <a:gd name="T78" fmla="*/ 160 w 1920"/>
                <a:gd name="T79" fmla="*/ 400 h 1920"/>
                <a:gd name="T80" fmla="*/ 720 w 1920"/>
                <a:gd name="T81" fmla="*/ 320 h 1920"/>
                <a:gd name="T82" fmla="*/ 1120 w 1920"/>
                <a:gd name="T83" fmla="*/ 720 h 1920"/>
                <a:gd name="T84" fmla="*/ 1040 w 1920"/>
                <a:gd name="T85" fmla="*/ 1267 h 1920"/>
                <a:gd name="T86" fmla="*/ 1267 w 1920"/>
                <a:gd name="T87" fmla="*/ 1040 h 1920"/>
                <a:gd name="T88" fmla="*/ 1493 w 1920"/>
                <a:gd name="T89" fmla="*/ 1606 h 19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920" h="1920">
                  <a:moveTo>
                    <a:pt x="0" y="0"/>
                  </a:moveTo>
                  <a:cubicBezTo>
                    <a:pt x="1920" y="0"/>
                    <a:pt x="1920" y="0"/>
                    <a:pt x="1920" y="0"/>
                  </a:cubicBezTo>
                  <a:cubicBezTo>
                    <a:pt x="1920" y="1920"/>
                    <a:pt x="1920" y="1920"/>
                    <a:pt x="1920" y="1920"/>
                  </a:cubicBezTo>
                  <a:cubicBezTo>
                    <a:pt x="0" y="1920"/>
                    <a:pt x="0" y="1920"/>
                    <a:pt x="0" y="1920"/>
                  </a:cubicBezTo>
                  <a:lnTo>
                    <a:pt x="0" y="0"/>
                  </a:lnTo>
                  <a:close/>
                  <a:moveTo>
                    <a:pt x="1088" y="1028"/>
                  </a:moveTo>
                  <a:cubicBezTo>
                    <a:pt x="1158" y="945"/>
                    <a:pt x="1200" y="838"/>
                    <a:pt x="1200" y="720"/>
                  </a:cubicBezTo>
                  <a:cubicBezTo>
                    <a:pt x="1200" y="455"/>
                    <a:pt x="985" y="240"/>
                    <a:pt x="720" y="240"/>
                  </a:cubicBezTo>
                  <a:cubicBezTo>
                    <a:pt x="455" y="240"/>
                    <a:pt x="240" y="455"/>
                    <a:pt x="240" y="720"/>
                  </a:cubicBezTo>
                  <a:cubicBezTo>
                    <a:pt x="240" y="985"/>
                    <a:pt x="455" y="1200"/>
                    <a:pt x="720" y="1200"/>
                  </a:cubicBezTo>
                  <a:cubicBezTo>
                    <a:pt x="839" y="1200"/>
                    <a:pt x="948" y="1157"/>
                    <a:pt x="1032" y="1085"/>
                  </a:cubicBezTo>
                  <a:cubicBezTo>
                    <a:pt x="1100" y="1154"/>
                    <a:pt x="1100" y="1154"/>
                    <a:pt x="1100" y="1154"/>
                  </a:cubicBezTo>
                  <a:cubicBezTo>
                    <a:pt x="1156" y="1097"/>
                    <a:pt x="1156" y="1097"/>
                    <a:pt x="1156" y="1097"/>
                  </a:cubicBezTo>
                  <a:lnTo>
                    <a:pt x="1088" y="1028"/>
                  </a:lnTo>
                  <a:close/>
                  <a:moveTo>
                    <a:pt x="80" y="240"/>
                  </a:moveTo>
                  <a:cubicBezTo>
                    <a:pt x="160" y="240"/>
                    <a:pt x="160" y="240"/>
                    <a:pt x="160" y="240"/>
                  </a:cubicBezTo>
                  <a:cubicBezTo>
                    <a:pt x="160" y="160"/>
                    <a:pt x="160" y="160"/>
                    <a:pt x="160" y="160"/>
                  </a:cubicBezTo>
                  <a:cubicBezTo>
                    <a:pt x="240" y="160"/>
                    <a:pt x="240" y="160"/>
                    <a:pt x="240" y="160"/>
                  </a:cubicBezTo>
                  <a:cubicBezTo>
                    <a:pt x="240" y="80"/>
                    <a:pt x="240" y="80"/>
                    <a:pt x="240" y="80"/>
                  </a:cubicBezTo>
                  <a:cubicBezTo>
                    <a:pt x="80" y="80"/>
                    <a:pt x="80" y="80"/>
                    <a:pt x="80" y="80"/>
                  </a:cubicBezTo>
                  <a:lnTo>
                    <a:pt x="80" y="240"/>
                  </a:lnTo>
                  <a:close/>
                  <a:moveTo>
                    <a:pt x="400" y="80"/>
                  </a:moveTo>
                  <a:cubicBezTo>
                    <a:pt x="400" y="160"/>
                    <a:pt x="400" y="160"/>
                    <a:pt x="400" y="160"/>
                  </a:cubicBezTo>
                  <a:cubicBezTo>
                    <a:pt x="560" y="160"/>
                    <a:pt x="560" y="160"/>
                    <a:pt x="560" y="160"/>
                  </a:cubicBezTo>
                  <a:cubicBezTo>
                    <a:pt x="560" y="80"/>
                    <a:pt x="560" y="80"/>
                    <a:pt x="560" y="80"/>
                  </a:cubicBezTo>
                  <a:lnTo>
                    <a:pt x="400" y="80"/>
                  </a:lnTo>
                  <a:close/>
                  <a:moveTo>
                    <a:pt x="720" y="80"/>
                  </a:moveTo>
                  <a:cubicBezTo>
                    <a:pt x="720" y="160"/>
                    <a:pt x="720" y="160"/>
                    <a:pt x="720" y="160"/>
                  </a:cubicBezTo>
                  <a:cubicBezTo>
                    <a:pt x="880" y="160"/>
                    <a:pt x="880" y="160"/>
                    <a:pt x="880" y="160"/>
                  </a:cubicBezTo>
                  <a:cubicBezTo>
                    <a:pt x="880" y="80"/>
                    <a:pt x="880" y="80"/>
                    <a:pt x="880" y="80"/>
                  </a:cubicBezTo>
                  <a:lnTo>
                    <a:pt x="720" y="80"/>
                  </a:lnTo>
                  <a:close/>
                  <a:moveTo>
                    <a:pt x="1040" y="80"/>
                  </a:moveTo>
                  <a:cubicBezTo>
                    <a:pt x="1040" y="160"/>
                    <a:pt x="1040" y="160"/>
                    <a:pt x="1040" y="160"/>
                  </a:cubicBezTo>
                  <a:cubicBezTo>
                    <a:pt x="1200" y="160"/>
                    <a:pt x="1200" y="160"/>
                    <a:pt x="1200" y="160"/>
                  </a:cubicBezTo>
                  <a:cubicBezTo>
                    <a:pt x="1200" y="80"/>
                    <a:pt x="1200" y="80"/>
                    <a:pt x="1200" y="80"/>
                  </a:cubicBezTo>
                  <a:lnTo>
                    <a:pt x="1040" y="80"/>
                  </a:lnTo>
                  <a:close/>
                  <a:moveTo>
                    <a:pt x="1360" y="80"/>
                  </a:moveTo>
                  <a:cubicBezTo>
                    <a:pt x="1360" y="160"/>
                    <a:pt x="1360" y="160"/>
                    <a:pt x="1360" y="160"/>
                  </a:cubicBezTo>
                  <a:cubicBezTo>
                    <a:pt x="1520" y="160"/>
                    <a:pt x="1520" y="160"/>
                    <a:pt x="1520" y="160"/>
                  </a:cubicBezTo>
                  <a:cubicBezTo>
                    <a:pt x="1520" y="80"/>
                    <a:pt x="1520" y="80"/>
                    <a:pt x="1520" y="80"/>
                  </a:cubicBezTo>
                  <a:lnTo>
                    <a:pt x="1360" y="80"/>
                  </a:lnTo>
                  <a:close/>
                  <a:moveTo>
                    <a:pt x="1680" y="80"/>
                  </a:moveTo>
                  <a:cubicBezTo>
                    <a:pt x="1680" y="160"/>
                    <a:pt x="1680" y="160"/>
                    <a:pt x="1680" y="160"/>
                  </a:cubicBezTo>
                  <a:cubicBezTo>
                    <a:pt x="1760" y="160"/>
                    <a:pt x="1760" y="160"/>
                    <a:pt x="1760" y="160"/>
                  </a:cubicBezTo>
                  <a:cubicBezTo>
                    <a:pt x="1760" y="240"/>
                    <a:pt x="1760" y="240"/>
                    <a:pt x="1760" y="240"/>
                  </a:cubicBezTo>
                  <a:cubicBezTo>
                    <a:pt x="1840" y="240"/>
                    <a:pt x="1840" y="240"/>
                    <a:pt x="1840" y="240"/>
                  </a:cubicBezTo>
                  <a:cubicBezTo>
                    <a:pt x="1840" y="80"/>
                    <a:pt x="1840" y="80"/>
                    <a:pt x="1840" y="80"/>
                  </a:cubicBezTo>
                  <a:lnTo>
                    <a:pt x="1680" y="80"/>
                  </a:lnTo>
                  <a:close/>
                  <a:moveTo>
                    <a:pt x="1840" y="400"/>
                  </a:moveTo>
                  <a:cubicBezTo>
                    <a:pt x="1760" y="400"/>
                    <a:pt x="1760" y="400"/>
                    <a:pt x="1760" y="400"/>
                  </a:cubicBezTo>
                  <a:cubicBezTo>
                    <a:pt x="1760" y="560"/>
                    <a:pt x="1760" y="560"/>
                    <a:pt x="1760" y="560"/>
                  </a:cubicBezTo>
                  <a:cubicBezTo>
                    <a:pt x="1840" y="560"/>
                    <a:pt x="1840" y="560"/>
                    <a:pt x="1840" y="560"/>
                  </a:cubicBezTo>
                  <a:lnTo>
                    <a:pt x="1840" y="400"/>
                  </a:lnTo>
                  <a:close/>
                  <a:moveTo>
                    <a:pt x="1840" y="720"/>
                  </a:moveTo>
                  <a:cubicBezTo>
                    <a:pt x="1760" y="720"/>
                    <a:pt x="1760" y="720"/>
                    <a:pt x="1760" y="720"/>
                  </a:cubicBezTo>
                  <a:cubicBezTo>
                    <a:pt x="1760" y="880"/>
                    <a:pt x="1760" y="880"/>
                    <a:pt x="1760" y="880"/>
                  </a:cubicBezTo>
                  <a:cubicBezTo>
                    <a:pt x="1840" y="880"/>
                    <a:pt x="1840" y="880"/>
                    <a:pt x="1840" y="880"/>
                  </a:cubicBezTo>
                  <a:lnTo>
                    <a:pt x="1840" y="720"/>
                  </a:lnTo>
                  <a:close/>
                  <a:moveTo>
                    <a:pt x="1840" y="1040"/>
                  </a:moveTo>
                  <a:cubicBezTo>
                    <a:pt x="1760" y="1040"/>
                    <a:pt x="1760" y="1040"/>
                    <a:pt x="1760" y="1040"/>
                  </a:cubicBezTo>
                  <a:cubicBezTo>
                    <a:pt x="1760" y="1200"/>
                    <a:pt x="1760" y="1200"/>
                    <a:pt x="1760" y="1200"/>
                  </a:cubicBezTo>
                  <a:cubicBezTo>
                    <a:pt x="1840" y="1200"/>
                    <a:pt x="1840" y="1200"/>
                    <a:pt x="1840" y="1200"/>
                  </a:cubicBezTo>
                  <a:lnTo>
                    <a:pt x="1840" y="1040"/>
                  </a:lnTo>
                  <a:close/>
                  <a:moveTo>
                    <a:pt x="1840" y="1360"/>
                  </a:moveTo>
                  <a:cubicBezTo>
                    <a:pt x="1760" y="1360"/>
                    <a:pt x="1760" y="1360"/>
                    <a:pt x="1760" y="1360"/>
                  </a:cubicBezTo>
                  <a:cubicBezTo>
                    <a:pt x="1760" y="1520"/>
                    <a:pt x="1760" y="1520"/>
                    <a:pt x="1760" y="1520"/>
                  </a:cubicBezTo>
                  <a:cubicBezTo>
                    <a:pt x="1840" y="1520"/>
                    <a:pt x="1840" y="1520"/>
                    <a:pt x="1840" y="1520"/>
                  </a:cubicBezTo>
                  <a:lnTo>
                    <a:pt x="1840" y="1360"/>
                  </a:lnTo>
                  <a:close/>
                  <a:moveTo>
                    <a:pt x="1840" y="1680"/>
                  </a:moveTo>
                  <a:cubicBezTo>
                    <a:pt x="1760" y="1680"/>
                    <a:pt x="1760" y="1680"/>
                    <a:pt x="1760" y="1680"/>
                  </a:cubicBezTo>
                  <a:cubicBezTo>
                    <a:pt x="1760" y="1760"/>
                    <a:pt x="1760" y="1760"/>
                    <a:pt x="1760" y="1760"/>
                  </a:cubicBezTo>
                  <a:cubicBezTo>
                    <a:pt x="1680" y="1760"/>
                    <a:pt x="1680" y="1760"/>
                    <a:pt x="1680" y="1760"/>
                  </a:cubicBezTo>
                  <a:cubicBezTo>
                    <a:pt x="1680" y="1840"/>
                    <a:pt x="1680" y="1840"/>
                    <a:pt x="1680" y="1840"/>
                  </a:cubicBezTo>
                  <a:cubicBezTo>
                    <a:pt x="1840" y="1840"/>
                    <a:pt x="1840" y="1840"/>
                    <a:pt x="1840" y="1840"/>
                  </a:cubicBezTo>
                  <a:lnTo>
                    <a:pt x="1840" y="1680"/>
                  </a:lnTo>
                  <a:close/>
                  <a:moveTo>
                    <a:pt x="1520" y="1840"/>
                  </a:moveTo>
                  <a:cubicBezTo>
                    <a:pt x="1520" y="1760"/>
                    <a:pt x="1520" y="1760"/>
                    <a:pt x="1520" y="1760"/>
                  </a:cubicBezTo>
                  <a:cubicBezTo>
                    <a:pt x="1360" y="1760"/>
                    <a:pt x="1360" y="1760"/>
                    <a:pt x="1360" y="1760"/>
                  </a:cubicBezTo>
                  <a:cubicBezTo>
                    <a:pt x="1360" y="1840"/>
                    <a:pt x="1360" y="1840"/>
                    <a:pt x="1360" y="1840"/>
                  </a:cubicBezTo>
                  <a:lnTo>
                    <a:pt x="1520" y="1840"/>
                  </a:lnTo>
                  <a:close/>
                  <a:moveTo>
                    <a:pt x="1200" y="1840"/>
                  </a:moveTo>
                  <a:cubicBezTo>
                    <a:pt x="1200" y="1760"/>
                    <a:pt x="1200" y="1760"/>
                    <a:pt x="1200" y="1760"/>
                  </a:cubicBezTo>
                  <a:cubicBezTo>
                    <a:pt x="1040" y="1760"/>
                    <a:pt x="1040" y="1760"/>
                    <a:pt x="1040" y="1760"/>
                  </a:cubicBezTo>
                  <a:cubicBezTo>
                    <a:pt x="1040" y="1840"/>
                    <a:pt x="1040" y="1840"/>
                    <a:pt x="1040" y="1840"/>
                  </a:cubicBezTo>
                  <a:lnTo>
                    <a:pt x="1200" y="1840"/>
                  </a:lnTo>
                  <a:close/>
                  <a:moveTo>
                    <a:pt x="880" y="1840"/>
                  </a:moveTo>
                  <a:cubicBezTo>
                    <a:pt x="880" y="1760"/>
                    <a:pt x="880" y="1760"/>
                    <a:pt x="880" y="1760"/>
                  </a:cubicBezTo>
                  <a:cubicBezTo>
                    <a:pt x="720" y="1760"/>
                    <a:pt x="720" y="1760"/>
                    <a:pt x="720" y="1760"/>
                  </a:cubicBezTo>
                  <a:cubicBezTo>
                    <a:pt x="720" y="1840"/>
                    <a:pt x="720" y="1840"/>
                    <a:pt x="720" y="1840"/>
                  </a:cubicBezTo>
                  <a:lnTo>
                    <a:pt x="880" y="1840"/>
                  </a:lnTo>
                  <a:close/>
                  <a:moveTo>
                    <a:pt x="560" y="1840"/>
                  </a:moveTo>
                  <a:cubicBezTo>
                    <a:pt x="560" y="1760"/>
                    <a:pt x="560" y="1760"/>
                    <a:pt x="560" y="1760"/>
                  </a:cubicBezTo>
                  <a:cubicBezTo>
                    <a:pt x="400" y="1760"/>
                    <a:pt x="400" y="1760"/>
                    <a:pt x="400" y="1760"/>
                  </a:cubicBezTo>
                  <a:cubicBezTo>
                    <a:pt x="400" y="1840"/>
                    <a:pt x="400" y="1840"/>
                    <a:pt x="400" y="1840"/>
                  </a:cubicBezTo>
                  <a:lnTo>
                    <a:pt x="560" y="1840"/>
                  </a:lnTo>
                  <a:close/>
                  <a:moveTo>
                    <a:pt x="240" y="1840"/>
                  </a:moveTo>
                  <a:cubicBezTo>
                    <a:pt x="240" y="1760"/>
                    <a:pt x="240" y="1760"/>
                    <a:pt x="240" y="1760"/>
                  </a:cubicBezTo>
                  <a:cubicBezTo>
                    <a:pt x="160" y="1760"/>
                    <a:pt x="160" y="1760"/>
                    <a:pt x="160" y="1760"/>
                  </a:cubicBezTo>
                  <a:cubicBezTo>
                    <a:pt x="160" y="1680"/>
                    <a:pt x="160" y="1680"/>
                    <a:pt x="160" y="1680"/>
                  </a:cubicBezTo>
                  <a:cubicBezTo>
                    <a:pt x="80" y="1680"/>
                    <a:pt x="80" y="1680"/>
                    <a:pt x="80" y="1680"/>
                  </a:cubicBezTo>
                  <a:cubicBezTo>
                    <a:pt x="80" y="1840"/>
                    <a:pt x="80" y="1840"/>
                    <a:pt x="80" y="1840"/>
                  </a:cubicBezTo>
                  <a:lnTo>
                    <a:pt x="240" y="1840"/>
                  </a:lnTo>
                  <a:close/>
                  <a:moveTo>
                    <a:pt x="80" y="1520"/>
                  </a:moveTo>
                  <a:cubicBezTo>
                    <a:pt x="160" y="1520"/>
                    <a:pt x="160" y="1520"/>
                    <a:pt x="160" y="1520"/>
                  </a:cubicBezTo>
                  <a:cubicBezTo>
                    <a:pt x="160" y="1360"/>
                    <a:pt x="160" y="1360"/>
                    <a:pt x="160" y="1360"/>
                  </a:cubicBezTo>
                  <a:cubicBezTo>
                    <a:pt x="80" y="1360"/>
                    <a:pt x="80" y="1360"/>
                    <a:pt x="80" y="1360"/>
                  </a:cubicBezTo>
                  <a:lnTo>
                    <a:pt x="80" y="1520"/>
                  </a:lnTo>
                  <a:close/>
                  <a:moveTo>
                    <a:pt x="80" y="1200"/>
                  </a:moveTo>
                  <a:cubicBezTo>
                    <a:pt x="160" y="1200"/>
                    <a:pt x="160" y="1200"/>
                    <a:pt x="160" y="1200"/>
                  </a:cubicBezTo>
                  <a:cubicBezTo>
                    <a:pt x="160" y="1040"/>
                    <a:pt x="160" y="1040"/>
                    <a:pt x="160" y="1040"/>
                  </a:cubicBezTo>
                  <a:cubicBezTo>
                    <a:pt x="80" y="1040"/>
                    <a:pt x="80" y="1040"/>
                    <a:pt x="80" y="1040"/>
                  </a:cubicBezTo>
                  <a:lnTo>
                    <a:pt x="80" y="1200"/>
                  </a:lnTo>
                  <a:close/>
                  <a:moveTo>
                    <a:pt x="80" y="880"/>
                  </a:moveTo>
                  <a:cubicBezTo>
                    <a:pt x="160" y="880"/>
                    <a:pt x="160" y="880"/>
                    <a:pt x="160" y="880"/>
                  </a:cubicBezTo>
                  <a:cubicBezTo>
                    <a:pt x="160" y="720"/>
                    <a:pt x="160" y="720"/>
                    <a:pt x="160" y="720"/>
                  </a:cubicBezTo>
                  <a:cubicBezTo>
                    <a:pt x="80" y="720"/>
                    <a:pt x="80" y="720"/>
                    <a:pt x="80" y="720"/>
                  </a:cubicBezTo>
                  <a:lnTo>
                    <a:pt x="80" y="880"/>
                  </a:lnTo>
                  <a:close/>
                  <a:moveTo>
                    <a:pt x="80" y="560"/>
                  </a:moveTo>
                  <a:cubicBezTo>
                    <a:pt x="160" y="560"/>
                    <a:pt x="160" y="560"/>
                    <a:pt x="160" y="560"/>
                  </a:cubicBezTo>
                  <a:cubicBezTo>
                    <a:pt x="160" y="400"/>
                    <a:pt x="160" y="400"/>
                    <a:pt x="160" y="400"/>
                  </a:cubicBezTo>
                  <a:cubicBezTo>
                    <a:pt x="80" y="400"/>
                    <a:pt x="80" y="400"/>
                    <a:pt x="80" y="400"/>
                  </a:cubicBezTo>
                  <a:lnTo>
                    <a:pt x="80" y="560"/>
                  </a:lnTo>
                  <a:close/>
                  <a:moveTo>
                    <a:pt x="720" y="320"/>
                  </a:moveTo>
                  <a:cubicBezTo>
                    <a:pt x="499" y="320"/>
                    <a:pt x="320" y="499"/>
                    <a:pt x="320" y="720"/>
                  </a:cubicBezTo>
                  <a:cubicBezTo>
                    <a:pt x="320" y="941"/>
                    <a:pt x="499" y="1120"/>
                    <a:pt x="720" y="1120"/>
                  </a:cubicBezTo>
                  <a:cubicBezTo>
                    <a:pt x="941" y="1120"/>
                    <a:pt x="1120" y="941"/>
                    <a:pt x="1120" y="720"/>
                  </a:cubicBezTo>
                  <a:cubicBezTo>
                    <a:pt x="1120" y="499"/>
                    <a:pt x="941" y="320"/>
                    <a:pt x="720" y="320"/>
                  </a:cubicBezTo>
                  <a:close/>
                  <a:moveTo>
                    <a:pt x="1267" y="1040"/>
                  </a:moveTo>
                  <a:cubicBezTo>
                    <a:pt x="1040" y="1267"/>
                    <a:pt x="1040" y="1267"/>
                    <a:pt x="1040" y="1267"/>
                  </a:cubicBezTo>
                  <a:cubicBezTo>
                    <a:pt x="1493" y="1719"/>
                    <a:pt x="1493" y="1719"/>
                    <a:pt x="1493" y="1719"/>
                  </a:cubicBezTo>
                  <a:cubicBezTo>
                    <a:pt x="1719" y="1493"/>
                    <a:pt x="1719" y="1493"/>
                    <a:pt x="1719" y="1493"/>
                  </a:cubicBezTo>
                  <a:lnTo>
                    <a:pt x="1267" y="1040"/>
                  </a:lnTo>
                  <a:close/>
                  <a:moveTo>
                    <a:pt x="1267" y="1154"/>
                  </a:moveTo>
                  <a:cubicBezTo>
                    <a:pt x="1154" y="1267"/>
                    <a:pt x="1154" y="1267"/>
                    <a:pt x="1154" y="1267"/>
                  </a:cubicBezTo>
                  <a:cubicBezTo>
                    <a:pt x="1493" y="1606"/>
                    <a:pt x="1493" y="1606"/>
                    <a:pt x="1493" y="1606"/>
                  </a:cubicBezTo>
                  <a:cubicBezTo>
                    <a:pt x="1606" y="1493"/>
                    <a:pt x="1606" y="1493"/>
                    <a:pt x="1606" y="1493"/>
                  </a:cubicBezTo>
                  <a:lnTo>
                    <a:pt x="1267" y="1154"/>
                  </a:lnTo>
                  <a:close/>
                </a:path>
              </a:pathLst>
            </a:custGeom>
            <a:solidFill>
              <a:schemeClr val="accent1">
                <a:lumMod val="60000"/>
                <a:lumOff val="40000"/>
              </a:schemeClr>
            </a:solidFill>
            <a:ln>
              <a:noFill/>
            </a:ln>
          </p:spPr>
          <p:txBody>
            <a:bodyPr vert="horz" wrap="square" lIns="121920" tIns="60960" rIns="121920" bIns="60960" numCol="1" anchor="t" anchorCtr="0" compatLnSpc="1">
              <a:prstTxWarp prst="textNoShape">
                <a:avLst/>
              </a:prstTxWarp>
            </a:bodyPr>
            <a:lstStyle/>
            <a:p>
              <a:endParaRPr lang="en-US" sz="1333"/>
            </a:p>
          </p:txBody>
        </p:sp>
        <p:grpSp>
          <p:nvGrpSpPr>
            <p:cNvPr id="60" name="Group 5">
              <a:extLst>
                <a:ext uri="{FF2B5EF4-FFF2-40B4-BE49-F238E27FC236}">
                  <a16:creationId xmlns:a16="http://schemas.microsoft.com/office/drawing/2014/main" xmlns="" id="{7E1F0BFE-7849-4FBB-BDC8-235FB9A76284}"/>
                </a:ext>
              </a:extLst>
            </p:cNvPr>
            <p:cNvGrpSpPr>
              <a:grpSpLocks noChangeAspect="1"/>
            </p:cNvGrpSpPr>
            <p:nvPr>
              <p:custDataLst>
                <p:tags r:id="rId4"/>
              </p:custDataLst>
            </p:nvPr>
          </p:nvGrpSpPr>
          <p:grpSpPr bwMode="auto">
            <a:xfrm>
              <a:off x="9836075" y="2184223"/>
              <a:ext cx="385676" cy="385676"/>
              <a:chOff x="612" y="-107"/>
              <a:chExt cx="4535" cy="4535"/>
            </a:xfrm>
            <a:solidFill>
              <a:schemeClr val="accent1">
                <a:lumMod val="60000"/>
                <a:lumOff val="40000"/>
              </a:schemeClr>
            </a:solidFill>
          </p:grpSpPr>
          <p:sp>
            <p:nvSpPr>
              <p:cNvPr id="61" name="Freeform 6">
                <a:extLst>
                  <a:ext uri="{FF2B5EF4-FFF2-40B4-BE49-F238E27FC236}">
                    <a16:creationId xmlns:a16="http://schemas.microsoft.com/office/drawing/2014/main" xmlns="" id="{FAC9BB44-F074-40AF-AA8F-8D14289056DF}"/>
                  </a:ext>
                </a:extLst>
              </p:cNvPr>
              <p:cNvSpPr>
                <a:spLocks/>
              </p:cNvSpPr>
              <p:nvPr/>
            </p:nvSpPr>
            <p:spPr bwMode="auto">
              <a:xfrm>
                <a:off x="1129" y="269"/>
                <a:ext cx="3498" cy="3781"/>
              </a:xfrm>
              <a:custGeom>
                <a:avLst/>
                <a:gdLst>
                  <a:gd name="T0" fmla="*/ 0 w 1481"/>
                  <a:gd name="T1" fmla="*/ 1601 h 1601"/>
                  <a:gd name="T2" fmla="*/ 26 w 1481"/>
                  <a:gd name="T3" fmla="*/ 1573 h 1601"/>
                  <a:gd name="T4" fmla="*/ 326 w 1481"/>
                  <a:gd name="T5" fmla="*/ 1415 h 1601"/>
                  <a:gd name="T6" fmla="*/ 434 w 1481"/>
                  <a:gd name="T7" fmla="*/ 1359 h 1601"/>
                  <a:gd name="T8" fmla="*/ 474 w 1481"/>
                  <a:gd name="T9" fmla="*/ 1292 h 1601"/>
                  <a:gd name="T10" fmla="*/ 493 w 1481"/>
                  <a:gd name="T11" fmla="*/ 1145 h 1601"/>
                  <a:gd name="T12" fmla="*/ 328 w 1481"/>
                  <a:gd name="T13" fmla="*/ 859 h 1601"/>
                  <a:gd name="T14" fmla="*/ 244 w 1481"/>
                  <a:gd name="T15" fmla="*/ 623 h 1601"/>
                  <a:gd name="T16" fmla="*/ 228 w 1481"/>
                  <a:gd name="T17" fmla="*/ 387 h 1601"/>
                  <a:gd name="T18" fmla="*/ 228 w 1481"/>
                  <a:gd name="T19" fmla="*/ 387 h 1601"/>
                  <a:gd name="T20" fmla="*/ 233 w 1481"/>
                  <a:gd name="T21" fmla="*/ 317 h 1601"/>
                  <a:gd name="T22" fmla="*/ 379 w 1481"/>
                  <a:gd name="T23" fmla="*/ 86 h 1601"/>
                  <a:gd name="T24" fmla="*/ 641 w 1481"/>
                  <a:gd name="T25" fmla="*/ 1 h 1601"/>
                  <a:gd name="T26" fmla="*/ 853 w 1481"/>
                  <a:gd name="T27" fmla="*/ 55 h 1601"/>
                  <a:gd name="T28" fmla="*/ 960 w 1481"/>
                  <a:gd name="T29" fmla="*/ 41 h 1601"/>
                  <a:gd name="T30" fmla="*/ 1223 w 1481"/>
                  <a:gd name="T31" fmla="*/ 235 h 1601"/>
                  <a:gd name="T32" fmla="*/ 1254 w 1481"/>
                  <a:gd name="T33" fmla="*/ 384 h 1601"/>
                  <a:gd name="T34" fmla="*/ 1254 w 1481"/>
                  <a:gd name="T35" fmla="*/ 385 h 1601"/>
                  <a:gd name="T36" fmla="*/ 1238 w 1481"/>
                  <a:gd name="T37" fmla="*/ 623 h 1601"/>
                  <a:gd name="T38" fmla="*/ 1154 w 1481"/>
                  <a:gd name="T39" fmla="*/ 859 h 1601"/>
                  <a:gd name="T40" fmla="*/ 988 w 1481"/>
                  <a:gd name="T41" fmla="*/ 1146 h 1601"/>
                  <a:gd name="T42" fmla="*/ 1001 w 1481"/>
                  <a:gd name="T43" fmla="*/ 1266 h 1601"/>
                  <a:gd name="T44" fmla="*/ 1049 w 1481"/>
                  <a:gd name="T45" fmla="*/ 1359 h 1601"/>
                  <a:gd name="T46" fmla="*/ 1156 w 1481"/>
                  <a:gd name="T47" fmla="*/ 1415 h 1601"/>
                  <a:gd name="T48" fmla="*/ 1432 w 1481"/>
                  <a:gd name="T49" fmla="*/ 1543 h 1601"/>
                  <a:gd name="T50" fmla="*/ 1481 w 1481"/>
                  <a:gd name="T51" fmla="*/ 1601 h 1601"/>
                  <a:gd name="T52" fmla="*/ 0 w 1481"/>
                  <a:gd name="T53" fmla="*/ 1601 h 16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481" h="1601">
                    <a:moveTo>
                      <a:pt x="0" y="1601"/>
                    </a:moveTo>
                    <a:cubicBezTo>
                      <a:pt x="8" y="1591"/>
                      <a:pt x="17" y="1581"/>
                      <a:pt x="26" y="1573"/>
                    </a:cubicBezTo>
                    <a:cubicBezTo>
                      <a:pt x="114" y="1483"/>
                      <a:pt x="217" y="1463"/>
                      <a:pt x="326" y="1415"/>
                    </a:cubicBezTo>
                    <a:cubicBezTo>
                      <a:pt x="365" y="1398"/>
                      <a:pt x="397" y="1380"/>
                      <a:pt x="434" y="1359"/>
                    </a:cubicBezTo>
                    <a:cubicBezTo>
                      <a:pt x="451" y="1348"/>
                      <a:pt x="464" y="1323"/>
                      <a:pt x="474" y="1292"/>
                    </a:cubicBezTo>
                    <a:cubicBezTo>
                      <a:pt x="488" y="1245"/>
                      <a:pt x="493" y="1187"/>
                      <a:pt x="493" y="1145"/>
                    </a:cubicBezTo>
                    <a:cubicBezTo>
                      <a:pt x="430" y="1076"/>
                      <a:pt x="357" y="948"/>
                      <a:pt x="328" y="859"/>
                    </a:cubicBezTo>
                    <a:cubicBezTo>
                      <a:pt x="251" y="810"/>
                      <a:pt x="222" y="708"/>
                      <a:pt x="244" y="623"/>
                    </a:cubicBezTo>
                    <a:cubicBezTo>
                      <a:pt x="228" y="387"/>
                      <a:pt x="228" y="387"/>
                      <a:pt x="228" y="387"/>
                    </a:cubicBezTo>
                    <a:cubicBezTo>
                      <a:pt x="228" y="387"/>
                      <a:pt x="228" y="387"/>
                      <a:pt x="228" y="387"/>
                    </a:cubicBezTo>
                    <a:cubicBezTo>
                      <a:pt x="227" y="366"/>
                      <a:pt x="230" y="339"/>
                      <a:pt x="233" y="317"/>
                    </a:cubicBezTo>
                    <a:cubicBezTo>
                      <a:pt x="249" y="219"/>
                      <a:pt x="304" y="140"/>
                      <a:pt x="379" y="86"/>
                    </a:cubicBezTo>
                    <a:cubicBezTo>
                      <a:pt x="452" y="33"/>
                      <a:pt x="545" y="3"/>
                      <a:pt x="641" y="1"/>
                    </a:cubicBezTo>
                    <a:cubicBezTo>
                      <a:pt x="719" y="0"/>
                      <a:pt x="785" y="13"/>
                      <a:pt x="853" y="55"/>
                    </a:cubicBezTo>
                    <a:cubicBezTo>
                      <a:pt x="888" y="42"/>
                      <a:pt x="925" y="37"/>
                      <a:pt x="960" y="41"/>
                    </a:cubicBezTo>
                    <a:cubicBezTo>
                      <a:pt x="1073" y="51"/>
                      <a:pt x="1175" y="136"/>
                      <a:pt x="1223" y="235"/>
                    </a:cubicBezTo>
                    <a:cubicBezTo>
                      <a:pt x="1246" y="282"/>
                      <a:pt x="1258" y="333"/>
                      <a:pt x="1254" y="384"/>
                    </a:cubicBezTo>
                    <a:cubicBezTo>
                      <a:pt x="1254" y="385"/>
                      <a:pt x="1254" y="385"/>
                      <a:pt x="1254" y="385"/>
                    </a:cubicBezTo>
                    <a:cubicBezTo>
                      <a:pt x="1238" y="623"/>
                      <a:pt x="1238" y="623"/>
                      <a:pt x="1238" y="623"/>
                    </a:cubicBezTo>
                    <a:cubicBezTo>
                      <a:pt x="1261" y="709"/>
                      <a:pt x="1232" y="810"/>
                      <a:pt x="1154" y="859"/>
                    </a:cubicBezTo>
                    <a:cubicBezTo>
                      <a:pt x="1125" y="949"/>
                      <a:pt x="1052" y="1076"/>
                      <a:pt x="988" y="1146"/>
                    </a:cubicBezTo>
                    <a:cubicBezTo>
                      <a:pt x="989" y="1180"/>
                      <a:pt x="992" y="1225"/>
                      <a:pt x="1001" y="1266"/>
                    </a:cubicBezTo>
                    <a:cubicBezTo>
                      <a:pt x="1008" y="1297"/>
                      <a:pt x="1023" y="1343"/>
                      <a:pt x="1049" y="1359"/>
                    </a:cubicBezTo>
                    <a:cubicBezTo>
                      <a:pt x="1085" y="1381"/>
                      <a:pt x="1120" y="1399"/>
                      <a:pt x="1156" y="1415"/>
                    </a:cubicBezTo>
                    <a:cubicBezTo>
                      <a:pt x="1235" y="1449"/>
                      <a:pt x="1375" y="1488"/>
                      <a:pt x="1432" y="1543"/>
                    </a:cubicBezTo>
                    <a:cubicBezTo>
                      <a:pt x="1450" y="1561"/>
                      <a:pt x="1466" y="1580"/>
                      <a:pt x="1481" y="1601"/>
                    </a:cubicBezTo>
                    <a:lnTo>
                      <a:pt x="0" y="1601"/>
                    </a:ln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333"/>
              </a:p>
            </p:txBody>
          </p:sp>
          <p:sp>
            <p:nvSpPr>
              <p:cNvPr id="62" name="Freeform 7">
                <a:extLst>
                  <a:ext uri="{FF2B5EF4-FFF2-40B4-BE49-F238E27FC236}">
                    <a16:creationId xmlns:a16="http://schemas.microsoft.com/office/drawing/2014/main" xmlns="" id="{1FA6EECE-9FD4-4929-AD04-6371FCF8D9B3}"/>
                  </a:ext>
                </a:extLst>
              </p:cNvPr>
              <p:cNvSpPr>
                <a:spLocks noEditPoints="1"/>
              </p:cNvSpPr>
              <p:nvPr/>
            </p:nvSpPr>
            <p:spPr bwMode="auto">
              <a:xfrm>
                <a:off x="612" y="-107"/>
                <a:ext cx="4535" cy="4535"/>
              </a:xfrm>
              <a:custGeom>
                <a:avLst/>
                <a:gdLst>
                  <a:gd name="T0" fmla="*/ 4535 w 4535"/>
                  <a:gd name="T1" fmla="*/ 3968 h 4535"/>
                  <a:gd name="T2" fmla="*/ 4535 w 4535"/>
                  <a:gd name="T3" fmla="*/ 4441 h 4535"/>
                  <a:gd name="T4" fmla="*/ 4535 w 4535"/>
                  <a:gd name="T5" fmla="*/ 4535 h 4535"/>
                  <a:gd name="T6" fmla="*/ 4441 w 4535"/>
                  <a:gd name="T7" fmla="*/ 4535 h 4535"/>
                  <a:gd name="T8" fmla="*/ 3968 w 4535"/>
                  <a:gd name="T9" fmla="*/ 4535 h 4535"/>
                  <a:gd name="T10" fmla="*/ 3968 w 4535"/>
                  <a:gd name="T11" fmla="*/ 4346 h 4535"/>
                  <a:gd name="T12" fmla="*/ 4346 w 4535"/>
                  <a:gd name="T13" fmla="*/ 4346 h 4535"/>
                  <a:gd name="T14" fmla="*/ 4346 w 4535"/>
                  <a:gd name="T15" fmla="*/ 3968 h 4535"/>
                  <a:gd name="T16" fmla="*/ 4535 w 4535"/>
                  <a:gd name="T17" fmla="*/ 3968 h 4535"/>
                  <a:gd name="T18" fmla="*/ 4346 w 4535"/>
                  <a:gd name="T19" fmla="*/ 567 h 4535"/>
                  <a:gd name="T20" fmla="*/ 4346 w 4535"/>
                  <a:gd name="T21" fmla="*/ 189 h 4535"/>
                  <a:gd name="T22" fmla="*/ 3968 w 4535"/>
                  <a:gd name="T23" fmla="*/ 189 h 4535"/>
                  <a:gd name="T24" fmla="*/ 3968 w 4535"/>
                  <a:gd name="T25" fmla="*/ 0 h 4535"/>
                  <a:gd name="T26" fmla="*/ 4441 w 4535"/>
                  <a:gd name="T27" fmla="*/ 0 h 4535"/>
                  <a:gd name="T28" fmla="*/ 4535 w 4535"/>
                  <a:gd name="T29" fmla="*/ 0 h 4535"/>
                  <a:gd name="T30" fmla="*/ 4535 w 4535"/>
                  <a:gd name="T31" fmla="*/ 94 h 4535"/>
                  <a:gd name="T32" fmla="*/ 4535 w 4535"/>
                  <a:gd name="T33" fmla="*/ 567 h 4535"/>
                  <a:gd name="T34" fmla="*/ 4346 w 4535"/>
                  <a:gd name="T35" fmla="*/ 567 h 4535"/>
                  <a:gd name="T36" fmla="*/ 0 w 4535"/>
                  <a:gd name="T37" fmla="*/ 567 h 4535"/>
                  <a:gd name="T38" fmla="*/ 0 w 4535"/>
                  <a:gd name="T39" fmla="*/ 94 h 4535"/>
                  <a:gd name="T40" fmla="*/ 0 w 4535"/>
                  <a:gd name="T41" fmla="*/ 0 h 4535"/>
                  <a:gd name="T42" fmla="*/ 94 w 4535"/>
                  <a:gd name="T43" fmla="*/ 0 h 4535"/>
                  <a:gd name="T44" fmla="*/ 567 w 4535"/>
                  <a:gd name="T45" fmla="*/ 0 h 4535"/>
                  <a:gd name="T46" fmla="*/ 567 w 4535"/>
                  <a:gd name="T47" fmla="*/ 189 h 4535"/>
                  <a:gd name="T48" fmla="*/ 189 w 4535"/>
                  <a:gd name="T49" fmla="*/ 189 h 4535"/>
                  <a:gd name="T50" fmla="*/ 189 w 4535"/>
                  <a:gd name="T51" fmla="*/ 567 h 4535"/>
                  <a:gd name="T52" fmla="*/ 0 w 4535"/>
                  <a:gd name="T53" fmla="*/ 567 h 4535"/>
                  <a:gd name="T54" fmla="*/ 189 w 4535"/>
                  <a:gd name="T55" fmla="*/ 3968 h 4535"/>
                  <a:gd name="T56" fmla="*/ 189 w 4535"/>
                  <a:gd name="T57" fmla="*/ 4346 h 4535"/>
                  <a:gd name="T58" fmla="*/ 567 w 4535"/>
                  <a:gd name="T59" fmla="*/ 4346 h 4535"/>
                  <a:gd name="T60" fmla="*/ 567 w 4535"/>
                  <a:gd name="T61" fmla="*/ 4535 h 4535"/>
                  <a:gd name="T62" fmla="*/ 94 w 4535"/>
                  <a:gd name="T63" fmla="*/ 4535 h 4535"/>
                  <a:gd name="T64" fmla="*/ 0 w 4535"/>
                  <a:gd name="T65" fmla="*/ 4535 h 4535"/>
                  <a:gd name="T66" fmla="*/ 0 w 4535"/>
                  <a:gd name="T67" fmla="*/ 4441 h 4535"/>
                  <a:gd name="T68" fmla="*/ 0 w 4535"/>
                  <a:gd name="T69" fmla="*/ 3968 h 4535"/>
                  <a:gd name="T70" fmla="*/ 189 w 4535"/>
                  <a:gd name="T71" fmla="*/ 3968 h 45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535" h="4535">
                    <a:moveTo>
                      <a:pt x="4535" y="3968"/>
                    </a:moveTo>
                    <a:lnTo>
                      <a:pt x="4535" y="4441"/>
                    </a:lnTo>
                    <a:lnTo>
                      <a:pt x="4535" y="4535"/>
                    </a:lnTo>
                    <a:lnTo>
                      <a:pt x="4441" y="4535"/>
                    </a:lnTo>
                    <a:lnTo>
                      <a:pt x="3968" y="4535"/>
                    </a:lnTo>
                    <a:lnTo>
                      <a:pt x="3968" y="4346"/>
                    </a:lnTo>
                    <a:lnTo>
                      <a:pt x="4346" y="4346"/>
                    </a:lnTo>
                    <a:lnTo>
                      <a:pt x="4346" y="3968"/>
                    </a:lnTo>
                    <a:lnTo>
                      <a:pt x="4535" y="3968"/>
                    </a:lnTo>
                    <a:close/>
                    <a:moveTo>
                      <a:pt x="4346" y="567"/>
                    </a:moveTo>
                    <a:lnTo>
                      <a:pt x="4346" y="189"/>
                    </a:lnTo>
                    <a:lnTo>
                      <a:pt x="3968" y="189"/>
                    </a:lnTo>
                    <a:lnTo>
                      <a:pt x="3968" y="0"/>
                    </a:lnTo>
                    <a:lnTo>
                      <a:pt x="4441" y="0"/>
                    </a:lnTo>
                    <a:lnTo>
                      <a:pt x="4535" y="0"/>
                    </a:lnTo>
                    <a:lnTo>
                      <a:pt x="4535" y="94"/>
                    </a:lnTo>
                    <a:lnTo>
                      <a:pt x="4535" y="567"/>
                    </a:lnTo>
                    <a:lnTo>
                      <a:pt x="4346" y="567"/>
                    </a:lnTo>
                    <a:close/>
                    <a:moveTo>
                      <a:pt x="0" y="567"/>
                    </a:moveTo>
                    <a:lnTo>
                      <a:pt x="0" y="94"/>
                    </a:lnTo>
                    <a:lnTo>
                      <a:pt x="0" y="0"/>
                    </a:lnTo>
                    <a:lnTo>
                      <a:pt x="94" y="0"/>
                    </a:lnTo>
                    <a:lnTo>
                      <a:pt x="567" y="0"/>
                    </a:lnTo>
                    <a:lnTo>
                      <a:pt x="567" y="189"/>
                    </a:lnTo>
                    <a:lnTo>
                      <a:pt x="189" y="189"/>
                    </a:lnTo>
                    <a:lnTo>
                      <a:pt x="189" y="567"/>
                    </a:lnTo>
                    <a:lnTo>
                      <a:pt x="0" y="567"/>
                    </a:lnTo>
                    <a:close/>
                    <a:moveTo>
                      <a:pt x="189" y="3968"/>
                    </a:moveTo>
                    <a:lnTo>
                      <a:pt x="189" y="4346"/>
                    </a:lnTo>
                    <a:lnTo>
                      <a:pt x="567" y="4346"/>
                    </a:lnTo>
                    <a:lnTo>
                      <a:pt x="567" y="4535"/>
                    </a:lnTo>
                    <a:lnTo>
                      <a:pt x="94" y="4535"/>
                    </a:lnTo>
                    <a:lnTo>
                      <a:pt x="0" y="4535"/>
                    </a:lnTo>
                    <a:lnTo>
                      <a:pt x="0" y="4441"/>
                    </a:lnTo>
                    <a:lnTo>
                      <a:pt x="0" y="3968"/>
                    </a:lnTo>
                    <a:lnTo>
                      <a:pt x="189" y="3968"/>
                    </a:lnTo>
                    <a:close/>
                  </a:path>
                </a:pathLst>
              </a:custGeom>
              <a:grp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121920" tIns="60960" rIns="121920" bIns="60960" numCol="1" anchor="t" anchorCtr="0" compatLnSpc="1">
                <a:prstTxWarp prst="textNoShape">
                  <a:avLst/>
                </a:prstTxWarp>
              </a:bodyPr>
              <a:lstStyle/>
              <a:p>
                <a:endParaRPr lang="en-US" sz="1333"/>
              </a:p>
            </p:txBody>
          </p:sp>
        </p:grpSp>
        <p:sp>
          <p:nvSpPr>
            <p:cNvPr id="63" name="Freeform 72">
              <a:extLst>
                <a:ext uri="{FF2B5EF4-FFF2-40B4-BE49-F238E27FC236}">
                  <a16:creationId xmlns:a16="http://schemas.microsoft.com/office/drawing/2014/main" xmlns="" id="{EE182E87-6A33-4F8C-AAD1-23293016E39A}"/>
                </a:ext>
              </a:extLst>
            </p:cNvPr>
            <p:cNvSpPr>
              <a:spLocks noChangeAspect="1" noEditPoints="1"/>
            </p:cNvSpPr>
            <p:nvPr/>
          </p:nvSpPr>
          <p:spPr bwMode="auto">
            <a:xfrm>
              <a:off x="9912494" y="3592231"/>
              <a:ext cx="261996" cy="309643"/>
            </a:xfrm>
            <a:custGeom>
              <a:avLst/>
              <a:gdLst>
                <a:gd name="T0" fmla="*/ 0 w 1760"/>
                <a:gd name="T1" fmla="*/ 1880 h 2080"/>
                <a:gd name="T2" fmla="*/ 80 w 1760"/>
                <a:gd name="T3" fmla="*/ 1440 h 2080"/>
                <a:gd name="T4" fmla="*/ 0 w 1760"/>
                <a:gd name="T5" fmla="*/ 1040 h 2080"/>
                <a:gd name="T6" fmla="*/ 80 w 1760"/>
                <a:gd name="T7" fmla="*/ 600 h 2080"/>
                <a:gd name="T8" fmla="*/ 0 w 1760"/>
                <a:gd name="T9" fmla="*/ 200 h 2080"/>
                <a:gd name="T10" fmla="*/ 200 w 1760"/>
                <a:gd name="T11" fmla="*/ 0 h 2080"/>
                <a:gd name="T12" fmla="*/ 520 w 1760"/>
                <a:gd name="T13" fmla="*/ 80 h 2080"/>
                <a:gd name="T14" fmla="*/ 880 w 1760"/>
                <a:gd name="T15" fmla="*/ 0 h 2080"/>
                <a:gd name="T16" fmla="*/ 1240 w 1760"/>
                <a:gd name="T17" fmla="*/ 80 h 2080"/>
                <a:gd name="T18" fmla="*/ 1560 w 1760"/>
                <a:gd name="T19" fmla="*/ 0 h 2080"/>
                <a:gd name="T20" fmla="*/ 1760 w 1760"/>
                <a:gd name="T21" fmla="*/ 200 h 2080"/>
                <a:gd name="T22" fmla="*/ 1680 w 1760"/>
                <a:gd name="T23" fmla="*/ 600 h 2080"/>
                <a:gd name="T24" fmla="*/ 1760 w 1760"/>
                <a:gd name="T25" fmla="*/ 1040 h 2080"/>
                <a:gd name="T26" fmla="*/ 1680 w 1760"/>
                <a:gd name="T27" fmla="*/ 1480 h 2080"/>
                <a:gd name="T28" fmla="*/ 1760 w 1760"/>
                <a:gd name="T29" fmla="*/ 1880 h 2080"/>
                <a:gd name="T30" fmla="*/ 1560 w 1760"/>
                <a:gd name="T31" fmla="*/ 2080 h 2080"/>
                <a:gd name="T32" fmla="*/ 1240 w 1760"/>
                <a:gd name="T33" fmla="*/ 2000 h 2080"/>
                <a:gd name="T34" fmla="*/ 880 w 1760"/>
                <a:gd name="T35" fmla="*/ 2080 h 2080"/>
                <a:gd name="T36" fmla="*/ 520 w 1760"/>
                <a:gd name="T37" fmla="*/ 2000 h 2080"/>
                <a:gd name="T38" fmla="*/ 200 w 1760"/>
                <a:gd name="T39" fmla="*/ 2080 h 2080"/>
                <a:gd name="T40" fmla="*/ 0 w 1760"/>
                <a:gd name="T41" fmla="*/ 1880 h 2080"/>
                <a:gd name="T42" fmla="*/ 240 w 1760"/>
                <a:gd name="T43" fmla="*/ 240 h 2080"/>
                <a:gd name="T44" fmla="*/ 240 w 1760"/>
                <a:gd name="T45" fmla="*/ 1839 h 2080"/>
                <a:gd name="T46" fmla="*/ 1520 w 1760"/>
                <a:gd name="T47" fmla="*/ 1840 h 2080"/>
                <a:gd name="T48" fmla="*/ 1520 w 1760"/>
                <a:gd name="T49" fmla="*/ 240 h 2080"/>
                <a:gd name="T50" fmla="*/ 240 w 1760"/>
                <a:gd name="T51" fmla="*/ 240 h 2080"/>
                <a:gd name="T52" fmla="*/ 320 w 1760"/>
                <a:gd name="T53" fmla="*/ 320 h 2080"/>
                <a:gd name="T54" fmla="*/ 320 w 1760"/>
                <a:gd name="T55" fmla="*/ 1759 h 2080"/>
                <a:gd name="T56" fmla="*/ 360 w 1760"/>
                <a:gd name="T57" fmla="*/ 1759 h 2080"/>
                <a:gd name="T58" fmla="*/ 360 w 1760"/>
                <a:gd name="T59" fmla="*/ 1740 h 2080"/>
                <a:gd name="T60" fmla="*/ 442 w 1760"/>
                <a:gd name="T61" fmla="*/ 1527 h 2080"/>
                <a:gd name="T62" fmla="*/ 538 w 1760"/>
                <a:gd name="T63" fmla="*/ 1476 h 2080"/>
                <a:gd name="T64" fmla="*/ 672 w 1760"/>
                <a:gd name="T65" fmla="*/ 1423 h 2080"/>
                <a:gd name="T66" fmla="*/ 724 w 1760"/>
                <a:gd name="T67" fmla="*/ 1261 h 2080"/>
                <a:gd name="T68" fmla="*/ 629 w 1760"/>
                <a:gd name="T69" fmla="*/ 1069 h 2080"/>
                <a:gd name="T70" fmla="*/ 578 w 1760"/>
                <a:gd name="T71" fmla="*/ 929 h 2080"/>
                <a:gd name="T72" fmla="*/ 568 w 1760"/>
                <a:gd name="T73" fmla="*/ 763 h 2080"/>
                <a:gd name="T74" fmla="*/ 866 w 1760"/>
                <a:gd name="T75" fmla="*/ 532 h 2080"/>
                <a:gd name="T76" fmla="*/ 951 w 1760"/>
                <a:gd name="T77" fmla="*/ 569 h 2080"/>
                <a:gd name="T78" fmla="*/ 1192 w 1760"/>
                <a:gd name="T79" fmla="*/ 762 h 2080"/>
                <a:gd name="T80" fmla="*/ 1181 w 1760"/>
                <a:gd name="T81" fmla="*/ 929 h 2080"/>
                <a:gd name="T82" fmla="*/ 1130 w 1760"/>
                <a:gd name="T83" fmla="*/ 1069 h 2080"/>
                <a:gd name="T84" fmla="*/ 1036 w 1760"/>
                <a:gd name="T85" fmla="*/ 1261 h 2080"/>
                <a:gd name="T86" fmla="*/ 1088 w 1760"/>
                <a:gd name="T87" fmla="*/ 1423 h 2080"/>
                <a:gd name="T88" fmla="*/ 1221 w 1760"/>
                <a:gd name="T89" fmla="*/ 1476 h 2080"/>
                <a:gd name="T90" fmla="*/ 1317 w 1760"/>
                <a:gd name="T91" fmla="*/ 1527 h 2080"/>
                <a:gd name="T92" fmla="*/ 1400 w 1760"/>
                <a:gd name="T93" fmla="*/ 1740 h 2080"/>
                <a:gd name="T94" fmla="*/ 1400 w 1760"/>
                <a:gd name="T95" fmla="*/ 1760 h 2080"/>
                <a:gd name="T96" fmla="*/ 1440 w 1760"/>
                <a:gd name="T97" fmla="*/ 1760 h 2080"/>
                <a:gd name="T98" fmla="*/ 1440 w 1760"/>
                <a:gd name="T99" fmla="*/ 320 h 2080"/>
                <a:gd name="T100" fmla="*/ 320 w 1760"/>
                <a:gd name="T101" fmla="*/ 32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60" h="2080">
                  <a:moveTo>
                    <a:pt x="0" y="1880"/>
                  </a:moveTo>
                  <a:cubicBezTo>
                    <a:pt x="0" y="1730"/>
                    <a:pt x="80" y="1585"/>
                    <a:pt x="80" y="1440"/>
                  </a:cubicBezTo>
                  <a:cubicBezTo>
                    <a:pt x="80" y="1305"/>
                    <a:pt x="0" y="1182"/>
                    <a:pt x="0" y="1040"/>
                  </a:cubicBezTo>
                  <a:cubicBezTo>
                    <a:pt x="0" y="890"/>
                    <a:pt x="80" y="745"/>
                    <a:pt x="80" y="600"/>
                  </a:cubicBezTo>
                  <a:cubicBezTo>
                    <a:pt x="80" y="465"/>
                    <a:pt x="0" y="342"/>
                    <a:pt x="0" y="200"/>
                  </a:cubicBezTo>
                  <a:cubicBezTo>
                    <a:pt x="0" y="90"/>
                    <a:pt x="89" y="0"/>
                    <a:pt x="200" y="0"/>
                  </a:cubicBezTo>
                  <a:cubicBezTo>
                    <a:pt x="318" y="0"/>
                    <a:pt x="413" y="80"/>
                    <a:pt x="520" y="80"/>
                  </a:cubicBezTo>
                  <a:cubicBezTo>
                    <a:pt x="636" y="80"/>
                    <a:pt x="755" y="0"/>
                    <a:pt x="880" y="0"/>
                  </a:cubicBezTo>
                  <a:cubicBezTo>
                    <a:pt x="1004" y="0"/>
                    <a:pt x="1124" y="80"/>
                    <a:pt x="1240" y="80"/>
                  </a:cubicBezTo>
                  <a:cubicBezTo>
                    <a:pt x="1346" y="80"/>
                    <a:pt x="1441" y="0"/>
                    <a:pt x="1560" y="0"/>
                  </a:cubicBezTo>
                  <a:cubicBezTo>
                    <a:pt x="1670" y="0"/>
                    <a:pt x="1760" y="90"/>
                    <a:pt x="1760" y="200"/>
                  </a:cubicBezTo>
                  <a:cubicBezTo>
                    <a:pt x="1760" y="342"/>
                    <a:pt x="1680" y="465"/>
                    <a:pt x="1680" y="600"/>
                  </a:cubicBezTo>
                  <a:cubicBezTo>
                    <a:pt x="1680" y="745"/>
                    <a:pt x="1760" y="890"/>
                    <a:pt x="1760" y="1040"/>
                  </a:cubicBezTo>
                  <a:cubicBezTo>
                    <a:pt x="1760" y="1191"/>
                    <a:pt x="1680" y="1335"/>
                    <a:pt x="1680" y="1480"/>
                  </a:cubicBezTo>
                  <a:cubicBezTo>
                    <a:pt x="1680" y="1615"/>
                    <a:pt x="1760" y="1738"/>
                    <a:pt x="1760" y="1880"/>
                  </a:cubicBezTo>
                  <a:cubicBezTo>
                    <a:pt x="1760" y="1991"/>
                    <a:pt x="1670" y="2080"/>
                    <a:pt x="1560" y="2080"/>
                  </a:cubicBezTo>
                  <a:cubicBezTo>
                    <a:pt x="1441" y="2080"/>
                    <a:pt x="1346" y="2000"/>
                    <a:pt x="1240" y="2000"/>
                  </a:cubicBezTo>
                  <a:cubicBezTo>
                    <a:pt x="1124" y="2000"/>
                    <a:pt x="1004" y="2080"/>
                    <a:pt x="880" y="2080"/>
                  </a:cubicBezTo>
                  <a:cubicBezTo>
                    <a:pt x="755" y="2080"/>
                    <a:pt x="636" y="2000"/>
                    <a:pt x="520" y="2000"/>
                  </a:cubicBezTo>
                  <a:cubicBezTo>
                    <a:pt x="413" y="2000"/>
                    <a:pt x="318" y="2080"/>
                    <a:pt x="200" y="2080"/>
                  </a:cubicBezTo>
                  <a:cubicBezTo>
                    <a:pt x="89" y="2080"/>
                    <a:pt x="0" y="1991"/>
                    <a:pt x="0" y="1880"/>
                  </a:cubicBezTo>
                  <a:close/>
                  <a:moveTo>
                    <a:pt x="240" y="240"/>
                  </a:moveTo>
                  <a:cubicBezTo>
                    <a:pt x="240" y="1839"/>
                    <a:pt x="240" y="1839"/>
                    <a:pt x="240" y="1839"/>
                  </a:cubicBezTo>
                  <a:cubicBezTo>
                    <a:pt x="1520" y="1840"/>
                    <a:pt x="1520" y="1840"/>
                    <a:pt x="1520" y="1840"/>
                  </a:cubicBezTo>
                  <a:cubicBezTo>
                    <a:pt x="1520" y="240"/>
                    <a:pt x="1520" y="240"/>
                    <a:pt x="1520" y="240"/>
                  </a:cubicBezTo>
                  <a:lnTo>
                    <a:pt x="240" y="240"/>
                  </a:lnTo>
                  <a:close/>
                  <a:moveTo>
                    <a:pt x="320" y="320"/>
                  </a:moveTo>
                  <a:cubicBezTo>
                    <a:pt x="320" y="1759"/>
                    <a:pt x="320" y="1759"/>
                    <a:pt x="320" y="1759"/>
                  </a:cubicBezTo>
                  <a:cubicBezTo>
                    <a:pt x="360" y="1759"/>
                    <a:pt x="360" y="1759"/>
                    <a:pt x="360" y="1759"/>
                  </a:cubicBezTo>
                  <a:cubicBezTo>
                    <a:pt x="360" y="1740"/>
                    <a:pt x="360" y="1740"/>
                    <a:pt x="360" y="1740"/>
                  </a:cubicBezTo>
                  <a:cubicBezTo>
                    <a:pt x="360" y="1665"/>
                    <a:pt x="388" y="1581"/>
                    <a:pt x="442" y="1527"/>
                  </a:cubicBezTo>
                  <a:cubicBezTo>
                    <a:pt x="466" y="1503"/>
                    <a:pt x="507" y="1488"/>
                    <a:pt x="538" y="1476"/>
                  </a:cubicBezTo>
                  <a:cubicBezTo>
                    <a:pt x="592" y="1456"/>
                    <a:pt x="623" y="1454"/>
                    <a:pt x="672" y="1423"/>
                  </a:cubicBezTo>
                  <a:cubicBezTo>
                    <a:pt x="717" y="1395"/>
                    <a:pt x="724" y="1311"/>
                    <a:pt x="724" y="1261"/>
                  </a:cubicBezTo>
                  <a:cubicBezTo>
                    <a:pt x="683" y="1219"/>
                    <a:pt x="644" y="1127"/>
                    <a:pt x="629" y="1069"/>
                  </a:cubicBezTo>
                  <a:cubicBezTo>
                    <a:pt x="580" y="1044"/>
                    <a:pt x="564" y="979"/>
                    <a:pt x="578" y="929"/>
                  </a:cubicBezTo>
                  <a:cubicBezTo>
                    <a:pt x="568" y="763"/>
                    <a:pt x="568" y="763"/>
                    <a:pt x="568" y="763"/>
                  </a:cubicBezTo>
                  <a:cubicBezTo>
                    <a:pt x="564" y="599"/>
                    <a:pt x="722" y="508"/>
                    <a:pt x="866" y="532"/>
                  </a:cubicBezTo>
                  <a:cubicBezTo>
                    <a:pt x="903" y="539"/>
                    <a:pt x="921" y="549"/>
                    <a:pt x="951" y="569"/>
                  </a:cubicBezTo>
                  <a:cubicBezTo>
                    <a:pt x="1065" y="511"/>
                    <a:pt x="1202" y="644"/>
                    <a:pt x="1192" y="762"/>
                  </a:cubicBezTo>
                  <a:cubicBezTo>
                    <a:pt x="1181" y="929"/>
                    <a:pt x="1181" y="929"/>
                    <a:pt x="1181" y="929"/>
                  </a:cubicBezTo>
                  <a:cubicBezTo>
                    <a:pt x="1196" y="980"/>
                    <a:pt x="1179" y="1044"/>
                    <a:pt x="1130" y="1069"/>
                  </a:cubicBezTo>
                  <a:cubicBezTo>
                    <a:pt x="1115" y="1126"/>
                    <a:pt x="1077" y="1218"/>
                    <a:pt x="1036" y="1261"/>
                  </a:cubicBezTo>
                  <a:cubicBezTo>
                    <a:pt x="1037" y="1312"/>
                    <a:pt x="1040" y="1394"/>
                    <a:pt x="1088" y="1423"/>
                  </a:cubicBezTo>
                  <a:cubicBezTo>
                    <a:pt x="1136" y="1454"/>
                    <a:pt x="1167" y="1456"/>
                    <a:pt x="1221" y="1476"/>
                  </a:cubicBezTo>
                  <a:cubicBezTo>
                    <a:pt x="1252" y="1488"/>
                    <a:pt x="1293" y="1503"/>
                    <a:pt x="1317" y="1527"/>
                  </a:cubicBezTo>
                  <a:cubicBezTo>
                    <a:pt x="1372" y="1581"/>
                    <a:pt x="1400" y="1664"/>
                    <a:pt x="1400" y="1740"/>
                  </a:cubicBezTo>
                  <a:cubicBezTo>
                    <a:pt x="1400" y="1760"/>
                    <a:pt x="1400" y="1760"/>
                    <a:pt x="1400" y="1760"/>
                  </a:cubicBezTo>
                  <a:cubicBezTo>
                    <a:pt x="1440" y="1760"/>
                    <a:pt x="1440" y="1760"/>
                    <a:pt x="1440" y="1760"/>
                  </a:cubicBezTo>
                  <a:cubicBezTo>
                    <a:pt x="1440" y="320"/>
                    <a:pt x="1440" y="320"/>
                    <a:pt x="1440" y="320"/>
                  </a:cubicBezTo>
                  <a:lnTo>
                    <a:pt x="320" y="320"/>
                  </a:lnTo>
                  <a:close/>
                </a:path>
              </a:pathLst>
            </a:custGeom>
            <a:solidFill>
              <a:schemeClr val="accent1">
                <a:lumMod val="60000"/>
                <a:lumOff val="40000"/>
              </a:schemeClr>
            </a:solidFill>
            <a:ln>
              <a:noFill/>
            </a:ln>
          </p:spPr>
          <p:txBody>
            <a:bodyPr vert="horz" wrap="square" lIns="121920" tIns="60960" rIns="121920" bIns="60960" numCol="1" anchor="t" anchorCtr="0" compatLnSpc="1">
              <a:prstTxWarp prst="textNoShape">
                <a:avLst/>
              </a:prstTxWarp>
            </a:bodyPr>
            <a:lstStyle/>
            <a:p>
              <a:endParaRPr lang="en-US" sz="2400" noProof="1"/>
            </a:p>
          </p:txBody>
        </p:sp>
        <p:sp>
          <p:nvSpPr>
            <p:cNvPr id="5" name="Rectangle 4">
              <a:extLst>
                <a:ext uri="{FF2B5EF4-FFF2-40B4-BE49-F238E27FC236}">
                  <a16:creationId xmlns:a16="http://schemas.microsoft.com/office/drawing/2014/main" xmlns="" id="{3EDB17E8-1999-4767-8C77-1463EFB02F12}"/>
                </a:ext>
              </a:extLst>
            </p:cNvPr>
            <p:cNvSpPr/>
            <p:nvPr/>
          </p:nvSpPr>
          <p:spPr>
            <a:xfrm>
              <a:off x="2822222" y="4523065"/>
              <a:ext cx="8274756" cy="1975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nl-NL" sz="1600" dirty="0"/>
            </a:p>
          </p:txBody>
        </p:sp>
        <p:graphicFrame>
          <p:nvGraphicFramePr>
            <p:cNvPr id="67" name="Chart 66">
              <a:extLst>
                <a:ext uri="{FF2B5EF4-FFF2-40B4-BE49-F238E27FC236}">
                  <a16:creationId xmlns:a16="http://schemas.microsoft.com/office/drawing/2014/main" xmlns="" id="{C5202002-7405-4D3E-A2BD-2974C8F04610}"/>
                </a:ext>
              </a:extLst>
            </p:cNvPr>
            <p:cNvGraphicFramePr>
              <a:graphicFrameLocks/>
            </p:cNvGraphicFramePr>
            <p:nvPr>
              <p:extLst>
                <p:ext uri="{D42A27DB-BD31-4B8C-83A1-F6EECF244321}">
                  <p14:modId xmlns:p14="http://schemas.microsoft.com/office/powerpoint/2010/main" val="3739385256"/>
                </p:ext>
              </p:extLst>
            </p:nvPr>
          </p:nvGraphicFramePr>
          <p:xfrm>
            <a:off x="850803" y="2126604"/>
            <a:ext cx="8470042" cy="2649213"/>
          </p:xfrm>
          <a:graphic>
            <a:graphicData uri="http://schemas.openxmlformats.org/drawingml/2006/chart">
              <c:chart xmlns:c="http://schemas.openxmlformats.org/drawingml/2006/chart" xmlns:r="http://schemas.openxmlformats.org/officeDocument/2006/relationships" r:id="rId13"/>
            </a:graphicData>
          </a:graphic>
        </p:graphicFrame>
      </p:grpSp>
    </p:spTree>
    <p:extLst>
      <p:ext uri="{BB962C8B-B14F-4D97-AF65-F5344CB8AC3E}">
        <p14:creationId xmlns:p14="http://schemas.microsoft.com/office/powerpoint/2010/main" val="166824626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9"/>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AutoShape 4"/>
          <p:cNvSpPr>
            <a:spLocks noChangeAspect="1" noChangeArrowheads="1"/>
          </p:cNvSpPr>
          <p:nvPr/>
        </p:nvSpPr>
        <p:spPr bwMode="auto">
          <a:xfrm>
            <a:off x="-115487" y="-315415"/>
            <a:ext cx="12450828" cy="8297285"/>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121920" tIns="60960" rIns="121920" bIns="60960" numCol="1" anchor="t" anchorCtr="0" compatLnSpc="1">
            <a:prstTxWarp prst="textNoShape">
              <a:avLst/>
            </a:prstTxWarp>
          </a:bodyPr>
          <a:lstStyle/>
          <a:p>
            <a:endParaRPr lang="nl-NL" sz="2400"/>
          </a:p>
        </p:txBody>
      </p:sp>
      <p:sp>
        <p:nvSpPr>
          <p:cNvPr id="28" name="Rectangle 27">
            <a:extLst>
              <a:ext uri="{FF2B5EF4-FFF2-40B4-BE49-F238E27FC236}">
                <a16:creationId xmlns:a16="http://schemas.microsoft.com/office/drawing/2014/main" xmlns="" id="{390B415D-30AC-4EE4-9FF3-327D2F1A3F62}"/>
              </a:ext>
            </a:extLst>
          </p:cNvPr>
          <p:cNvSpPr/>
          <p:nvPr/>
        </p:nvSpPr>
        <p:spPr bwMode="gray">
          <a:xfrm>
            <a:off x="1490227" y="3013574"/>
            <a:ext cx="3498552" cy="80381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spcBef>
                <a:spcPts val="400"/>
              </a:spcBef>
            </a:pPr>
            <a:r>
              <a:rPr lang="en-GB" sz="1867" b="1" dirty="0">
                <a:solidFill>
                  <a:schemeClr val="accent2"/>
                </a:solidFill>
                <a:latin typeface="Insight print" panose="02010605030100020000" pitchFamily="50" charset="0"/>
                <a:cs typeface="Arial" pitchFamily="34" charset="0"/>
              </a:rPr>
              <a:t>Trigger</a:t>
            </a:r>
            <a:endParaRPr lang="en-GB" sz="1467" dirty="0">
              <a:solidFill>
                <a:schemeClr val="tx1"/>
              </a:solidFill>
              <a:latin typeface="Insight print" panose="02010605030100020000" pitchFamily="50" charset="0"/>
              <a:cs typeface="Arial" pitchFamily="34" charset="0"/>
            </a:endParaRPr>
          </a:p>
        </p:txBody>
      </p:sp>
      <p:grpSp>
        <p:nvGrpSpPr>
          <p:cNvPr id="6" name="Gruppieren 7"/>
          <p:cNvGrpSpPr/>
          <p:nvPr>
            <p:custDataLst>
              <p:tags r:id="rId1"/>
            </p:custDataLst>
          </p:nvPr>
        </p:nvGrpSpPr>
        <p:grpSpPr bwMode="gray">
          <a:xfrm>
            <a:off x="431371" y="1842805"/>
            <a:ext cx="4416491" cy="4464431"/>
            <a:chOff x="323528" y="1974004"/>
            <a:chExt cx="2016022" cy="2037906"/>
          </a:xfrm>
          <a:solidFill>
            <a:schemeClr val="accent1"/>
          </a:solidFill>
        </p:grpSpPr>
        <p:sp>
          <p:nvSpPr>
            <p:cNvPr id="7" name="Ellipse 8"/>
            <p:cNvSpPr>
              <a:spLocks noChangeAspect="1"/>
            </p:cNvSpPr>
            <p:nvPr>
              <p:custDataLst>
                <p:tags r:id="rId4"/>
              </p:custDataLst>
            </p:nvPr>
          </p:nvSpPr>
          <p:spPr bwMode="gray">
            <a:xfrm>
              <a:off x="323528" y="1995894"/>
              <a:ext cx="2016022" cy="2016016"/>
            </a:xfrm>
            <a:prstGeom prst="ellips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864000" rIns="0" bIns="0" numCol="1" spcCol="0" rtlCol="0" fromWordArt="0" anchor="t" anchorCtr="0" forceAA="0" compatLnSpc="1">
              <a:prstTxWarp prst="textNoShape">
                <a:avLst/>
              </a:prstTxWarp>
              <a:noAutofit/>
            </a:bodyPr>
            <a:lstStyle/>
            <a:p>
              <a:pPr algn="ctr"/>
              <a:r>
                <a:rPr lang="en-US" sz="3200" dirty="0">
                  <a:solidFill>
                    <a:schemeClr val="bg1"/>
                  </a:solidFill>
                  <a:latin typeface="+mj-lt"/>
                  <a:cs typeface="Arial" pitchFamily="34" charset="0"/>
                </a:rPr>
                <a:t>Robots in retail</a:t>
              </a:r>
              <a:endParaRPr lang="en-US" sz="4000" dirty="0">
                <a:solidFill>
                  <a:schemeClr val="bg1"/>
                </a:solidFill>
                <a:latin typeface="+mj-lt"/>
                <a:cs typeface="Arial" pitchFamily="34" charset="0"/>
              </a:endParaRPr>
            </a:p>
          </p:txBody>
        </p:sp>
        <p:cxnSp>
          <p:nvCxnSpPr>
            <p:cNvPr id="8" name="Gerade Verbindung 9"/>
            <p:cNvCxnSpPr/>
            <p:nvPr/>
          </p:nvCxnSpPr>
          <p:spPr bwMode="gray">
            <a:xfrm>
              <a:off x="647463" y="2643758"/>
              <a:ext cx="1368152" cy="0"/>
            </a:xfrm>
            <a:prstGeom prst="line">
              <a:avLst/>
            </a:prstGeom>
            <a:grpFill/>
            <a:ln>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9" name="Rechteck 10"/>
            <p:cNvSpPr>
              <a:spLocks noChangeAspect="1"/>
            </p:cNvSpPr>
            <p:nvPr>
              <p:custDataLst>
                <p:tags r:id="rId5"/>
              </p:custDataLst>
            </p:nvPr>
          </p:nvSpPr>
          <p:spPr bwMode="gray">
            <a:xfrm>
              <a:off x="323528" y="1974004"/>
              <a:ext cx="2016022" cy="5039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endParaRPr lang="en-US" sz="10666" b="1" dirty="0">
                <a:solidFill>
                  <a:schemeClr val="bg1"/>
                </a:solidFill>
                <a:latin typeface="Arial" pitchFamily="34" charset="0"/>
                <a:cs typeface="Arial" pitchFamily="34" charset="0"/>
              </a:endParaRPr>
            </a:p>
          </p:txBody>
        </p:sp>
      </p:grpSp>
      <p:sp>
        <p:nvSpPr>
          <p:cNvPr id="21" name="Ellipse 92"/>
          <p:cNvSpPr/>
          <p:nvPr>
            <p:custDataLst>
              <p:tags r:id="rId2"/>
            </p:custDataLst>
          </p:nvPr>
        </p:nvSpPr>
        <p:spPr bwMode="gray">
          <a:xfrm flipH="1">
            <a:off x="3503712" y="1890760"/>
            <a:ext cx="1056000" cy="1056000"/>
          </a:xfrm>
          <a:prstGeom prst="ellipse">
            <a:avLst/>
          </a:prstGeom>
          <a:solidFill>
            <a:schemeClr val="accent2"/>
          </a:solid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2133" dirty="0">
              <a:solidFill>
                <a:srgbClr val="000000"/>
              </a:solidFill>
              <a:cs typeface="Arial" pitchFamily="34" charset="0"/>
            </a:endParaRPr>
          </a:p>
        </p:txBody>
      </p:sp>
      <p:grpSp>
        <p:nvGrpSpPr>
          <p:cNvPr id="31" name="logo">
            <a:extLst>
              <a:ext uri="{FF2B5EF4-FFF2-40B4-BE49-F238E27FC236}">
                <a16:creationId xmlns:a16="http://schemas.microsoft.com/office/drawing/2014/main" xmlns="" id="{02446A27-FA5D-424E-B1DD-009C355D67C2}"/>
              </a:ext>
            </a:extLst>
          </p:cNvPr>
          <p:cNvGrpSpPr>
            <a:grpSpLocks noChangeAspect="1"/>
          </p:cNvGrpSpPr>
          <p:nvPr/>
        </p:nvGrpSpPr>
        <p:grpSpPr bwMode="gray">
          <a:xfrm>
            <a:off x="11174018" y="401441"/>
            <a:ext cx="644225" cy="646507"/>
            <a:chOff x="2711" y="1027"/>
            <a:chExt cx="2258" cy="2266"/>
          </a:xfrm>
        </p:grpSpPr>
        <p:sp>
          <p:nvSpPr>
            <p:cNvPr id="32" name="AutoShape 3">
              <a:extLst>
                <a:ext uri="{FF2B5EF4-FFF2-40B4-BE49-F238E27FC236}">
                  <a16:creationId xmlns:a16="http://schemas.microsoft.com/office/drawing/2014/main" xmlns="" id="{B25CAEBE-B3C2-4311-B8B6-191BFD3DDA1B}"/>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33" name="Freeform 5">
              <a:extLst>
                <a:ext uri="{FF2B5EF4-FFF2-40B4-BE49-F238E27FC236}">
                  <a16:creationId xmlns:a16="http://schemas.microsoft.com/office/drawing/2014/main" xmlns="" id="{AC657DD4-A857-4BB3-8D28-D30B406C1EFE}"/>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34" name="Freeform 6">
              <a:extLst>
                <a:ext uri="{FF2B5EF4-FFF2-40B4-BE49-F238E27FC236}">
                  <a16:creationId xmlns:a16="http://schemas.microsoft.com/office/drawing/2014/main" xmlns="" id="{C544984B-8704-4EA2-A5A1-D386E9B5B582}"/>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35" name="Freeform 7">
              <a:extLst>
                <a:ext uri="{FF2B5EF4-FFF2-40B4-BE49-F238E27FC236}">
                  <a16:creationId xmlns:a16="http://schemas.microsoft.com/office/drawing/2014/main" xmlns="" id="{8B2F8F7B-92AD-42C4-90BA-64F39D811BB3}"/>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36" name="Oval 8">
              <a:extLst>
                <a:ext uri="{FF2B5EF4-FFF2-40B4-BE49-F238E27FC236}">
                  <a16:creationId xmlns:a16="http://schemas.microsoft.com/office/drawing/2014/main" xmlns="" id="{F2A7366C-F35C-4928-B56D-9D967A0BE12D}"/>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37" name="Freeform 9">
              <a:extLst>
                <a:ext uri="{FF2B5EF4-FFF2-40B4-BE49-F238E27FC236}">
                  <a16:creationId xmlns:a16="http://schemas.microsoft.com/office/drawing/2014/main" xmlns="" id="{1C6E37ED-960E-4410-8D7D-652BC347FD0F}"/>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38" name="Freeform 10">
              <a:extLst>
                <a:ext uri="{FF2B5EF4-FFF2-40B4-BE49-F238E27FC236}">
                  <a16:creationId xmlns:a16="http://schemas.microsoft.com/office/drawing/2014/main" xmlns="" id="{06712FAA-AFBF-4807-B6EF-9DC9D8467D20}"/>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39" name="Oval 11">
              <a:extLst>
                <a:ext uri="{FF2B5EF4-FFF2-40B4-BE49-F238E27FC236}">
                  <a16:creationId xmlns:a16="http://schemas.microsoft.com/office/drawing/2014/main" xmlns="" id="{0F2BCBF6-C652-4FCA-8081-991EAF3E2587}"/>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40" name="Freeform 12">
              <a:extLst>
                <a:ext uri="{FF2B5EF4-FFF2-40B4-BE49-F238E27FC236}">
                  <a16:creationId xmlns:a16="http://schemas.microsoft.com/office/drawing/2014/main" xmlns="" id="{8ED523D4-14EF-46A0-A412-4297CBD4BCF8}"/>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41" name="Freeform 13">
              <a:extLst>
                <a:ext uri="{FF2B5EF4-FFF2-40B4-BE49-F238E27FC236}">
                  <a16:creationId xmlns:a16="http://schemas.microsoft.com/office/drawing/2014/main" xmlns="" id="{E1924AA5-FC5F-475B-AEEE-69F156B0FA98}"/>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pic>
        <p:nvPicPr>
          <p:cNvPr id="42" name="Picture 41">
            <a:extLst>
              <a:ext uri="{FF2B5EF4-FFF2-40B4-BE49-F238E27FC236}">
                <a16:creationId xmlns:a16="http://schemas.microsoft.com/office/drawing/2014/main" xmlns="" id="{F0A968B7-F4F0-4192-B1F9-5F988D6F77AB}"/>
              </a:ext>
            </a:extLst>
          </p:cNvPr>
          <p:cNvPicPr>
            <a:picLocks noChangeAspect="1"/>
          </p:cNvPicPr>
          <p:nvPr/>
        </p:nvPicPr>
        <p:blipFill>
          <a:blip r:embed="rId8"/>
          <a:stretch>
            <a:fillRect/>
          </a:stretch>
        </p:blipFill>
        <p:spPr>
          <a:xfrm>
            <a:off x="10370170" y="401441"/>
            <a:ext cx="645366" cy="645366"/>
          </a:xfrm>
          <a:prstGeom prst="rect">
            <a:avLst/>
          </a:prstGeom>
        </p:spPr>
      </p:pic>
      <p:sp>
        <p:nvSpPr>
          <p:cNvPr id="43" name="Freeform 24">
            <a:extLst>
              <a:ext uri="{FF2B5EF4-FFF2-40B4-BE49-F238E27FC236}">
                <a16:creationId xmlns:a16="http://schemas.microsoft.com/office/drawing/2014/main" xmlns="" id="{9E489AB4-FB0C-45E1-BA53-0BA25DDA06F6}"/>
              </a:ext>
            </a:extLst>
          </p:cNvPr>
          <p:cNvSpPr>
            <a:spLocks noChangeAspect="1" noEditPoints="1"/>
          </p:cNvSpPr>
          <p:nvPr>
            <p:custDataLst>
              <p:tags r:id="rId3"/>
            </p:custDataLst>
          </p:nvPr>
        </p:nvSpPr>
        <p:spPr bwMode="auto">
          <a:xfrm>
            <a:off x="3808621" y="2082760"/>
            <a:ext cx="465231" cy="672000"/>
          </a:xfrm>
          <a:custGeom>
            <a:avLst/>
            <a:gdLst>
              <a:gd name="T0" fmla="*/ 1360 w 1440"/>
              <a:gd name="T1" fmla="*/ 1520 h 2080"/>
              <a:gd name="T2" fmla="*/ 1280 w 1440"/>
              <a:gd name="T3" fmla="*/ 1480 h 2080"/>
              <a:gd name="T4" fmla="*/ 1240 w 1440"/>
              <a:gd name="T5" fmla="*/ 1600 h 2080"/>
              <a:gd name="T6" fmla="*/ 1160 w 1440"/>
              <a:gd name="T7" fmla="*/ 1520 h 2080"/>
              <a:gd name="T8" fmla="*/ 1160 w 1440"/>
              <a:gd name="T9" fmla="*/ 1440 h 2080"/>
              <a:gd name="T10" fmla="*/ 1120 w 1440"/>
              <a:gd name="T11" fmla="*/ 880 h 2080"/>
              <a:gd name="T12" fmla="*/ 1000 w 1440"/>
              <a:gd name="T13" fmla="*/ 1440 h 2080"/>
              <a:gd name="T14" fmla="*/ 320 w 1440"/>
              <a:gd name="T15" fmla="*/ 1320 h 2080"/>
              <a:gd name="T16" fmla="*/ 280 w 1440"/>
              <a:gd name="T17" fmla="*/ 880 h 2080"/>
              <a:gd name="T18" fmla="*/ 249 w 1440"/>
              <a:gd name="T19" fmla="*/ 1440 h 2080"/>
              <a:gd name="T20" fmla="*/ 280 w 1440"/>
              <a:gd name="T21" fmla="*/ 1600 h 2080"/>
              <a:gd name="T22" fmla="*/ 200 w 1440"/>
              <a:gd name="T23" fmla="*/ 1520 h 2080"/>
              <a:gd name="T24" fmla="*/ 120 w 1440"/>
              <a:gd name="T25" fmla="*/ 1480 h 2080"/>
              <a:gd name="T26" fmla="*/ 80 w 1440"/>
              <a:gd name="T27" fmla="*/ 1600 h 2080"/>
              <a:gd name="T28" fmla="*/ 0 w 1440"/>
              <a:gd name="T29" fmla="*/ 1520 h 2080"/>
              <a:gd name="T30" fmla="*/ 0 w 1440"/>
              <a:gd name="T31" fmla="*/ 1440 h 2080"/>
              <a:gd name="T32" fmla="*/ 120 w 1440"/>
              <a:gd name="T33" fmla="*/ 720 h 2080"/>
              <a:gd name="T34" fmla="*/ 280 w 1440"/>
              <a:gd name="T35" fmla="*/ 800 h 2080"/>
              <a:gd name="T36" fmla="*/ 320 w 1440"/>
              <a:gd name="T37" fmla="*/ 760 h 2080"/>
              <a:gd name="T38" fmla="*/ 640 w 1440"/>
              <a:gd name="T39" fmla="*/ 640 h 2080"/>
              <a:gd name="T40" fmla="*/ 480 w 1440"/>
              <a:gd name="T41" fmla="*/ 600 h 2080"/>
              <a:gd name="T42" fmla="*/ 400 w 1440"/>
              <a:gd name="T43" fmla="*/ 400 h 2080"/>
              <a:gd name="T44" fmla="*/ 320 w 1440"/>
              <a:gd name="T45" fmla="*/ 160 h 2080"/>
              <a:gd name="T46" fmla="*/ 400 w 1440"/>
              <a:gd name="T47" fmla="*/ 80 h 2080"/>
              <a:gd name="T48" fmla="*/ 960 w 1440"/>
              <a:gd name="T49" fmla="*/ 0 h 2080"/>
              <a:gd name="T50" fmla="*/ 1040 w 1440"/>
              <a:gd name="T51" fmla="*/ 160 h 2080"/>
              <a:gd name="T52" fmla="*/ 1120 w 1440"/>
              <a:gd name="T53" fmla="*/ 400 h 2080"/>
              <a:gd name="T54" fmla="*/ 1040 w 1440"/>
              <a:gd name="T55" fmla="*/ 520 h 2080"/>
              <a:gd name="T56" fmla="*/ 800 w 1440"/>
              <a:gd name="T57" fmla="*/ 600 h 2080"/>
              <a:gd name="T58" fmla="*/ 1000 w 1440"/>
              <a:gd name="T59" fmla="*/ 640 h 2080"/>
              <a:gd name="T60" fmla="*/ 1120 w 1440"/>
              <a:gd name="T61" fmla="*/ 800 h 2080"/>
              <a:gd name="T62" fmla="*/ 1160 w 1440"/>
              <a:gd name="T63" fmla="*/ 720 h 2080"/>
              <a:gd name="T64" fmla="*/ 1440 w 1440"/>
              <a:gd name="T65" fmla="*/ 840 h 2080"/>
              <a:gd name="T66" fmla="*/ 1409 w 1440"/>
              <a:gd name="T67" fmla="*/ 1440 h 2080"/>
              <a:gd name="T68" fmla="*/ 1440 w 1440"/>
              <a:gd name="T69" fmla="*/ 1600 h 2080"/>
              <a:gd name="T70" fmla="*/ 843 w 1440"/>
              <a:gd name="T71" fmla="*/ 160 h 2080"/>
              <a:gd name="T72" fmla="*/ 843 w 1440"/>
              <a:gd name="T73" fmla="*/ 320 h 2080"/>
              <a:gd name="T74" fmla="*/ 843 w 1440"/>
              <a:gd name="T75" fmla="*/ 160 h 2080"/>
              <a:gd name="T76" fmla="*/ 523 w 1440"/>
              <a:gd name="T77" fmla="*/ 240 h 2080"/>
              <a:gd name="T78" fmla="*/ 683 w 1440"/>
              <a:gd name="T79" fmla="*/ 240 h 2080"/>
              <a:gd name="T80" fmla="*/ 680 w 1440"/>
              <a:gd name="T81" fmla="*/ 1960 h 2080"/>
              <a:gd name="T82" fmla="*/ 320 w 1440"/>
              <a:gd name="T83" fmla="*/ 2080 h 2080"/>
              <a:gd name="T84" fmla="*/ 358 w 1440"/>
              <a:gd name="T85" fmla="*/ 1892 h 2080"/>
              <a:gd name="T86" fmla="*/ 680 w 1440"/>
              <a:gd name="T87" fmla="*/ 1960 h 2080"/>
              <a:gd name="T88" fmla="*/ 360 w 1440"/>
              <a:gd name="T89" fmla="*/ 1458 h 2080"/>
              <a:gd name="T90" fmla="*/ 640 w 1440"/>
              <a:gd name="T91" fmla="*/ 1480 h 2080"/>
              <a:gd name="T92" fmla="*/ 360 w 1440"/>
              <a:gd name="T93" fmla="*/ 1852 h 2080"/>
              <a:gd name="T94" fmla="*/ 1120 w 1440"/>
              <a:gd name="T95" fmla="*/ 2080 h 2080"/>
              <a:gd name="T96" fmla="*/ 760 w 1440"/>
              <a:gd name="T97" fmla="*/ 1960 h 2080"/>
              <a:gd name="T98" fmla="*/ 1082 w 1440"/>
              <a:gd name="T99" fmla="*/ 1892 h 2080"/>
              <a:gd name="T100" fmla="*/ 800 w 1440"/>
              <a:gd name="T101" fmla="*/ 1852 h 2080"/>
              <a:gd name="T102" fmla="*/ 1000 w 1440"/>
              <a:gd name="T103" fmla="*/ 1480 h 2080"/>
              <a:gd name="T104" fmla="*/ 1080 w 1440"/>
              <a:gd name="T105" fmla="*/ 1852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40" h="2080">
                <a:moveTo>
                  <a:pt x="1360" y="1600"/>
                </a:moveTo>
                <a:cubicBezTo>
                  <a:pt x="1360" y="1520"/>
                  <a:pt x="1360" y="1520"/>
                  <a:pt x="1360" y="1520"/>
                </a:cubicBezTo>
                <a:cubicBezTo>
                  <a:pt x="1360" y="1498"/>
                  <a:pt x="1342" y="1480"/>
                  <a:pt x="1320" y="1480"/>
                </a:cubicBezTo>
                <a:cubicBezTo>
                  <a:pt x="1280" y="1480"/>
                  <a:pt x="1280" y="1480"/>
                  <a:pt x="1280" y="1480"/>
                </a:cubicBezTo>
                <a:cubicBezTo>
                  <a:pt x="1258" y="1480"/>
                  <a:pt x="1240" y="1498"/>
                  <a:pt x="1240" y="1520"/>
                </a:cubicBezTo>
                <a:cubicBezTo>
                  <a:pt x="1240" y="1600"/>
                  <a:pt x="1240" y="1600"/>
                  <a:pt x="1240" y="1600"/>
                </a:cubicBezTo>
                <a:cubicBezTo>
                  <a:pt x="1160" y="1600"/>
                  <a:pt x="1160" y="1600"/>
                  <a:pt x="1160" y="1600"/>
                </a:cubicBezTo>
                <a:cubicBezTo>
                  <a:pt x="1160" y="1520"/>
                  <a:pt x="1160" y="1520"/>
                  <a:pt x="1160" y="1520"/>
                </a:cubicBezTo>
                <a:cubicBezTo>
                  <a:pt x="1160" y="1489"/>
                  <a:pt x="1172" y="1461"/>
                  <a:pt x="1191" y="1440"/>
                </a:cubicBezTo>
                <a:cubicBezTo>
                  <a:pt x="1160" y="1440"/>
                  <a:pt x="1160" y="1440"/>
                  <a:pt x="1160" y="1440"/>
                </a:cubicBezTo>
                <a:cubicBezTo>
                  <a:pt x="1160" y="880"/>
                  <a:pt x="1160" y="880"/>
                  <a:pt x="1160" y="880"/>
                </a:cubicBezTo>
                <a:cubicBezTo>
                  <a:pt x="1120" y="880"/>
                  <a:pt x="1120" y="880"/>
                  <a:pt x="1120" y="880"/>
                </a:cubicBezTo>
                <a:cubicBezTo>
                  <a:pt x="1120" y="1320"/>
                  <a:pt x="1120" y="1320"/>
                  <a:pt x="1120" y="1320"/>
                </a:cubicBezTo>
                <a:cubicBezTo>
                  <a:pt x="1120" y="1386"/>
                  <a:pt x="1066" y="1440"/>
                  <a:pt x="1000" y="1440"/>
                </a:cubicBezTo>
                <a:cubicBezTo>
                  <a:pt x="440" y="1440"/>
                  <a:pt x="440" y="1440"/>
                  <a:pt x="440" y="1440"/>
                </a:cubicBezTo>
                <a:cubicBezTo>
                  <a:pt x="374" y="1440"/>
                  <a:pt x="320" y="1386"/>
                  <a:pt x="320" y="1320"/>
                </a:cubicBezTo>
                <a:cubicBezTo>
                  <a:pt x="320" y="880"/>
                  <a:pt x="320" y="880"/>
                  <a:pt x="320" y="880"/>
                </a:cubicBezTo>
                <a:cubicBezTo>
                  <a:pt x="280" y="880"/>
                  <a:pt x="280" y="880"/>
                  <a:pt x="280" y="880"/>
                </a:cubicBezTo>
                <a:cubicBezTo>
                  <a:pt x="280" y="1440"/>
                  <a:pt x="280" y="1440"/>
                  <a:pt x="280" y="1440"/>
                </a:cubicBezTo>
                <a:cubicBezTo>
                  <a:pt x="249" y="1440"/>
                  <a:pt x="249" y="1440"/>
                  <a:pt x="249" y="1440"/>
                </a:cubicBezTo>
                <a:cubicBezTo>
                  <a:pt x="268" y="1461"/>
                  <a:pt x="280" y="1489"/>
                  <a:pt x="280" y="1520"/>
                </a:cubicBezTo>
                <a:cubicBezTo>
                  <a:pt x="280" y="1600"/>
                  <a:pt x="280" y="1600"/>
                  <a:pt x="280" y="1600"/>
                </a:cubicBezTo>
                <a:cubicBezTo>
                  <a:pt x="200" y="1600"/>
                  <a:pt x="200" y="1600"/>
                  <a:pt x="200" y="1600"/>
                </a:cubicBezTo>
                <a:cubicBezTo>
                  <a:pt x="200" y="1520"/>
                  <a:pt x="200" y="1520"/>
                  <a:pt x="200" y="1520"/>
                </a:cubicBezTo>
                <a:cubicBezTo>
                  <a:pt x="200" y="1498"/>
                  <a:pt x="182" y="1480"/>
                  <a:pt x="160" y="1480"/>
                </a:cubicBezTo>
                <a:cubicBezTo>
                  <a:pt x="120" y="1480"/>
                  <a:pt x="120" y="1480"/>
                  <a:pt x="120" y="1480"/>
                </a:cubicBezTo>
                <a:cubicBezTo>
                  <a:pt x="98" y="1480"/>
                  <a:pt x="80" y="1498"/>
                  <a:pt x="80" y="1520"/>
                </a:cubicBezTo>
                <a:cubicBezTo>
                  <a:pt x="80" y="1600"/>
                  <a:pt x="80" y="1600"/>
                  <a:pt x="80" y="1600"/>
                </a:cubicBezTo>
                <a:cubicBezTo>
                  <a:pt x="0" y="1600"/>
                  <a:pt x="0" y="1600"/>
                  <a:pt x="0" y="1600"/>
                </a:cubicBezTo>
                <a:cubicBezTo>
                  <a:pt x="0" y="1520"/>
                  <a:pt x="0" y="1520"/>
                  <a:pt x="0" y="1520"/>
                </a:cubicBezTo>
                <a:cubicBezTo>
                  <a:pt x="0" y="1489"/>
                  <a:pt x="12" y="1461"/>
                  <a:pt x="31" y="1440"/>
                </a:cubicBezTo>
                <a:cubicBezTo>
                  <a:pt x="0" y="1440"/>
                  <a:pt x="0" y="1440"/>
                  <a:pt x="0" y="1440"/>
                </a:cubicBezTo>
                <a:cubicBezTo>
                  <a:pt x="0" y="840"/>
                  <a:pt x="0" y="840"/>
                  <a:pt x="0" y="840"/>
                </a:cubicBezTo>
                <a:cubicBezTo>
                  <a:pt x="0" y="774"/>
                  <a:pt x="54" y="720"/>
                  <a:pt x="120" y="720"/>
                </a:cubicBezTo>
                <a:cubicBezTo>
                  <a:pt x="280" y="720"/>
                  <a:pt x="280" y="720"/>
                  <a:pt x="280" y="720"/>
                </a:cubicBezTo>
                <a:cubicBezTo>
                  <a:pt x="280" y="800"/>
                  <a:pt x="280" y="800"/>
                  <a:pt x="280" y="800"/>
                </a:cubicBezTo>
                <a:cubicBezTo>
                  <a:pt x="320" y="800"/>
                  <a:pt x="320" y="800"/>
                  <a:pt x="320" y="800"/>
                </a:cubicBezTo>
                <a:cubicBezTo>
                  <a:pt x="320" y="760"/>
                  <a:pt x="320" y="760"/>
                  <a:pt x="320" y="760"/>
                </a:cubicBezTo>
                <a:cubicBezTo>
                  <a:pt x="320" y="694"/>
                  <a:pt x="374" y="640"/>
                  <a:pt x="440" y="640"/>
                </a:cubicBezTo>
                <a:cubicBezTo>
                  <a:pt x="640" y="640"/>
                  <a:pt x="640" y="640"/>
                  <a:pt x="640" y="640"/>
                </a:cubicBezTo>
                <a:cubicBezTo>
                  <a:pt x="640" y="600"/>
                  <a:pt x="640" y="600"/>
                  <a:pt x="640" y="600"/>
                </a:cubicBezTo>
                <a:cubicBezTo>
                  <a:pt x="480" y="600"/>
                  <a:pt x="480" y="600"/>
                  <a:pt x="480" y="600"/>
                </a:cubicBezTo>
                <a:cubicBezTo>
                  <a:pt x="436" y="600"/>
                  <a:pt x="400" y="564"/>
                  <a:pt x="400" y="520"/>
                </a:cubicBezTo>
                <a:cubicBezTo>
                  <a:pt x="400" y="400"/>
                  <a:pt x="400" y="400"/>
                  <a:pt x="400" y="400"/>
                </a:cubicBezTo>
                <a:cubicBezTo>
                  <a:pt x="320" y="400"/>
                  <a:pt x="320" y="400"/>
                  <a:pt x="320" y="400"/>
                </a:cubicBezTo>
                <a:cubicBezTo>
                  <a:pt x="320" y="160"/>
                  <a:pt x="320" y="160"/>
                  <a:pt x="320" y="160"/>
                </a:cubicBezTo>
                <a:cubicBezTo>
                  <a:pt x="400" y="160"/>
                  <a:pt x="400" y="160"/>
                  <a:pt x="400" y="160"/>
                </a:cubicBezTo>
                <a:cubicBezTo>
                  <a:pt x="400" y="80"/>
                  <a:pt x="400" y="80"/>
                  <a:pt x="400" y="80"/>
                </a:cubicBezTo>
                <a:cubicBezTo>
                  <a:pt x="400" y="36"/>
                  <a:pt x="436" y="0"/>
                  <a:pt x="480" y="0"/>
                </a:cubicBezTo>
                <a:cubicBezTo>
                  <a:pt x="960" y="0"/>
                  <a:pt x="960" y="0"/>
                  <a:pt x="960" y="0"/>
                </a:cubicBezTo>
                <a:cubicBezTo>
                  <a:pt x="1004" y="0"/>
                  <a:pt x="1040" y="36"/>
                  <a:pt x="1040" y="80"/>
                </a:cubicBezTo>
                <a:cubicBezTo>
                  <a:pt x="1040" y="160"/>
                  <a:pt x="1040" y="160"/>
                  <a:pt x="1040" y="160"/>
                </a:cubicBezTo>
                <a:cubicBezTo>
                  <a:pt x="1120" y="160"/>
                  <a:pt x="1120" y="160"/>
                  <a:pt x="1120" y="160"/>
                </a:cubicBezTo>
                <a:cubicBezTo>
                  <a:pt x="1120" y="400"/>
                  <a:pt x="1120" y="400"/>
                  <a:pt x="1120" y="400"/>
                </a:cubicBezTo>
                <a:cubicBezTo>
                  <a:pt x="1040" y="400"/>
                  <a:pt x="1040" y="400"/>
                  <a:pt x="1040" y="400"/>
                </a:cubicBezTo>
                <a:cubicBezTo>
                  <a:pt x="1040" y="520"/>
                  <a:pt x="1040" y="520"/>
                  <a:pt x="1040" y="520"/>
                </a:cubicBezTo>
                <a:cubicBezTo>
                  <a:pt x="1040" y="564"/>
                  <a:pt x="1004" y="600"/>
                  <a:pt x="960" y="600"/>
                </a:cubicBezTo>
                <a:cubicBezTo>
                  <a:pt x="800" y="600"/>
                  <a:pt x="800" y="600"/>
                  <a:pt x="800" y="600"/>
                </a:cubicBezTo>
                <a:cubicBezTo>
                  <a:pt x="800" y="640"/>
                  <a:pt x="800" y="640"/>
                  <a:pt x="800" y="640"/>
                </a:cubicBezTo>
                <a:cubicBezTo>
                  <a:pt x="1000" y="640"/>
                  <a:pt x="1000" y="640"/>
                  <a:pt x="1000" y="640"/>
                </a:cubicBezTo>
                <a:cubicBezTo>
                  <a:pt x="1066" y="640"/>
                  <a:pt x="1120" y="694"/>
                  <a:pt x="1120" y="760"/>
                </a:cubicBezTo>
                <a:cubicBezTo>
                  <a:pt x="1120" y="800"/>
                  <a:pt x="1120" y="800"/>
                  <a:pt x="1120" y="800"/>
                </a:cubicBezTo>
                <a:cubicBezTo>
                  <a:pt x="1160" y="800"/>
                  <a:pt x="1160" y="800"/>
                  <a:pt x="1160" y="800"/>
                </a:cubicBezTo>
                <a:cubicBezTo>
                  <a:pt x="1160" y="720"/>
                  <a:pt x="1160" y="720"/>
                  <a:pt x="1160" y="720"/>
                </a:cubicBezTo>
                <a:cubicBezTo>
                  <a:pt x="1320" y="720"/>
                  <a:pt x="1320" y="720"/>
                  <a:pt x="1320" y="720"/>
                </a:cubicBezTo>
                <a:cubicBezTo>
                  <a:pt x="1386" y="720"/>
                  <a:pt x="1440" y="774"/>
                  <a:pt x="1440" y="840"/>
                </a:cubicBezTo>
                <a:cubicBezTo>
                  <a:pt x="1440" y="1440"/>
                  <a:pt x="1440" y="1440"/>
                  <a:pt x="1440" y="1440"/>
                </a:cubicBezTo>
                <a:cubicBezTo>
                  <a:pt x="1409" y="1440"/>
                  <a:pt x="1409" y="1440"/>
                  <a:pt x="1409" y="1440"/>
                </a:cubicBezTo>
                <a:cubicBezTo>
                  <a:pt x="1428" y="1461"/>
                  <a:pt x="1440" y="1489"/>
                  <a:pt x="1440" y="1520"/>
                </a:cubicBezTo>
                <a:cubicBezTo>
                  <a:pt x="1440" y="1600"/>
                  <a:pt x="1440" y="1600"/>
                  <a:pt x="1440" y="1600"/>
                </a:cubicBezTo>
                <a:lnTo>
                  <a:pt x="1360" y="1600"/>
                </a:lnTo>
                <a:close/>
                <a:moveTo>
                  <a:pt x="843" y="160"/>
                </a:moveTo>
                <a:cubicBezTo>
                  <a:pt x="798" y="160"/>
                  <a:pt x="763" y="195"/>
                  <a:pt x="763" y="240"/>
                </a:cubicBezTo>
                <a:cubicBezTo>
                  <a:pt x="763" y="284"/>
                  <a:pt x="798" y="320"/>
                  <a:pt x="843" y="320"/>
                </a:cubicBezTo>
                <a:cubicBezTo>
                  <a:pt x="887" y="320"/>
                  <a:pt x="923" y="284"/>
                  <a:pt x="923" y="240"/>
                </a:cubicBezTo>
                <a:cubicBezTo>
                  <a:pt x="923" y="195"/>
                  <a:pt x="887" y="160"/>
                  <a:pt x="843" y="160"/>
                </a:cubicBezTo>
                <a:close/>
                <a:moveTo>
                  <a:pt x="603" y="160"/>
                </a:moveTo>
                <a:cubicBezTo>
                  <a:pt x="558" y="160"/>
                  <a:pt x="523" y="195"/>
                  <a:pt x="523" y="240"/>
                </a:cubicBezTo>
                <a:cubicBezTo>
                  <a:pt x="523" y="284"/>
                  <a:pt x="558" y="320"/>
                  <a:pt x="603" y="320"/>
                </a:cubicBezTo>
                <a:cubicBezTo>
                  <a:pt x="647" y="320"/>
                  <a:pt x="683" y="284"/>
                  <a:pt x="683" y="240"/>
                </a:cubicBezTo>
                <a:cubicBezTo>
                  <a:pt x="683" y="195"/>
                  <a:pt x="647" y="160"/>
                  <a:pt x="603" y="160"/>
                </a:cubicBezTo>
                <a:close/>
                <a:moveTo>
                  <a:pt x="680" y="1960"/>
                </a:moveTo>
                <a:cubicBezTo>
                  <a:pt x="680" y="2080"/>
                  <a:pt x="680" y="2080"/>
                  <a:pt x="680" y="2080"/>
                </a:cubicBezTo>
                <a:cubicBezTo>
                  <a:pt x="560" y="2080"/>
                  <a:pt x="440" y="2080"/>
                  <a:pt x="320" y="2080"/>
                </a:cubicBezTo>
                <a:cubicBezTo>
                  <a:pt x="320" y="1960"/>
                  <a:pt x="320" y="1960"/>
                  <a:pt x="320" y="1960"/>
                </a:cubicBezTo>
                <a:cubicBezTo>
                  <a:pt x="320" y="1932"/>
                  <a:pt x="334" y="1906"/>
                  <a:pt x="358" y="1892"/>
                </a:cubicBezTo>
                <a:cubicBezTo>
                  <a:pt x="642" y="1892"/>
                  <a:pt x="642" y="1892"/>
                  <a:pt x="642" y="1892"/>
                </a:cubicBezTo>
                <a:cubicBezTo>
                  <a:pt x="665" y="1906"/>
                  <a:pt x="680" y="1932"/>
                  <a:pt x="680" y="1960"/>
                </a:cubicBezTo>
                <a:close/>
                <a:moveTo>
                  <a:pt x="360" y="1852"/>
                </a:moveTo>
                <a:cubicBezTo>
                  <a:pt x="360" y="1458"/>
                  <a:pt x="360" y="1458"/>
                  <a:pt x="360" y="1458"/>
                </a:cubicBezTo>
                <a:cubicBezTo>
                  <a:pt x="384" y="1472"/>
                  <a:pt x="412" y="1480"/>
                  <a:pt x="440" y="1480"/>
                </a:cubicBezTo>
                <a:cubicBezTo>
                  <a:pt x="640" y="1480"/>
                  <a:pt x="640" y="1480"/>
                  <a:pt x="640" y="1480"/>
                </a:cubicBezTo>
                <a:cubicBezTo>
                  <a:pt x="640" y="1852"/>
                  <a:pt x="640" y="1852"/>
                  <a:pt x="640" y="1852"/>
                </a:cubicBezTo>
                <a:lnTo>
                  <a:pt x="360" y="1852"/>
                </a:lnTo>
                <a:close/>
                <a:moveTo>
                  <a:pt x="1120" y="1960"/>
                </a:moveTo>
                <a:cubicBezTo>
                  <a:pt x="1120" y="2080"/>
                  <a:pt x="1120" y="2080"/>
                  <a:pt x="1120" y="2080"/>
                </a:cubicBezTo>
                <a:cubicBezTo>
                  <a:pt x="1000" y="2080"/>
                  <a:pt x="880" y="2080"/>
                  <a:pt x="760" y="2080"/>
                </a:cubicBezTo>
                <a:cubicBezTo>
                  <a:pt x="760" y="1960"/>
                  <a:pt x="760" y="1960"/>
                  <a:pt x="760" y="1960"/>
                </a:cubicBezTo>
                <a:cubicBezTo>
                  <a:pt x="760" y="1932"/>
                  <a:pt x="775" y="1906"/>
                  <a:pt x="798" y="1892"/>
                </a:cubicBezTo>
                <a:cubicBezTo>
                  <a:pt x="1082" y="1892"/>
                  <a:pt x="1082" y="1892"/>
                  <a:pt x="1082" y="1892"/>
                </a:cubicBezTo>
                <a:cubicBezTo>
                  <a:pt x="1105" y="1906"/>
                  <a:pt x="1120" y="1932"/>
                  <a:pt x="1120" y="1960"/>
                </a:cubicBezTo>
                <a:close/>
                <a:moveTo>
                  <a:pt x="800" y="1852"/>
                </a:moveTo>
                <a:cubicBezTo>
                  <a:pt x="800" y="1480"/>
                  <a:pt x="800" y="1480"/>
                  <a:pt x="800" y="1480"/>
                </a:cubicBezTo>
                <a:cubicBezTo>
                  <a:pt x="1000" y="1480"/>
                  <a:pt x="1000" y="1480"/>
                  <a:pt x="1000" y="1480"/>
                </a:cubicBezTo>
                <a:cubicBezTo>
                  <a:pt x="1028" y="1480"/>
                  <a:pt x="1056" y="1472"/>
                  <a:pt x="1080" y="1458"/>
                </a:cubicBezTo>
                <a:cubicBezTo>
                  <a:pt x="1080" y="1852"/>
                  <a:pt x="1080" y="1852"/>
                  <a:pt x="1080" y="1852"/>
                </a:cubicBezTo>
                <a:lnTo>
                  <a:pt x="800" y="1852"/>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333" noProof="1"/>
          </a:p>
        </p:txBody>
      </p:sp>
      <p:sp>
        <p:nvSpPr>
          <p:cNvPr id="4" name="Title 3">
            <a:extLst>
              <a:ext uri="{FF2B5EF4-FFF2-40B4-BE49-F238E27FC236}">
                <a16:creationId xmlns:a16="http://schemas.microsoft.com/office/drawing/2014/main" xmlns="" id="{42E8A1F6-0229-4D1F-A7C2-9F5DDF276FF3}"/>
              </a:ext>
            </a:extLst>
          </p:cNvPr>
          <p:cNvSpPr>
            <a:spLocks noGrp="1"/>
          </p:cNvSpPr>
          <p:nvPr>
            <p:ph type="title"/>
          </p:nvPr>
        </p:nvSpPr>
        <p:spPr/>
        <p:txBody>
          <a:bodyPr/>
          <a:lstStyle/>
          <a:p>
            <a:r>
              <a:rPr lang="nl-NL" dirty="0"/>
              <a:t>Do we </a:t>
            </a:r>
            <a:r>
              <a:rPr lang="nl-NL" dirty="0" err="1"/>
              <a:t>see</a:t>
            </a:r>
            <a:r>
              <a:rPr lang="nl-NL" dirty="0"/>
              <a:t> </a:t>
            </a:r>
            <a:r>
              <a:rPr lang="nl-NL" dirty="0" err="1"/>
              <a:t>this</a:t>
            </a:r>
            <a:r>
              <a:rPr lang="nl-NL" dirty="0"/>
              <a:t> in stores in 2025?</a:t>
            </a:r>
          </a:p>
        </p:txBody>
      </p:sp>
      <p:pic>
        <p:nvPicPr>
          <p:cNvPr id="12" name="Picture Placeholder 11" descr="A picture containing indoor, sitting, computer, computer&#10;&#10;Description automatically generated">
            <a:extLst>
              <a:ext uri="{FF2B5EF4-FFF2-40B4-BE49-F238E27FC236}">
                <a16:creationId xmlns:a16="http://schemas.microsoft.com/office/drawing/2014/main" xmlns="" id="{F38236FE-E7F1-401B-8F80-CD5BFC312D6F}"/>
              </a:ext>
            </a:extLst>
          </p:cNvPr>
          <p:cNvPicPr>
            <a:picLocks noGrp="1" noChangeAspect="1"/>
          </p:cNvPicPr>
          <p:nvPr>
            <p:ph type="pic" sz="quarter" idx="17"/>
          </p:nvPr>
        </p:nvPicPr>
        <p:blipFill>
          <a:blip r:embed="rId9">
            <a:extLst>
              <a:ext uri="{28A0092B-C50C-407E-A947-70E740481C1C}">
                <a14:useLocalDpi xmlns:a14="http://schemas.microsoft.com/office/drawing/2010/main" val="0"/>
              </a:ext>
            </a:extLst>
          </a:blip>
          <a:srcRect l="7012" r="7012"/>
          <a:stretch>
            <a:fillRect/>
          </a:stretch>
        </p:blipFill>
        <p:spPr/>
      </p:pic>
      <p:sp>
        <p:nvSpPr>
          <p:cNvPr id="5" name="Slide Number Placeholder 4">
            <a:extLst>
              <a:ext uri="{FF2B5EF4-FFF2-40B4-BE49-F238E27FC236}">
                <a16:creationId xmlns:a16="http://schemas.microsoft.com/office/drawing/2014/main" xmlns="" id="{0DA3B993-4C1F-4F07-A4D2-FEEC16CB9A0F}"/>
              </a:ext>
            </a:extLst>
          </p:cNvPr>
          <p:cNvSpPr>
            <a:spLocks noGrp="1"/>
          </p:cNvSpPr>
          <p:nvPr>
            <p:ph type="sldNum" sz="quarter" idx="20"/>
          </p:nvPr>
        </p:nvSpPr>
        <p:spPr/>
        <p:txBody>
          <a:bodyPr/>
          <a:lstStyle/>
          <a:p>
            <a:fld id="{5F3E29E4-0979-4FCA-B4C5-5FC6044C982A}" type="slidenum">
              <a:rPr lang="en-US" smtClean="0"/>
              <a:pPr/>
              <a:t>18</a:t>
            </a:fld>
            <a:endParaRPr lang="en-US"/>
          </a:p>
        </p:txBody>
      </p:sp>
    </p:spTree>
    <p:extLst>
      <p:ext uri="{BB962C8B-B14F-4D97-AF65-F5344CB8AC3E}">
        <p14:creationId xmlns:p14="http://schemas.microsoft.com/office/powerpoint/2010/main" val="9562866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27">
            <a:extLst>
              <a:ext uri="{FF2B5EF4-FFF2-40B4-BE49-F238E27FC236}">
                <a16:creationId xmlns:a16="http://schemas.microsoft.com/office/drawing/2014/main" xmlns="" id="{664DBD52-FF52-4D56-95D3-CB1F17C38AD7}"/>
              </a:ext>
            </a:extLst>
          </p:cNvPr>
          <p:cNvPicPr>
            <a:picLocks noChangeAspect="1"/>
          </p:cNvPicPr>
          <p:nvPr/>
        </p:nvPicPr>
        <p:blipFill>
          <a:blip r:embed="rId4"/>
          <a:stretch>
            <a:fillRect/>
          </a:stretch>
        </p:blipFill>
        <p:spPr>
          <a:xfrm>
            <a:off x="3616472" y="1732812"/>
            <a:ext cx="8575528" cy="5623860"/>
          </a:xfrm>
          <a:prstGeom prst="rect">
            <a:avLst/>
          </a:prstGeom>
        </p:spPr>
      </p:pic>
      <p:sp>
        <p:nvSpPr>
          <p:cNvPr id="29" name="Rectangle 28">
            <a:extLst>
              <a:ext uri="{FF2B5EF4-FFF2-40B4-BE49-F238E27FC236}">
                <a16:creationId xmlns:a16="http://schemas.microsoft.com/office/drawing/2014/main" xmlns="" id="{D616F657-A807-4EE8-9BAA-665196729948}"/>
              </a:ext>
            </a:extLst>
          </p:cNvPr>
          <p:cNvSpPr/>
          <p:nvPr/>
        </p:nvSpPr>
        <p:spPr bwMode="gray">
          <a:xfrm>
            <a:off x="655312" y="1565121"/>
            <a:ext cx="8329907" cy="6859149"/>
          </a:xfrm>
          <a:prstGeom prst="rect">
            <a:avLst/>
          </a:prstGeom>
          <a:gradFill>
            <a:gsLst>
              <a:gs pos="0">
                <a:schemeClr val="bg1"/>
              </a:gs>
              <a:gs pos="50000">
                <a:schemeClr val="bg1"/>
              </a:gs>
              <a:gs pos="100000">
                <a:schemeClr val="bg1">
                  <a:alpha val="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5306" tIns="32653" rIns="65306" bIns="32653" numCol="1" spcCol="0" rtlCol="0" fromWordArt="0" anchor="ctr" anchorCtr="0" forceAA="0" compatLnSpc="1">
            <a:prstTxWarp prst="textNoShape">
              <a:avLst/>
            </a:prstTxWarp>
            <a:noAutofit/>
          </a:bodyPr>
          <a:lstStyle/>
          <a:p>
            <a:pPr algn="ctr">
              <a:spcBef>
                <a:spcPts val="214"/>
              </a:spcBef>
            </a:pPr>
            <a:endParaRPr lang="en-US" sz="1100">
              <a:solidFill>
                <a:schemeClr val="tx1"/>
              </a:solidFill>
              <a:latin typeface="Arial" pitchFamily="34" charset="0"/>
              <a:cs typeface="Arial" pitchFamily="34" charset="0"/>
            </a:endParaRPr>
          </a:p>
        </p:txBody>
      </p:sp>
      <p:sp>
        <p:nvSpPr>
          <p:cNvPr id="4" name="Slide Number Placeholder 3"/>
          <p:cNvSpPr>
            <a:spLocks noGrp="1"/>
          </p:cNvSpPr>
          <p:nvPr>
            <p:ph type="sldNum" sz="quarter" idx="16"/>
          </p:nvPr>
        </p:nvSpPr>
        <p:spPr/>
        <p:txBody>
          <a:bodyPr/>
          <a:lstStyle/>
          <a:p>
            <a:fld id="{5F3E29E4-0979-4FCA-B4C5-5FC6044C982A}" type="slidenum">
              <a:rPr lang="en-US" smtClean="0">
                <a:solidFill>
                  <a:schemeClr val="bg1"/>
                </a:solidFill>
              </a:rPr>
              <a:pPr/>
              <a:t>19</a:t>
            </a:fld>
            <a:endParaRPr lang="en-US">
              <a:solidFill>
                <a:schemeClr val="bg1"/>
              </a:solidFill>
            </a:endParaRPr>
          </a:p>
        </p:txBody>
      </p:sp>
      <p:sp>
        <p:nvSpPr>
          <p:cNvPr id="5" name="Title 4">
            <a:extLst>
              <a:ext uri="{FF2B5EF4-FFF2-40B4-BE49-F238E27FC236}">
                <a16:creationId xmlns:a16="http://schemas.microsoft.com/office/drawing/2014/main" xmlns="" id="{DD0A8358-7E61-4DC3-9209-0B2B82A5B297}"/>
              </a:ext>
            </a:extLst>
          </p:cNvPr>
          <p:cNvSpPr>
            <a:spLocks noGrp="1"/>
          </p:cNvSpPr>
          <p:nvPr>
            <p:ph type="title"/>
          </p:nvPr>
        </p:nvSpPr>
        <p:spPr/>
        <p:txBody>
          <a:bodyPr/>
          <a:lstStyle/>
          <a:p>
            <a:r>
              <a:rPr lang="en-US" sz="2400" dirty="0"/>
              <a:t>Majority of consumers are not open to being served by robots in physical stores</a:t>
            </a:r>
          </a:p>
        </p:txBody>
      </p:sp>
      <p:sp>
        <p:nvSpPr>
          <p:cNvPr id="13" name="Title 8">
            <a:extLst>
              <a:ext uri="{FF2B5EF4-FFF2-40B4-BE49-F238E27FC236}">
                <a16:creationId xmlns:a16="http://schemas.microsoft.com/office/drawing/2014/main" xmlns="" id="{ACCDD687-D440-4E47-99E1-B5D85E03426A}"/>
              </a:ext>
            </a:extLst>
          </p:cNvPr>
          <p:cNvSpPr txBox="1">
            <a:spLocks/>
          </p:cNvSpPr>
          <p:nvPr/>
        </p:nvSpPr>
        <p:spPr bwMode="gray">
          <a:xfrm>
            <a:off x="1167319" y="1340722"/>
            <a:ext cx="10525328"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en-US" sz="1200" b="1">
                <a:latin typeface="+mj-lt"/>
              </a:rPr>
              <a:t>Experiences usage of robots in physical stores</a:t>
            </a:r>
          </a:p>
        </p:txBody>
      </p:sp>
      <p:cxnSp>
        <p:nvCxnSpPr>
          <p:cNvPr id="20" name="Straight Connector 19">
            <a:extLst>
              <a:ext uri="{FF2B5EF4-FFF2-40B4-BE49-F238E27FC236}">
                <a16:creationId xmlns:a16="http://schemas.microsoft.com/office/drawing/2014/main" xmlns="" id="{FC2E89E4-20A2-40EF-BD67-C1880F6EF9F9}"/>
              </a:ext>
            </a:extLst>
          </p:cNvPr>
          <p:cNvCxnSpPr>
            <a:cxnSpLocks/>
          </p:cNvCxnSpPr>
          <p:nvPr/>
        </p:nvCxnSpPr>
        <p:spPr>
          <a:xfrm>
            <a:off x="1167319" y="1628754"/>
            <a:ext cx="10525328"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xmlns="" id="{1CCCC117-CE2E-476C-A891-FD0CD862595F}"/>
              </a:ext>
            </a:extLst>
          </p:cNvPr>
          <p:cNvSpPr txBox="1">
            <a:spLocks/>
          </p:cNvSpPr>
          <p:nvPr/>
        </p:nvSpPr>
        <p:spPr bwMode="gray">
          <a:xfrm>
            <a:off x="10394509" y="6317189"/>
            <a:ext cx="1440160" cy="144462"/>
          </a:xfrm>
          <a:prstGeom prst="rect">
            <a:avLst/>
          </a:prstGeom>
        </p:spPr>
        <p:txBody>
          <a:bodyPr vert="horz" lIns="0" tIns="0" rIns="0" bIns="36000" rtlCol="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800" kern="1200" baseline="0" noProof="0" smtClean="0">
                <a:solidFill>
                  <a:schemeClr val="bg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spcAft>
                <a:spcPts val="0"/>
              </a:spcAft>
              <a:buFont typeface="Arial" pitchFamily="34" charset="0"/>
              <a:buNone/>
              <a:defRPr lang="de-DE" sz="800" kern="1200" baseline="0" noProof="0" smtClean="0">
                <a:solidFill>
                  <a:schemeClr val="bg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9pPr>
          </a:lstStyle>
          <a:p>
            <a:pPr algn="r"/>
            <a:r>
              <a:rPr lang="en-US" sz="900">
                <a:solidFill>
                  <a:schemeClr val="bg1"/>
                </a:solidFill>
                <a:latin typeface="+mj-lt"/>
              </a:rPr>
              <a:t>Base: splitrun 2, n=513</a:t>
            </a:r>
          </a:p>
        </p:txBody>
      </p:sp>
      <p:sp>
        <p:nvSpPr>
          <p:cNvPr id="22" name="Title 3">
            <a:extLst>
              <a:ext uri="{FF2B5EF4-FFF2-40B4-BE49-F238E27FC236}">
                <a16:creationId xmlns:a16="http://schemas.microsoft.com/office/drawing/2014/main" xmlns="" id="{176CBE2E-94B1-4842-A7BA-3468CDB0A339}"/>
              </a:ext>
            </a:extLst>
          </p:cNvPr>
          <p:cNvSpPr txBox="1">
            <a:spLocks noChangeAspect="1"/>
          </p:cNvSpPr>
          <p:nvPr>
            <p:custDataLst>
              <p:tags r:id="rId1"/>
            </p:custDataLst>
          </p:nvPr>
        </p:nvSpPr>
        <p:spPr bwMode="gray">
          <a:xfrm>
            <a:off x="-880065" y="1645744"/>
            <a:ext cx="8697432" cy="8692634"/>
          </a:xfrm>
          <a:prstGeom prst="ellipse">
            <a:avLst/>
          </a:prstGeom>
          <a:solidFill>
            <a:schemeClr val="accent2">
              <a:alpha val="80000"/>
            </a:schemeClr>
          </a:solidFill>
        </p:spPr>
        <p:txBody>
          <a:bodyPr vert="horz" wrap="square" lIns="0" tIns="0" rIns="0" bIns="0" rtlCol="0" anchor="t" anchorCtr="0">
            <a:noAutofit/>
          </a:bodyPr>
          <a:lstStyle>
            <a:lvl1pPr algn="l" defTabSz="914400" rtl="0" eaLnBrk="1" latinLnBrk="0" hangingPunct="1">
              <a:spcBef>
                <a:spcPct val="0"/>
              </a:spcBef>
              <a:buNone/>
              <a:defRPr sz="1800" kern="1200">
                <a:solidFill>
                  <a:schemeClr val="tx1"/>
                </a:solidFill>
                <a:latin typeface="Arial" pitchFamily="34" charset="0"/>
                <a:ea typeface="+mj-ea"/>
                <a:cs typeface="+mj-cs"/>
              </a:defRPr>
            </a:lvl1pPr>
          </a:lstStyle>
          <a:p>
            <a:pPr algn="ctr">
              <a:lnSpc>
                <a:spcPct val="90000"/>
              </a:lnSpc>
              <a:spcBef>
                <a:spcPts val="300"/>
              </a:spcBef>
            </a:pPr>
            <a:endParaRPr lang="en-US" sz="2000">
              <a:solidFill>
                <a:schemeClr val="bg1"/>
              </a:solidFill>
            </a:endParaRPr>
          </a:p>
          <a:p>
            <a:pPr algn="ctr">
              <a:lnSpc>
                <a:spcPct val="90000"/>
              </a:lnSpc>
              <a:spcBef>
                <a:spcPts val="300"/>
              </a:spcBef>
            </a:pPr>
            <a:endParaRPr lang="en-US" sz="2000">
              <a:solidFill>
                <a:schemeClr val="bg1"/>
              </a:solidFill>
            </a:endParaRPr>
          </a:p>
        </p:txBody>
      </p:sp>
      <p:sp>
        <p:nvSpPr>
          <p:cNvPr id="23" name="TextBox 22">
            <a:extLst>
              <a:ext uri="{FF2B5EF4-FFF2-40B4-BE49-F238E27FC236}">
                <a16:creationId xmlns:a16="http://schemas.microsoft.com/office/drawing/2014/main" xmlns="" id="{BDBC9E56-6340-4116-9C73-478E41DF72AF}"/>
              </a:ext>
            </a:extLst>
          </p:cNvPr>
          <p:cNvSpPr txBox="1"/>
          <p:nvPr/>
        </p:nvSpPr>
        <p:spPr bwMode="gray">
          <a:xfrm>
            <a:off x="1501261" y="2605250"/>
            <a:ext cx="4116114" cy="861774"/>
          </a:xfrm>
          <a:prstGeom prst="rect">
            <a:avLst/>
          </a:prstGeom>
          <a:noFill/>
        </p:spPr>
        <p:txBody>
          <a:bodyPr wrap="square" lIns="0" tIns="0" rIns="0" bIns="0" rtlCol="0">
            <a:spAutoFit/>
          </a:bodyPr>
          <a:lstStyle/>
          <a:p>
            <a:pPr>
              <a:spcBef>
                <a:spcPts val="300"/>
              </a:spcBef>
            </a:pPr>
            <a:r>
              <a:rPr lang="en-US" sz="3600" b="1" dirty="0">
                <a:solidFill>
                  <a:schemeClr val="bg1"/>
                </a:solidFill>
                <a:cs typeface="Arial" pitchFamily="34" charset="0"/>
              </a:rPr>
              <a:t>62% </a:t>
            </a:r>
            <a:r>
              <a:rPr lang="en-US" sz="2000" b="1" dirty="0">
                <a:solidFill>
                  <a:schemeClr val="bg1"/>
                </a:solidFill>
                <a:cs typeface="Arial" pitchFamily="34" charset="0"/>
              </a:rPr>
              <a:t>I’m not open to being served by robots in physical stores</a:t>
            </a:r>
          </a:p>
        </p:txBody>
      </p:sp>
      <p:sp>
        <p:nvSpPr>
          <p:cNvPr id="26" name="TextBox 25">
            <a:extLst>
              <a:ext uri="{FF2B5EF4-FFF2-40B4-BE49-F238E27FC236}">
                <a16:creationId xmlns:a16="http://schemas.microsoft.com/office/drawing/2014/main" xmlns="" id="{BD4118DD-0F7D-4D44-A560-692D4C568EA6}"/>
              </a:ext>
            </a:extLst>
          </p:cNvPr>
          <p:cNvSpPr txBox="1"/>
          <p:nvPr/>
        </p:nvSpPr>
        <p:spPr bwMode="gray">
          <a:xfrm>
            <a:off x="2849526" y="3846523"/>
            <a:ext cx="4116114" cy="861774"/>
          </a:xfrm>
          <a:prstGeom prst="rect">
            <a:avLst/>
          </a:prstGeom>
          <a:noFill/>
        </p:spPr>
        <p:txBody>
          <a:bodyPr wrap="square" lIns="0" tIns="0" rIns="0" bIns="0" rtlCol="0">
            <a:spAutoFit/>
          </a:bodyPr>
          <a:lstStyle/>
          <a:p>
            <a:pPr>
              <a:spcBef>
                <a:spcPts val="300"/>
              </a:spcBef>
            </a:pPr>
            <a:r>
              <a:rPr lang="en-US" sz="3600" b="1">
                <a:solidFill>
                  <a:schemeClr val="bg1"/>
                </a:solidFill>
                <a:cs typeface="Arial" pitchFamily="34" charset="0"/>
              </a:rPr>
              <a:t>10% </a:t>
            </a:r>
            <a:r>
              <a:rPr lang="en-US" sz="2000" b="1">
                <a:solidFill>
                  <a:schemeClr val="bg1"/>
                </a:solidFill>
                <a:cs typeface="Arial" pitchFamily="34" charset="0"/>
              </a:rPr>
              <a:t>I've seen a robot in a physical store before</a:t>
            </a:r>
          </a:p>
        </p:txBody>
      </p:sp>
      <p:sp>
        <p:nvSpPr>
          <p:cNvPr id="27" name="TextBox 26">
            <a:extLst>
              <a:ext uri="{FF2B5EF4-FFF2-40B4-BE49-F238E27FC236}">
                <a16:creationId xmlns:a16="http://schemas.microsoft.com/office/drawing/2014/main" xmlns="" id="{70D31EDF-5E35-421E-95F7-75A32987C84D}"/>
              </a:ext>
            </a:extLst>
          </p:cNvPr>
          <p:cNvSpPr txBox="1"/>
          <p:nvPr/>
        </p:nvSpPr>
        <p:spPr bwMode="gray">
          <a:xfrm>
            <a:off x="1501261" y="4994696"/>
            <a:ext cx="4116114" cy="861774"/>
          </a:xfrm>
          <a:prstGeom prst="rect">
            <a:avLst/>
          </a:prstGeom>
          <a:noFill/>
        </p:spPr>
        <p:txBody>
          <a:bodyPr wrap="square" lIns="0" tIns="0" rIns="0" bIns="0" rtlCol="0">
            <a:spAutoFit/>
          </a:bodyPr>
          <a:lstStyle/>
          <a:p>
            <a:pPr>
              <a:spcBef>
                <a:spcPts val="300"/>
              </a:spcBef>
            </a:pPr>
            <a:r>
              <a:rPr lang="en-US" sz="3600" b="1">
                <a:solidFill>
                  <a:schemeClr val="bg1"/>
                </a:solidFill>
                <a:cs typeface="Arial" pitchFamily="34" charset="0"/>
              </a:rPr>
              <a:t>8% </a:t>
            </a:r>
            <a:r>
              <a:rPr lang="en-US" sz="2000" b="1">
                <a:solidFill>
                  <a:schemeClr val="bg1"/>
                </a:solidFill>
                <a:cs typeface="Arial" pitchFamily="34" charset="0"/>
              </a:rPr>
              <a:t>I've used a robot in a physical store before</a:t>
            </a:r>
          </a:p>
        </p:txBody>
      </p:sp>
      <p:sp>
        <p:nvSpPr>
          <p:cNvPr id="10" name="Text Placeholder 9">
            <a:extLst>
              <a:ext uri="{FF2B5EF4-FFF2-40B4-BE49-F238E27FC236}">
                <a16:creationId xmlns:a16="http://schemas.microsoft.com/office/drawing/2014/main" xmlns="" id="{0AFB4054-F8F9-4AA6-9480-0D24F96AB4CA}"/>
              </a:ext>
            </a:extLst>
          </p:cNvPr>
          <p:cNvSpPr>
            <a:spLocks noGrp="1"/>
          </p:cNvSpPr>
          <p:nvPr>
            <p:ph type="body" sz="quarter" idx="17"/>
          </p:nvPr>
        </p:nvSpPr>
        <p:spPr/>
        <p:txBody>
          <a:bodyPr/>
          <a:lstStyle/>
          <a:p>
            <a:endParaRPr lang="en-US"/>
          </a:p>
        </p:txBody>
      </p:sp>
      <p:sp>
        <p:nvSpPr>
          <p:cNvPr id="31" name="Footer Placeholder 2">
            <a:extLst>
              <a:ext uri="{FF2B5EF4-FFF2-40B4-BE49-F238E27FC236}">
                <a16:creationId xmlns:a16="http://schemas.microsoft.com/office/drawing/2014/main" xmlns="" id="{84941F05-AFFB-45B8-8DD6-6B542185E4C0}"/>
              </a:ext>
            </a:extLst>
          </p:cNvPr>
          <p:cNvSpPr>
            <a:spLocks noGrp="1"/>
          </p:cNvSpPr>
          <p:nvPr>
            <p:ph type="ftr" sz="quarter" idx="15"/>
          </p:nvPr>
        </p:nvSpPr>
        <p:spPr>
          <a:xfrm>
            <a:off x="1076400" y="6461671"/>
            <a:ext cx="8162717" cy="133790"/>
          </a:xfrm>
        </p:spPr>
        <p:txBody>
          <a:bodyPr/>
          <a:lstStyle/>
          <a:p>
            <a:r>
              <a:rPr lang="en-US" dirty="0" err="1">
                <a:solidFill>
                  <a:schemeClr val="bg1"/>
                </a:solidFill>
              </a:rPr>
              <a:t>ShoppingTomorrow</a:t>
            </a:r>
            <a:r>
              <a:rPr lang="en-US" dirty="0">
                <a:solidFill>
                  <a:schemeClr val="bg1"/>
                </a:solidFill>
              </a:rPr>
              <a:t> 2020</a:t>
            </a:r>
          </a:p>
        </p:txBody>
      </p:sp>
      <p:sp>
        <p:nvSpPr>
          <p:cNvPr id="32" name="Text Placeholder 14">
            <a:extLst>
              <a:ext uri="{FF2B5EF4-FFF2-40B4-BE49-F238E27FC236}">
                <a16:creationId xmlns:a16="http://schemas.microsoft.com/office/drawing/2014/main" xmlns="" id="{2356B024-EC25-4DB3-A7F1-62BC2E8F2BE1}"/>
              </a:ext>
            </a:extLst>
          </p:cNvPr>
          <p:cNvSpPr txBox="1">
            <a:spLocks/>
          </p:cNvSpPr>
          <p:nvPr/>
        </p:nvSpPr>
        <p:spPr>
          <a:xfrm>
            <a:off x="1075063" y="6307665"/>
            <a:ext cx="8162717" cy="133200"/>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buClr>
                <a:schemeClr val="tx2"/>
              </a:buClr>
              <a:buFont typeface="Wingdings" panose="05000000000000000000" pitchFamily="2" charset="2"/>
              <a:buNone/>
              <a:defRPr sz="800" kern="1200" baseline="0">
                <a:solidFill>
                  <a:schemeClr val="tx1"/>
                </a:solidFill>
                <a:latin typeface="+mn-lt"/>
                <a:ea typeface="+mn-ea"/>
                <a:cs typeface="+mn-cs"/>
              </a:defRPr>
            </a:lvl1pPr>
            <a:lvl2pPr marL="0" indent="0" algn="l" defTabSz="914400" rtl="0" eaLnBrk="1" latinLnBrk="0" hangingPunct="1">
              <a:lnSpc>
                <a:spcPct val="100000"/>
              </a:lnSpc>
              <a:spcBef>
                <a:spcPts val="0"/>
              </a:spcBef>
              <a:buClr>
                <a:schemeClr val="tx2"/>
              </a:buClr>
              <a:buFont typeface="Wingdings" panose="05000000000000000000" pitchFamily="2" charset="2"/>
              <a:buNone/>
              <a:defRPr sz="800" kern="1200">
                <a:solidFill>
                  <a:schemeClr val="tx1"/>
                </a:solidFill>
                <a:latin typeface="+mn-lt"/>
                <a:ea typeface="+mn-ea"/>
                <a:cs typeface="+mn-cs"/>
              </a:defRPr>
            </a:lvl2pPr>
            <a:lvl3pPr marL="0" indent="0" algn="l" defTabSz="914400" rtl="0" eaLnBrk="1" latinLnBrk="0" hangingPunct="1">
              <a:lnSpc>
                <a:spcPct val="100000"/>
              </a:lnSpc>
              <a:spcBef>
                <a:spcPts val="0"/>
              </a:spcBef>
              <a:buClr>
                <a:schemeClr val="tx2"/>
              </a:buClr>
              <a:buFont typeface="Wingdings" panose="05000000000000000000" pitchFamily="2" charset="2"/>
              <a:buNone/>
              <a:defRPr sz="800" kern="1200">
                <a:solidFill>
                  <a:schemeClr val="tx1"/>
                </a:solidFill>
                <a:latin typeface="+mn-lt"/>
                <a:ea typeface="+mn-ea"/>
                <a:cs typeface="+mn-cs"/>
              </a:defRPr>
            </a:lvl3pPr>
            <a:lvl4pPr marL="0" indent="0" algn="l" defTabSz="914400" rtl="0" eaLnBrk="1" latinLnBrk="0" hangingPunct="1">
              <a:lnSpc>
                <a:spcPct val="100000"/>
              </a:lnSpc>
              <a:spcBef>
                <a:spcPts val="0"/>
              </a:spcBef>
              <a:buClr>
                <a:schemeClr val="tx2"/>
              </a:buClr>
              <a:buFont typeface="Lato" panose="020F0502020204030203" pitchFamily="34" charset="0"/>
              <a:buNone/>
              <a:defRPr sz="800" kern="1200">
                <a:solidFill>
                  <a:schemeClr val="tx1"/>
                </a:solidFill>
                <a:latin typeface="+mn-lt"/>
                <a:ea typeface="+mn-ea"/>
                <a:cs typeface="+mn-cs"/>
              </a:defRPr>
            </a:lvl4pPr>
            <a:lvl5pPr marL="0" indent="0" algn="l" defTabSz="914400" rtl="0" eaLnBrk="1" latinLnBrk="0" hangingPunct="1">
              <a:lnSpc>
                <a:spcPct val="100000"/>
              </a:lnSpc>
              <a:spcBef>
                <a:spcPts val="0"/>
              </a:spcBef>
              <a:buClr>
                <a:schemeClr val="tx2"/>
              </a:buClr>
              <a:buFont typeface="Wingdings" panose="05000000000000000000" pitchFamily="2" charset="2"/>
              <a:buNone/>
              <a:defRPr sz="800" kern="1200">
                <a:solidFill>
                  <a:schemeClr val="tx1"/>
                </a:solidFill>
                <a:latin typeface="+mn-lt"/>
                <a:ea typeface="+mn-ea"/>
                <a:cs typeface="+mn-cs"/>
              </a:defRPr>
            </a:lvl5pPr>
            <a:lvl6pPr marL="648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6pPr>
            <a:lvl7pPr marL="1080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7pPr>
            <a:lvl8pPr marL="1512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8pPr>
            <a:lvl9pPr marL="1944000" indent="-252000" algn="l" defTabSz="914400" rtl="0" eaLnBrk="1" latinLnBrk="0" hangingPunct="1">
              <a:lnSpc>
                <a:spcPct val="110000"/>
              </a:lnSpc>
              <a:spcBef>
                <a:spcPts val="600"/>
              </a:spcBef>
              <a:buClr>
                <a:schemeClr val="tx2"/>
              </a:buClr>
              <a:buFont typeface="Wingdings" panose="05000000000000000000" pitchFamily="2" charset="2"/>
              <a:buChar char="§"/>
              <a:defRPr sz="1600" kern="1200">
                <a:solidFill>
                  <a:schemeClr val="tx1"/>
                </a:solidFill>
                <a:latin typeface="+mn-lt"/>
                <a:ea typeface="+mn-ea"/>
                <a:cs typeface="+mn-cs"/>
              </a:defRPr>
            </a:lvl9pPr>
          </a:lstStyle>
          <a:p>
            <a:r>
              <a:rPr lang="en-US" sz="900">
                <a:solidFill>
                  <a:schemeClr val="bg1"/>
                </a:solidFill>
              </a:rPr>
              <a:t>Q02: A number of questions will now follow about your experiences using robots in physical stores</a:t>
            </a:r>
          </a:p>
        </p:txBody>
      </p:sp>
    </p:spTree>
    <p:extLst>
      <p:ext uri="{BB962C8B-B14F-4D97-AF65-F5344CB8AC3E}">
        <p14:creationId xmlns:p14="http://schemas.microsoft.com/office/powerpoint/2010/main" val="205664660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xmlns="" id="{6BF3EB4A-B6D3-49A3-AD3D-10A1CD8D26BD}"/>
              </a:ext>
            </a:extLst>
          </p:cNvPr>
          <p:cNvSpPr>
            <a:spLocks noGrp="1"/>
          </p:cNvSpPr>
          <p:nvPr>
            <p:ph type="ftr" sz="quarter" idx="15"/>
          </p:nvPr>
        </p:nvSpPr>
        <p:spPr/>
        <p:txBody>
          <a:bodyPr/>
          <a:lstStyle/>
          <a:p>
            <a:r>
              <a:rPr lang="en-US"/>
              <a:t>ShoppingTomorrow 2020</a:t>
            </a:r>
            <a:endParaRPr lang="en-US" dirty="0"/>
          </a:p>
        </p:txBody>
      </p:sp>
      <p:sp>
        <p:nvSpPr>
          <p:cNvPr id="6" name="Slide Number Placeholder 5">
            <a:extLst>
              <a:ext uri="{FF2B5EF4-FFF2-40B4-BE49-F238E27FC236}">
                <a16:creationId xmlns:a16="http://schemas.microsoft.com/office/drawing/2014/main" xmlns="" id="{718750D6-68F8-4D45-B2EA-82EDC61DF07B}"/>
              </a:ext>
            </a:extLst>
          </p:cNvPr>
          <p:cNvSpPr>
            <a:spLocks noGrp="1"/>
          </p:cNvSpPr>
          <p:nvPr>
            <p:ph type="sldNum" sz="quarter" idx="16"/>
          </p:nvPr>
        </p:nvSpPr>
        <p:spPr/>
        <p:txBody>
          <a:bodyPr/>
          <a:lstStyle/>
          <a:p>
            <a:fld id="{5F3E29E4-0979-4FCA-B4C5-5FC6044C982A}" type="slidenum">
              <a:rPr lang="en-US" smtClean="0"/>
              <a:pPr/>
              <a:t>2</a:t>
            </a:fld>
            <a:endParaRPr lang="en-US"/>
          </a:p>
        </p:txBody>
      </p:sp>
      <p:sp>
        <p:nvSpPr>
          <p:cNvPr id="14" name="Text Placeholder 13">
            <a:extLst>
              <a:ext uri="{FF2B5EF4-FFF2-40B4-BE49-F238E27FC236}">
                <a16:creationId xmlns:a16="http://schemas.microsoft.com/office/drawing/2014/main" xmlns="" id="{895B912C-3485-4815-8D63-974D340D7C79}"/>
              </a:ext>
            </a:extLst>
          </p:cNvPr>
          <p:cNvSpPr>
            <a:spLocks noGrp="1"/>
          </p:cNvSpPr>
          <p:nvPr>
            <p:ph type="body" sz="quarter" idx="17"/>
          </p:nvPr>
        </p:nvSpPr>
        <p:spPr/>
        <p:txBody>
          <a:bodyPr/>
          <a:lstStyle/>
          <a:p>
            <a:r>
              <a:rPr lang="nl-NL" dirty="0"/>
              <a:t>Bron: CBS, NOS, de Telegraaf, NU.nl </a:t>
            </a:r>
          </a:p>
        </p:txBody>
      </p:sp>
      <p:pic>
        <p:nvPicPr>
          <p:cNvPr id="10" name="Picture 9">
            <a:extLst>
              <a:ext uri="{FF2B5EF4-FFF2-40B4-BE49-F238E27FC236}">
                <a16:creationId xmlns:a16="http://schemas.microsoft.com/office/drawing/2014/main" xmlns="" id="{EB955417-E6CE-4C2E-B1A0-2C90909F5456}"/>
              </a:ext>
            </a:extLst>
          </p:cNvPr>
          <p:cNvPicPr>
            <a:picLocks noChangeAspect="1"/>
          </p:cNvPicPr>
          <p:nvPr/>
        </p:nvPicPr>
        <p:blipFill rotWithShape="1">
          <a:blip r:embed="rId3"/>
          <a:srcRect b="31020"/>
          <a:stretch/>
        </p:blipFill>
        <p:spPr>
          <a:xfrm>
            <a:off x="660089" y="1519358"/>
            <a:ext cx="6838950" cy="946125"/>
          </a:xfrm>
          <a:prstGeom prst="rect">
            <a:avLst/>
          </a:prstGeom>
        </p:spPr>
      </p:pic>
      <p:pic>
        <p:nvPicPr>
          <p:cNvPr id="16" name="Picture 15">
            <a:extLst>
              <a:ext uri="{FF2B5EF4-FFF2-40B4-BE49-F238E27FC236}">
                <a16:creationId xmlns:a16="http://schemas.microsoft.com/office/drawing/2014/main" xmlns="" id="{0C556C68-F5BB-4022-8F80-3D8E1493B929}"/>
              </a:ext>
            </a:extLst>
          </p:cNvPr>
          <p:cNvPicPr>
            <a:picLocks noChangeAspect="1"/>
          </p:cNvPicPr>
          <p:nvPr/>
        </p:nvPicPr>
        <p:blipFill>
          <a:blip r:embed="rId4"/>
          <a:stretch>
            <a:fillRect/>
          </a:stretch>
        </p:blipFill>
        <p:spPr>
          <a:xfrm>
            <a:off x="852000" y="3542720"/>
            <a:ext cx="5695950" cy="904875"/>
          </a:xfrm>
          <a:prstGeom prst="rect">
            <a:avLst/>
          </a:prstGeom>
        </p:spPr>
      </p:pic>
      <p:pic>
        <p:nvPicPr>
          <p:cNvPr id="18" name="Picture 17">
            <a:extLst>
              <a:ext uri="{FF2B5EF4-FFF2-40B4-BE49-F238E27FC236}">
                <a16:creationId xmlns:a16="http://schemas.microsoft.com/office/drawing/2014/main" xmlns="" id="{19697ABC-858C-4F62-B757-FE67DF6DA935}"/>
              </a:ext>
            </a:extLst>
          </p:cNvPr>
          <p:cNvPicPr>
            <a:picLocks noChangeAspect="1"/>
          </p:cNvPicPr>
          <p:nvPr/>
        </p:nvPicPr>
        <p:blipFill>
          <a:blip r:embed="rId5"/>
          <a:stretch>
            <a:fillRect/>
          </a:stretch>
        </p:blipFill>
        <p:spPr>
          <a:xfrm>
            <a:off x="5533881" y="2395843"/>
            <a:ext cx="6300788" cy="946125"/>
          </a:xfrm>
          <a:prstGeom prst="rect">
            <a:avLst/>
          </a:prstGeom>
        </p:spPr>
      </p:pic>
      <p:sp>
        <p:nvSpPr>
          <p:cNvPr id="19" name="Rectangle 18">
            <a:extLst>
              <a:ext uri="{FF2B5EF4-FFF2-40B4-BE49-F238E27FC236}">
                <a16:creationId xmlns:a16="http://schemas.microsoft.com/office/drawing/2014/main" xmlns="" id="{A90A0434-8059-446D-B442-1FAF1DCDBD6F}"/>
              </a:ext>
            </a:extLst>
          </p:cNvPr>
          <p:cNvSpPr/>
          <p:nvPr/>
        </p:nvSpPr>
        <p:spPr>
          <a:xfrm>
            <a:off x="5974148" y="4716333"/>
            <a:ext cx="6096000" cy="830997"/>
          </a:xfrm>
          <a:prstGeom prst="rect">
            <a:avLst/>
          </a:prstGeom>
        </p:spPr>
        <p:txBody>
          <a:bodyPr>
            <a:spAutoFit/>
          </a:bodyPr>
          <a:lstStyle/>
          <a:p>
            <a:pPr fontAlgn="base"/>
            <a:r>
              <a:rPr lang="nl-NL" sz="2400" b="1" dirty="0">
                <a:latin typeface="Noto Sans"/>
              </a:rPr>
              <a:t>'Corona versnelt ontwikkelingen in winkelstraat: online wordt echt onmisbaar'</a:t>
            </a:r>
            <a:endParaRPr lang="nl-NL" sz="2400" b="1" i="0" dirty="0">
              <a:effectLst/>
              <a:latin typeface="Noto Sans"/>
            </a:endParaRPr>
          </a:p>
        </p:txBody>
      </p:sp>
    </p:spTree>
    <p:extLst>
      <p:ext uri="{BB962C8B-B14F-4D97-AF65-F5344CB8AC3E}">
        <p14:creationId xmlns:p14="http://schemas.microsoft.com/office/powerpoint/2010/main" val="1298525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5"/>
          </p:nvPr>
        </p:nvSpPr>
        <p:spPr/>
        <p:txBody>
          <a:bodyPr/>
          <a:lstStyle/>
          <a:p>
            <a:r>
              <a:rPr lang="en-US"/>
              <a:t>ShoppingTomorrow 2020</a:t>
            </a:r>
            <a:endParaRPr lang="en-US" dirty="0"/>
          </a:p>
        </p:txBody>
      </p:sp>
      <p:sp>
        <p:nvSpPr>
          <p:cNvPr id="4" name="Slide Number Placeholder 3"/>
          <p:cNvSpPr>
            <a:spLocks noGrp="1"/>
          </p:cNvSpPr>
          <p:nvPr>
            <p:ph type="sldNum" sz="quarter" idx="16"/>
          </p:nvPr>
        </p:nvSpPr>
        <p:spPr/>
        <p:txBody>
          <a:bodyPr/>
          <a:lstStyle/>
          <a:p>
            <a:fld id="{5F3E29E4-0979-4FCA-B4C5-5FC6044C982A}" type="slidenum">
              <a:rPr lang="en-US" smtClean="0"/>
              <a:pPr/>
              <a:t>20</a:t>
            </a:fld>
            <a:endParaRPr lang="en-US"/>
          </a:p>
        </p:txBody>
      </p:sp>
      <p:sp>
        <p:nvSpPr>
          <p:cNvPr id="15" name="Text Placeholder 14"/>
          <p:cNvSpPr>
            <a:spLocks noGrp="1"/>
          </p:cNvSpPr>
          <p:nvPr>
            <p:ph type="body" sz="quarter" idx="17"/>
          </p:nvPr>
        </p:nvSpPr>
        <p:spPr>
          <a:xfrm>
            <a:off x="1075063" y="6307665"/>
            <a:ext cx="8162717" cy="133200"/>
          </a:xfrm>
        </p:spPr>
        <p:txBody>
          <a:bodyPr/>
          <a:lstStyle/>
          <a:p>
            <a:r>
              <a:rPr lang="en-US" sz="900" dirty="0"/>
              <a:t>Q01: In the coming years, more physical stores will use robots. For which three applications do you think robots can best be used by physical stores?</a:t>
            </a:r>
          </a:p>
        </p:txBody>
      </p:sp>
      <p:sp>
        <p:nvSpPr>
          <p:cNvPr id="13" name="Title 8">
            <a:extLst>
              <a:ext uri="{FF2B5EF4-FFF2-40B4-BE49-F238E27FC236}">
                <a16:creationId xmlns:a16="http://schemas.microsoft.com/office/drawing/2014/main" xmlns="" id="{E82E1840-214C-438D-829E-80E6FE4F176E}"/>
              </a:ext>
            </a:extLst>
          </p:cNvPr>
          <p:cNvSpPr txBox="1">
            <a:spLocks/>
          </p:cNvSpPr>
          <p:nvPr/>
        </p:nvSpPr>
        <p:spPr bwMode="gray">
          <a:xfrm>
            <a:off x="1167319" y="1340722"/>
            <a:ext cx="10525328"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en-US" sz="1200" b="1" dirty="0">
                <a:latin typeface="+mj-lt"/>
              </a:rPr>
              <a:t>Applications for the use of robots in physical stores</a:t>
            </a:r>
            <a:endParaRPr lang="nl-NL" sz="1200" b="1" dirty="0">
              <a:latin typeface="+mj-lt"/>
            </a:endParaRPr>
          </a:p>
        </p:txBody>
      </p:sp>
      <p:cxnSp>
        <p:nvCxnSpPr>
          <p:cNvPr id="20" name="Straight Connector 19">
            <a:extLst>
              <a:ext uri="{FF2B5EF4-FFF2-40B4-BE49-F238E27FC236}">
                <a16:creationId xmlns:a16="http://schemas.microsoft.com/office/drawing/2014/main" xmlns="" id="{34511039-437F-4132-93C3-2FAC43CBBFE8}"/>
              </a:ext>
            </a:extLst>
          </p:cNvPr>
          <p:cNvCxnSpPr>
            <a:cxnSpLocks/>
          </p:cNvCxnSpPr>
          <p:nvPr/>
        </p:nvCxnSpPr>
        <p:spPr>
          <a:xfrm>
            <a:off x="1167319" y="1628754"/>
            <a:ext cx="10525328"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1" name="Text Placeholder 20">
            <a:extLst>
              <a:ext uri="{FF2B5EF4-FFF2-40B4-BE49-F238E27FC236}">
                <a16:creationId xmlns:a16="http://schemas.microsoft.com/office/drawing/2014/main" xmlns="" id="{DFFC6F77-F39E-4AA7-93DC-6004C2744C93}"/>
              </a:ext>
            </a:extLst>
          </p:cNvPr>
          <p:cNvSpPr txBox="1">
            <a:spLocks/>
          </p:cNvSpPr>
          <p:nvPr/>
        </p:nvSpPr>
        <p:spPr bwMode="gray">
          <a:xfrm>
            <a:off x="10394509" y="6317189"/>
            <a:ext cx="1440160" cy="144462"/>
          </a:xfrm>
          <a:prstGeom prst="rect">
            <a:avLst/>
          </a:prstGeom>
        </p:spPr>
        <p:txBody>
          <a:bodyPr vert="horz" lIns="0" tIns="0" rIns="0" bIns="36000" rtlCol="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800" kern="1200" baseline="0" noProof="0" smtClean="0">
                <a:solidFill>
                  <a:schemeClr val="bg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spcAft>
                <a:spcPts val="0"/>
              </a:spcAft>
              <a:buFont typeface="Arial" pitchFamily="34" charset="0"/>
              <a:buNone/>
              <a:defRPr lang="de-DE" sz="800" kern="1200" baseline="0" noProof="0" smtClean="0">
                <a:solidFill>
                  <a:schemeClr val="bg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9pPr>
          </a:lstStyle>
          <a:p>
            <a:pPr algn="r"/>
            <a:r>
              <a:rPr lang="nl-NL" sz="900" dirty="0">
                <a:solidFill>
                  <a:schemeClr val="tx1"/>
                </a:solidFill>
                <a:latin typeface="+mj-lt"/>
              </a:rPr>
              <a:t>Base: splitrun 2, n=513</a:t>
            </a:r>
          </a:p>
        </p:txBody>
      </p:sp>
      <p:graphicFrame>
        <p:nvGraphicFramePr>
          <p:cNvPr id="5" name="Object 4">
            <a:extLst>
              <a:ext uri="{FF2B5EF4-FFF2-40B4-BE49-F238E27FC236}">
                <a16:creationId xmlns:a16="http://schemas.microsoft.com/office/drawing/2014/main" xmlns="" id="{C7415A7A-C7F8-4ECD-97FF-90A5CE3417A5}"/>
              </a:ext>
            </a:extLst>
          </p:cNvPr>
          <p:cNvGraphicFramePr>
            <a:graphicFrameLocks noChangeAspect="1"/>
          </p:cNvGraphicFramePr>
          <p:nvPr/>
        </p:nvGraphicFramePr>
        <p:xfrm>
          <a:off x="1574800" y="1889078"/>
          <a:ext cx="9042400" cy="3949700"/>
        </p:xfrm>
        <a:graphic>
          <a:graphicData uri="http://schemas.openxmlformats.org/presentationml/2006/ole">
            <mc:AlternateContent xmlns:mc="http://schemas.openxmlformats.org/markup-compatibility/2006">
              <mc:Choice xmlns:v="urn:schemas-microsoft-com:vml" Requires="v">
                <p:oleObj spid="_x0000_s31780" name="Macro-Enabled Worksheet" r:id="rId4" imgW="9042597" imgH="3949891" progId="Excel.SheetMacroEnabled.12">
                  <p:link updateAutomatic="1"/>
                </p:oleObj>
              </mc:Choice>
              <mc:Fallback>
                <p:oleObj name="Macro-Enabled Worksheet" r:id="rId4" imgW="9042597" imgH="3949891" progId="Excel.SheetMacroEnabled.12">
                  <p:link updateAutomatic="1"/>
                  <p:pic>
                    <p:nvPicPr>
                      <p:cNvPr id="5" name="Object 4">
                        <a:extLst>
                          <a:ext uri="{FF2B5EF4-FFF2-40B4-BE49-F238E27FC236}">
                            <a16:creationId xmlns:a16="http://schemas.microsoft.com/office/drawing/2014/main" xmlns="" id="{C7415A7A-C7F8-4ECD-97FF-90A5CE3417A5}"/>
                          </a:ext>
                        </a:extLst>
                      </p:cNvPr>
                      <p:cNvPicPr/>
                      <p:nvPr/>
                    </p:nvPicPr>
                    <p:blipFill>
                      <a:blip r:embed="rId5"/>
                      <a:stretch>
                        <a:fillRect/>
                      </a:stretch>
                    </p:blipFill>
                    <p:spPr>
                      <a:xfrm>
                        <a:off x="1574800" y="1889078"/>
                        <a:ext cx="9042400" cy="3949700"/>
                      </a:xfrm>
                      <a:prstGeom prst="rect">
                        <a:avLst/>
                      </a:prstGeom>
                    </p:spPr>
                  </p:pic>
                </p:oleObj>
              </mc:Fallback>
            </mc:AlternateContent>
          </a:graphicData>
        </a:graphic>
      </p:graphicFrame>
      <p:sp>
        <p:nvSpPr>
          <p:cNvPr id="7" name="Titel 6">
            <a:extLst>
              <a:ext uri="{FF2B5EF4-FFF2-40B4-BE49-F238E27FC236}">
                <a16:creationId xmlns:a16="http://schemas.microsoft.com/office/drawing/2014/main" xmlns="" id="{7539658D-4C34-49B5-A93E-854280FC486B}"/>
              </a:ext>
            </a:extLst>
          </p:cNvPr>
          <p:cNvSpPr>
            <a:spLocks noGrp="1"/>
          </p:cNvSpPr>
          <p:nvPr>
            <p:ph type="title"/>
          </p:nvPr>
        </p:nvSpPr>
        <p:spPr>
          <a:xfrm>
            <a:off x="1075060" y="288922"/>
            <a:ext cx="9100785" cy="648000"/>
          </a:xfrm>
        </p:spPr>
        <p:txBody>
          <a:bodyPr/>
          <a:lstStyle/>
          <a:p>
            <a:r>
              <a:rPr lang="en-US" sz="2400" dirty="0"/>
              <a:t>Consumers find cleaning the store, restocking the shelves and providing product information the three best used applications for robots in physical stores </a:t>
            </a:r>
          </a:p>
        </p:txBody>
      </p:sp>
    </p:spTree>
    <p:extLst>
      <p:ext uri="{BB962C8B-B14F-4D97-AF65-F5344CB8AC3E}">
        <p14:creationId xmlns:p14="http://schemas.microsoft.com/office/powerpoint/2010/main" val="28357049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Bildplatzhalter 2"/>
          <p:cNvPicPr>
            <a:picLocks noGrp="1" noChangeAspect="1"/>
          </p:cNvPicPr>
          <p:nvPr>
            <p:ph type="pic" sz="quarter" idx="17"/>
          </p:nvPr>
        </p:nvPicPr>
        <p:blipFill>
          <a:blip r:embed="rId3" cstate="print">
            <a:extLst>
              <a:ext uri="{28A0092B-C50C-407E-A947-70E740481C1C}">
                <a14:useLocalDpi xmlns:a14="http://schemas.microsoft.com/office/drawing/2010/main" val="0"/>
              </a:ext>
            </a:extLst>
          </a:blip>
          <a:srcRect l="7087" r="7087"/>
          <a:stretch>
            <a:fillRect/>
          </a:stretch>
        </p:blipFill>
        <p:spPr/>
      </p:pic>
      <p:sp>
        <p:nvSpPr>
          <p:cNvPr id="6" name="Title 5">
            <a:extLst>
              <a:ext uri="{FF2B5EF4-FFF2-40B4-BE49-F238E27FC236}">
                <a16:creationId xmlns:a16="http://schemas.microsoft.com/office/drawing/2014/main" xmlns="" id="{D74D6E7B-8C6E-4B5F-A8E9-1F1F2E2C375A}"/>
              </a:ext>
            </a:extLst>
          </p:cNvPr>
          <p:cNvSpPr>
            <a:spLocks noGrp="1"/>
          </p:cNvSpPr>
          <p:nvPr>
            <p:ph type="title"/>
          </p:nvPr>
        </p:nvSpPr>
        <p:spPr/>
        <p:txBody>
          <a:bodyPr/>
          <a:lstStyle/>
          <a:p>
            <a:pPr lvl="0" defTabSz="1219170">
              <a:lnSpc>
                <a:spcPct val="90000"/>
              </a:lnSpc>
              <a:defRPr/>
            </a:pPr>
            <a:r>
              <a:rPr lang="en-GB" dirty="0">
                <a:solidFill>
                  <a:srgbClr val="414549"/>
                </a:solidFill>
              </a:rPr>
              <a:t>Thanks for your attention! </a:t>
            </a:r>
            <a:br>
              <a:rPr lang="en-GB" dirty="0">
                <a:solidFill>
                  <a:srgbClr val="414549"/>
                </a:solidFill>
              </a:rPr>
            </a:br>
            <a:r>
              <a:rPr lang="en-GB" sz="1600" dirty="0">
                <a:solidFill>
                  <a:srgbClr val="414549"/>
                </a:solidFill>
              </a:rPr>
              <a:t/>
            </a:r>
            <a:br>
              <a:rPr lang="en-GB" sz="1600" dirty="0">
                <a:solidFill>
                  <a:srgbClr val="414549"/>
                </a:solidFill>
              </a:rPr>
            </a:br>
            <a:r>
              <a:rPr lang="en-GB" sz="2800" b="1" dirty="0"/>
              <a:t>Questions?</a:t>
            </a:r>
            <a:r>
              <a:rPr lang="en-GB" sz="2800" b="1" dirty="0">
                <a:solidFill>
                  <a:srgbClr val="414549"/>
                </a:solidFill>
              </a:rPr>
              <a:t/>
            </a:r>
            <a:br>
              <a:rPr lang="en-GB" sz="2800" b="1" dirty="0">
                <a:solidFill>
                  <a:srgbClr val="414549"/>
                </a:solidFill>
              </a:rPr>
            </a:br>
            <a:endParaRPr lang="nl-NL" dirty="0"/>
          </a:p>
        </p:txBody>
      </p:sp>
      <p:sp>
        <p:nvSpPr>
          <p:cNvPr id="10" name="Slide Number Placeholder 9">
            <a:extLst>
              <a:ext uri="{FF2B5EF4-FFF2-40B4-BE49-F238E27FC236}">
                <a16:creationId xmlns:a16="http://schemas.microsoft.com/office/drawing/2014/main" xmlns="" id="{09F30A6A-66FA-4BAA-A0E3-3BD4DFB0EBB8}"/>
              </a:ext>
            </a:extLst>
          </p:cNvPr>
          <p:cNvSpPr>
            <a:spLocks noGrp="1"/>
          </p:cNvSpPr>
          <p:nvPr>
            <p:ph type="sldNum" sz="quarter" idx="20"/>
          </p:nvPr>
        </p:nvSpPr>
        <p:spPr/>
        <p:txBody>
          <a:bodyPr/>
          <a:lstStyle/>
          <a:p>
            <a:fld id="{5F3E29E4-0979-4FCA-B4C5-5FC6044C982A}" type="slidenum">
              <a:rPr lang="en-US" smtClean="0"/>
              <a:pPr/>
              <a:t>21</a:t>
            </a:fld>
            <a:endParaRPr lang="en-US"/>
          </a:p>
        </p:txBody>
      </p:sp>
    </p:spTree>
    <p:extLst>
      <p:ext uri="{BB962C8B-B14F-4D97-AF65-F5344CB8AC3E}">
        <p14:creationId xmlns:p14="http://schemas.microsoft.com/office/powerpoint/2010/main" val="138676995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Gruppieren 7">
            <a:extLst>
              <a:ext uri="{FF2B5EF4-FFF2-40B4-BE49-F238E27FC236}">
                <a16:creationId xmlns:a16="http://schemas.microsoft.com/office/drawing/2014/main" xmlns="" id="{093E71B4-8B70-4168-A710-945C4D3FC039}"/>
              </a:ext>
            </a:extLst>
          </p:cNvPr>
          <p:cNvGrpSpPr/>
          <p:nvPr>
            <p:custDataLst>
              <p:tags r:id="rId1"/>
            </p:custDataLst>
          </p:nvPr>
        </p:nvGrpSpPr>
        <p:grpSpPr bwMode="gray">
          <a:xfrm>
            <a:off x="431371" y="1842805"/>
            <a:ext cx="4416491" cy="4464432"/>
            <a:chOff x="323528" y="1974004"/>
            <a:chExt cx="2016022" cy="2037906"/>
          </a:xfrm>
          <a:solidFill>
            <a:schemeClr val="accent1"/>
          </a:solidFill>
        </p:grpSpPr>
        <p:sp>
          <p:nvSpPr>
            <p:cNvPr id="22" name="Ellipse 8">
              <a:extLst>
                <a:ext uri="{FF2B5EF4-FFF2-40B4-BE49-F238E27FC236}">
                  <a16:creationId xmlns:a16="http://schemas.microsoft.com/office/drawing/2014/main" xmlns="" id="{C081C878-CF59-4DDE-A8EC-0BA869793D14}"/>
                </a:ext>
              </a:extLst>
            </p:cNvPr>
            <p:cNvSpPr>
              <a:spLocks noChangeAspect="1"/>
            </p:cNvSpPr>
            <p:nvPr>
              <p:custDataLst>
                <p:tags r:id="rId4"/>
              </p:custDataLst>
            </p:nvPr>
          </p:nvSpPr>
          <p:spPr bwMode="gray">
            <a:xfrm>
              <a:off x="323528" y="1995894"/>
              <a:ext cx="2016022" cy="2016016"/>
            </a:xfrm>
            <a:prstGeom prst="ellipse">
              <a:avLst/>
            </a:prstGeom>
            <a:solidFill>
              <a:schemeClr val="accent6"/>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864000" rIns="0" bIns="0" numCol="1" spcCol="0" rtlCol="0" fromWordArt="0" anchor="t" anchorCtr="0" forceAA="0" compatLnSpc="1">
              <a:prstTxWarp prst="textNoShape">
                <a:avLst/>
              </a:prstTxWarp>
              <a:noAutofit/>
            </a:bodyPr>
            <a:lstStyle/>
            <a:p>
              <a:pPr algn="ctr"/>
              <a:r>
                <a:rPr lang="en-US" sz="3200" dirty="0">
                  <a:solidFill>
                    <a:schemeClr val="bg1"/>
                  </a:solidFill>
                  <a:latin typeface="+mj-lt"/>
                  <a:cs typeface="Arial" pitchFamily="34" charset="0"/>
                </a:rPr>
                <a:t>Foreseeing the </a:t>
              </a:r>
              <a:br>
                <a:rPr lang="en-US" sz="3200" dirty="0">
                  <a:solidFill>
                    <a:schemeClr val="bg1"/>
                  </a:solidFill>
                  <a:latin typeface="+mj-lt"/>
                  <a:cs typeface="Arial" pitchFamily="34" charset="0"/>
                </a:rPr>
              </a:br>
              <a:r>
                <a:rPr lang="en-US" sz="3200" dirty="0">
                  <a:solidFill>
                    <a:schemeClr val="bg1"/>
                  </a:solidFill>
                  <a:latin typeface="+mj-lt"/>
                  <a:cs typeface="Arial" pitchFamily="34" charset="0"/>
                </a:rPr>
                <a:t>future of shopping</a:t>
              </a:r>
            </a:p>
          </p:txBody>
        </p:sp>
        <p:cxnSp>
          <p:nvCxnSpPr>
            <p:cNvPr id="23" name="Gerade Verbindung 9">
              <a:extLst>
                <a:ext uri="{FF2B5EF4-FFF2-40B4-BE49-F238E27FC236}">
                  <a16:creationId xmlns:a16="http://schemas.microsoft.com/office/drawing/2014/main" xmlns="" id="{B9C03142-F27D-4E97-8C76-FE826771974D}"/>
                </a:ext>
              </a:extLst>
            </p:cNvPr>
            <p:cNvCxnSpPr/>
            <p:nvPr/>
          </p:nvCxnSpPr>
          <p:spPr bwMode="gray">
            <a:xfrm>
              <a:off x="647463" y="2643758"/>
              <a:ext cx="1368152" cy="0"/>
            </a:xfrm>
            <a:prstGeom prst="line">
              <a:avLst/>
            </a:prstGeom>
            <a:grpFill/>
            <a:ln>
              <a:solidFill>
                <a:schemeClr val="bg1"/>
              </a:solidFill>
              <a:tailEnd type="none"/>
            </a:ln>
          </p:spPr>
          <p:style>
            <a:lnRef idx="1">
              <a:schemeClr val="accent1"/>
            </a:lnRef>
            <a:fillRef idx="0">
              <a:schemeClr val="accent1"/>
            </a:fillRef>
            <a:effectRef idx="0">
              <a:schemeClr val="accent1"/>
            </a:effectRef>
            <a:fontRef idx="minor">
              <a:schemeClr val="tx1"/>
            </a:fontRef>
          </p:style>
        </p:cxnSp>
        <p:sp>
          <p:nvSpPr>
            <p:cNvPr id="24" name="Rechteck 10">
              <a:extLst>
                <a:ext uri="{FF2B5EF4-FFF2-40B4-BE49-F238E27FC236}">
                  <a16:creationId xmlns:a16="http://schemas.microsoft.com/office/drawing/2014/main" xmlns="" id="{05163C1D-7D00-496E-874B-305B28F1DA06}"/>
                </a:ext>
              </a:extLst>
            </p:cNvPr>
            <p:cNvSpPr>
              <a:spLocks noChangeAspect="1"/>
            </p:cNvSpPr>
            <p:nvPr>
              <p:custDataLst>
                <p:tags r:id="rId5"/>
              </p:custDataLst>
            </p:nvPr>
          </p:nvSpPr>
          <p:spPr bwMode="gray">
            <a:xfrm>
              <a:off x="323528" y="1974004"/>
              <a:ext cx="2016022" cy="50397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endParaRPr lang="en-US" sz="10666" b="1" dirty="0">
                <a:solidFill>
                  <a:schemeClr val="bg1"/>
                </a:solidFill>
                <a:latin typeface="Arial" pitchFamily="34" charset="0"/>
                <a:cs typeface="Arial" pitchFamily="34" charset="0"/>
              </a:endParaRPr>
            </a:p>
          </p:txBody>
        </p:sp>
      </p:grpSp>
      <p:grpSp>
        <p:nvGrpSpPr>
          <p:cNvPr id="25" name="Group 24">
            <a:extLst>
              <a:ext uri="{FF2B5EF4-FFF2-40B4-BE49-F238E27FC236}">
                <a16:creationId xmlns:a16="http://schemas.microsoft.com/office/drawing/2014/main" xmlns="" id="{AADC6195-F13D-4CEA-840F-6B9EEAFC2C46}"/>
              </a:ext>
            </a:extLst>
          </p:cNvPr>
          <p:cNvGrpSpPr/>
          <p:nvPr/>
        </p:nvGrpSpPr>
        <p:grpSpPr>
          <a:xfrm>
            <a:off x="3407701" y="1762284"/>
            <a:ext cx="1056000" cy="1056000"/>
            <a:chOff x="250626" y="244494"/>
            <a:chExt cx="792000" cy="792000"/>
          </a:xfrm>
          <a:solidFill>
            <a:schemeClr val="accent6"/>
          </a:solidFill>
        </p:grpSpPr>
        <p:sp>
          <p:nvSpPr>
            <p:cNvPr id="26" name="Ellipse 92">
              <a:extLst>
                <a:ext uri="{FF2B5EF4-FFF2-40B4-BE49-F238E27FC236}">
                  <a16:creationId xmlns:a16="http://schemas.microsoft.com/office/drawing/2014/main" xmlns="" id="{AFD5FA59-32C1-46FF-9358-27F280BBA9A7}"/>
                </a:ext>
              </a:extLst>
            </p:cNvPr>
            <p:cNvSpPr/>
            <p:nvPr>
              <p:custDataLst>
                <p:tags r:id="rId2"/>
              </p:custDataLst>
            </p:nvPr>
          </p:nvSpPr>
          <p:spPr bwMode="gray">
            <a:xfrm flipH="1">
              <a:off x="250626" y="244494"/>
              <a:ext cx="792000" cy="792000"/>
            </a:xfrm>
            <a:prstGeom prst="ellipse">
              <a:avLst/>
            </a:prstGeom>
            <a:gr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spcBef>
                  <a:spcPts val="400"/>
                </a:spcBef>
              </a:pPr>
              <a:endParaRPr lang="en-US" sz="2133" dirty="0">
                <a:solidFill>
                  <a:srgbClr val="000000"/>
                </a:solidFill>
                <a:cs typeface="Arial" pitchFamily="34" charset="0"/>
              </a:endParaRPr>
            </a:p>
          </p:txBody>
        </p:sp>
        <p:sp>
          <p:nvSpPr>
            <p:cNvPr id="27" name="Freeform 28">
              <a:extLst>
                <a:ext uri="{FF2B5EF4-FFF2-40B4-BE49-F238E27FC236}">
                  <a16:creationId xmlns:a16="http://schemas.microsoft.com/office/drawing/2014/main" xmlns="" id="{320D2826-4561-4B57-84B8-076B8F84610F}"/>
                </a:ext>
              </a:extLst>
            </p:cNvPr>
            <p:cNvSpPr>
              <a:spLocks noChangeAspect="1" noEditPoints="1"/>
            </p:cNvSpPr>
            <p:nvPr>
              <p:custDataLst>
                <p:tags r:id="rId3"/>
              </p:custDataLst>
            </p:nvPr>
          </p:nvSpPr>
          <p:spPr bwMode="gray">
            <a:xfrm>
              <a:off x="394642" y="392331"/>
              <a:ext cx="479749" cy="477314"/>
            </a:xfrm>
            <a:custGeom>
              <a:avLst/>
              <a:gdLst>
                <a:gd name="T0" fmla="*/ 480 w 1920"/>
                <a:gd name="T1" fmla="*/ 390 h 1910"/>
                <a:gd name="T2" fmla="*/ 1040 w 1920"/>
                <a:gd name="T3" fmla="*/ 310 h 1910"/>
                <a:gd name="T4" fmla="*/ 727 w 1920"/>
                <a:gd name="T5" fmla="*/ 571 h 1910"/>
                <a:gd name="T6" fmla="*/ 480 w 1920"/>
                <a:gd name="T7" fmla="*/ 710 h 1910"/>
                <a:gd name="T8" fmla="*/ 1920 w 1920"/>
                <a:gd name="T9" fmla="*/ 996 h 1910"/>
                <a:gd name="T10" fmla="*/ 1560 w 1920"/>
                <a:gd name="T11" fmla="*/ 1910 h 1910"/>
                <a:gd name="T12" fmla="*/ 242 w 1920"/>
                <a:gd name="T13" fmla="*/ 1801 h 1910"/>
                <a:gd name="T14" fmla="*/ 0 w 1920"/>
                <a:gd name="T15" fmla="*/ 790 h 1910"/>
                <a:gd name="T16" fmla="*/ 1322 w 1920"/>
                <a:gd name="T17" fmla="*/ 321 h 1910"/>
                <a:gd name="T18" fmla="*/ 1638 w 1920"/>
                <a:gd name="T19" fmla="*/ 710 h 1910"/>
                <a:gd name="T20" fmla="*/ 767 w 1920"/>
                <a:gd name="T21" fmla="*/ 641 h 1910"/>
                <a:gd name="T22" fmla="*/ 1747 w 1920"/>
                <a:gd name="T23" fmla="*/ 710 h 1910"/>
                <a:gd name="T24" fmla="*/ 1407 w 1920"/>
                <a:gd name="T25" fmla="*/ 16 h 1910"/>
                <a:gd name="T26" fmla="*/ 1886 w 1920"/>
                <a:gd name="T27" fmla="*/ 710 h 1910"/>
                <a:gd name="T28" fmla="*/ 34 w 1920"/>
                <a:gd name="T29" fmla="*/ 710 h 1910"/>
                <a:gd name="T30" fmla="*/ 513 w 1920"/>
                <a:gd name="T31" fmla="*/ 16 h 1910"/>
                <a:gd name="T32" fmla="*/ 173 w 1920"/>
                <a:gd name="T33" fmla="*/ 710 h 1910"/>
                <a:gd name="T34" fmla="*/ 1800 w 1920"/>
                <a:gd name="T35" fmla="*/ 978 h 1910"/>
                <a:gd name="T36" fmla="*/ 1660 w 1920"/>
                <a:gd name="T37" fmla="*/ 950 h 1910"/>
                <a:gd name="T38" fmla="*/ 1742 w 1920"/>
                <a:gd name="T39" fmla="*/ 1170 h 1910"/>
                <a:gd name="T40" fmla="*/ 120 w 1920"/>
                <a:gd name="T41" fmla="*/ 950 h 1910"/>
                <a:gd name="T42" fmla="*/ 178 w 1920"/>
                <a:gd name="T43" fmla="*/ 1170 h 1910"/>
                <a:gd name="T44" fmla="*/ 260 w 1920"/>
                <a:gd name="T45" fmla="*/ 950 h 1910"/>
                <a:gd name="T46" fmla="*/ 214 w 1920"/>
                <a:gd name="T47" fmla="*/ 1290 h 1910"/>
                <a:gd name="T48" fmla="*/ 260 w 1920"/>
                <a:gd name="T49" fmla="*/ 1290 h 1910"/>
                <a:gd name="T50" fmla="*/ 380 w 1920"/>
                <a:gd name="T51" fmla="*/ 1790 h 1910"/>
                <a:gd name="T52" fmla="*/ 580 w 1920"/>
                <a:gd name="T53" fmla="*/ 1610 h 1910"/>
                <a:gd name="T54" fmla="*/ 380 w 1920"/>
                <a:gd name="T55" fmla="*/ 1790 h 1910"/>
                <a:gd name="T56" fmla="*/ 900 w 1920"/>
                <a:gd name="T57" fmla="*/ 1790 h 1910"/>
                <a:gd name="T58" fmla="*/ 700 w 1920"/>
                <a:gd name="T59" fmla="*/ 1610 h 1910"/>
                <a:gd name="T60" fmla="*/ 1020 w 1920"/>
                <a:gd name="T61" fmla="*/ 1790 h 1910"/>
                <a:gd name="T62" fmla="*/ 1220 w 1920"/>
                <a:gd name="T63" fmla="*/ 1610 h 1910"/>
                <a:gd name="T64" fmla="*/ 1020 w 1920"/>
                <a:gd name="T65" fmla="*/ 1790 h 1910"/>
                <a:gd name="T66" fmla="*/ 1540 w 1920"/>
                <a:gd name="T67" fmla="*/ 1790 h 1910"/>
                <a:gd name="T68" fmla="*/ 1340 w 1920"/>
                <a:gd name="T69" fmla="*/ 1610 h 1910"/>
                <a:gd name="T70" fmla="*/ 1660 w 1920"/>
                <a:gd name="T71" fmla="*/ 1446 h 1910"/>
                <a:gd name="T72" fmla="*/ 1660 w 1920"/>
                <a:gd name="T73" fmla="*/ 1290 h 1910"/>
                <a:gd name="T74" fmla="*/ 1540 w 1920"/>
                <a:gd name="T75" fmla="*/ 1490 h 1910"/>
                <a:gd name="T76" fmla="*/ 1340 w 1920"/>
                <a:gd name="T77" fmla="*/ 1290 h 1910"/>
                <a:gd name="T78" fmla="*/ 1540 w 1920"/>
                <a:gd name="T79" fmla="*/ 1490 h 1910"/>
                <a:gd name="T80" fmla="*/ 1220 w 1920"/>
                <a:gd name="T81" fmla="*/ 1290 h 1910"/>
                <a:gd name="T82" fmla="*/ 1020 w 1920"/>
                <a:gd name="T83" fmla="*/ 1490 h 1910"/>
                <a:gd name="T84" fmla="*/ 900 w 1920"/>
                <a:gd name="T85" fmla="*/ 1490 h 1910"/>
                <a:gd name="T86" fmla="*/ 700 w 1920"/>
                <a:gd name="T87" fmla="*/ 1290 h 1910"/>
                <a:gd name="T88" fmla="*/ 900 w 1920"/>
                <a:gd name="T89" fmla="*/ 1490 h 1910"/>
                <a:gd name="T90" fmla="*/ 580 w 1920"/>
                <a:gd name="T91" fmla="*/ 1290 h 1910"/>
                <a:gd name="T92" fmla="*/ 380 w 1920"/>
                <a:gd name="T93" fmla="*/ 1490 h 1910"/>
                <a:gd name="T94" fmla="*/ 380 w 1920"/>
                <a:gd name="T95" fmla="*/ 1170 h 1910"/>
                <a:gd name="T96" fmla="*/ 580 w 1920"/>
                <a:gd name="T97" fmla="*/ 950 h 1910"/>
                <a:gd name="T98" fmla="*/ 380 w 1920"/>
                <a:gd name="T99" fmla="*/ 1170 h 1910"/>
                <a:gd name="T100" fmla="*/ 900 w 1920"/>
                <a:gd name="T101" fmla="*/ 1170 h 1910"/>
                <a:gd name="T102" fmla="*/ 700 w 1920"/>
                <a:gd name="T103" fmla="*/ 950 h 1910"/>
                <a:gd name="T104" fmla="*/ 1020 w 1920"/>
                <a:gd name="T105" fmla="*/ 1170 h 1910"/>
                <a:gd name="T106" fmla="*/ 1220 w 1920"/>
                <a:gd name="T107" fmla="*/ 950 h 1910"/>
                <a:gd name="T108" fmla="*/ 1020 w 1920"/>
                <a:gd name="T109" fmla="*/ 1170 h 1910"/>
                <a:gd name="T110" fmla="*/ 1540 w 1920"/>
                <a:gd name="T111" fmla="*/ 1170 h 1910"/>
                <a:gd name="T112" fmla="*/ 1340 w 1920"/>
                <a:gd name="T113" fmla="*/ 950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20" h="1910">
                  <a:moveTo>
                    <a:pt x="480" y="710"/>
                  </a:moveTo>
                  <a:cubicBezTo>
                    <a:pt x="480" y="390"/>
                    <a:pt x="480" y="390"/>
                    <a:pt x="480" y="390"/>
                  </a:cubicBezTo>
                  <a:cubicBezTo>
                    <a:pt x="480" y="346"/>
                    <a:pt x="516" y="310"/>
                    <a:pt x="560" y="310"/>
                  </a:cubicBezTo>
                  <a:cubicBezTo>
                    <a:pt x="1040" y="310"/>
                    <a:pt x="1040" y="310"/>
                    <a:pt x="1040" y="310"/>
                  </a:cubicBezTo>
                  <a:cubicBezTo>
                    <a:pt x="1069" y="310"/>
                    <a:pt x="1095" y="326"/>
                    <a:pt x="1110" y="351"/>
                  </a:cubicBezTo>
                  <a:cubicBezTo>
                    <a:pt x="727" y="571"/>
                    <a:pt x="727" y="571"/>
                    <a:pt x="727" y="571"/>
                  </a:cubicBezTo>
                  <a:cubicBezTo>
                    <a:pt x="676" y="601"/>
                    <a:pt x="647" y="655"/>
                    <a:pt x="647" y="710"/>
                  </a:cubicBezTo>
                  <a:lnTo>
                    <a:pt x="480" y="710"/>
                  </a:lnTo>
                  <a:close/>
                  <a:moveTo>
                    <a:pt x="1920" y="790"/>
                  </a:moveTo>
                  <a:cubicBezTo>
                    <a:pt x="1920" y="996"/>
                    <a:pt x="1920" y="996"/>
                    <a:pt x="1920" y="996"/>
                  </a:cubicBezTo>
                  <a:cubicBezTo>
                    <a:pt x="1678" y="1801"/>
                    <a:pt x="1678" y="1801"/>
                    <a:pt x="1678" y="1801"/>
                  </a:cubicBezTo>
                  <a:cubicBezTo>
                    <a:pt x="1661" y="1858"/>
                    <a:pt x="1625" y="1910"/>
                    <a:pt x="1560" y="1910"/>
                  </a:cubicBezTo>
                  <a:cubicBezTo>
                    <a:pt x="360" y="1910"/>
                    <a:pt x="360" y="1910"/>
                    <a:pt x="360" y="1910"/>
                  </a:cubicBezTo>
                  <a:cubicBezTo>
                    <a:pt x="295" y="1910"/>
                    <a:pt x="259" y="1858"/>
                    <a:pt x="242" y="1801"/>
                  </a:cubicBezTo>
                  <a:cubicBezTo>
                    <a:pt x="0" y="996"/>
                    <a:pt x="0" y="996"/>
                    <a:pt x="0" y="996"/>
                  </a:cubicBezTo>
                  <a:cubicBezTo>
                    <a:pt x="0" y="790"/>
                    <a:pt x="0" y="790"/>
                    <a:pt x="0" y="790"/>
                  </a:cubicBezTo>
                  <a:cubicBezTo>
                    <a:pt x="640" y="790"/>
                    <a:pt x="1280" y="790"/>
                    <a:pt x="1920" y="790"/>
                  </a:cubicBezTo>
                  <a:close/>
                  <a:moveTo>
                    <a:pt x="1322" y="321"/>
                  </a:moveTo>
                  <a:cubicBezTo>
                    <a:pt x="1358" y="300"/>
                    <a:pt x="1404" y="310"/>
                    <a:pt x="1427" y="344"/>
                  </a:cubicBezTo>
                  <a:cubicBezTo>
                    <a:pt x="1638" y="710"/>
                    <a:pt x="1638" y="710"/>
                    <a:pt x="1638" y="710"/>
                  </a:cubicBezTo>
                  <a:cubicBezTo>
                    <a:pt x="727" y="710"/>
                    <a:pt x="727" y="710"/>
                    <a:pt x="727" y="710"/>
                  </a:cubicBezTo>
                  <a:cubicBezTo>
                    <a:pt x="727" y="682"/>
                    <a:pt x="742" y="655"/>
                    <a:pt x="767" y="641"/>
                  </a:cubicBezTo>
                  <a:cubicBezTo>
                    <a:pt x="952" y="534"/>
                    <a:pt x="1137" y="428"/>
                    <a:pt x="1322" y="321"/>
                  </a:cubicBezTo>
                  <a:close/>
                  <a:moveTo>
                    <a:pt x="1747" y="710"/>
                  </a:moveTo>
                  <a:cubicBezTo>
                    <a:pt x="1386" y="99"/>
                    <a:pt x="1386" y="99"/>
                    <a:pt x="1386" y="99"/>
                  </a:cubicBezTo>
                  <a:cubicBezTo>
                    <a:pt x="1369" y="70"/>
                    <a:pt x="1378" y="34"/>
                    <a:pt x="1407" y="16"/>
                  </a:cubicBezTo>
                  <a:cubicBezTo>
                    <a:pt x="1435" y="0"/>
                    <a:pt x="1472" y="9"/>
                    <a:pt x="1489" y="38"/>
                  </a:cubicBezTo>
                  <a:cubicBezTo>
                    <a:pt x="1886" y="710"/>
                    <a:pt x="1886" y="710"/>
                    <a:pt x="1886" y="710"/>
                  </a:cubicBezTo>
                  <a:lnTo>
                    <a:pt x="1747" y="710"/>
                  </a:lnTo>
                  <a:close/>
                  <a:moveTo>
                    <a:pt x="34" y="710"/>
                  </a:moveTo>
                  <a:cubicBezTo>
                    <a:pt x="431" y="38"/>
                    <a:pt x="431" y="38"/>
                    <a:pt x="431" y="38"/>
                  </a:cubicBezTo>
                  <a:cubicBezTo>
                    <a:pt x="448" y="9"/>
                    <a:pt x="485" y="0"/>
                    <a:pt x="513" y="16"/>
                  </a:cubicBezTo>
                  <a:cubicBezTo>
                    <a:pt x="542" y="34"/>
                    <a:pt x="551" y="70"/>
                    <a:pt x="534" y="99"/>
                  </a:cubicBezTo>
                  <a:cubicBezTo>
                    <a:pt x="173" y="710"/>
                    <a:pt x="173" y="710"/>
                    <a:pt x="173" y="710"/>
                  </a:cubicBezTo>
                  <a:lnTo>
                    <a:pt x="34" y="710"/>
                  </a:lnTo>
                  <a:close/>
                  <a:moveTo>
                    <a:pt x="1800" y="978"/>
                  </a:moveTo>
                  <a:cubicBezTo>
                    <a:pt x="1800" y="950"/>
                    <a:pt x="1800" y="950"/>
                    <a:pt x="1800" y="950"/>
                  </a:cubicBezTo>
                  <a:cubicBezTo>
                    <a:pt x="1660" y="950"/>
                    <a:pt x="1660" y="950"/>
                    <a:pt x="1660" y="950"/>
                  </a:cubicBezTo>
                  <a:cubicBezTo>
                    <a:pt x="1660" y="1170"/>
                    <a:pt x="1660" y="1170"/>
                    <a:pt x="1660" y="1170"/>
                  </a:cubicBezTo>
                  <a:cubicBezTo>
                    <a:pt x="1742" y="1170"/>
                    <a:pt x="1742" y="1170"/>
                    <a:pt x="1742" y="1170"/>
                  </a:cubicBezTo>
                  <a:lnTo>
                    <a:pt x="1800" y="978"/>
                  </a:lnTo>
                  <a:close/>
                  <a:moveTo>
                    <a:pt x="120" y="950"/>
                  </a:moveTo>
                  <a:cubicBezTo>
                    <a:pt x="120" y="978"/>
                    <a:pt x="120" y="978"/>
                    <a:pt x="120" y="978"/>
                  </a:cubicBezTo>
                  <a:cubicBezTo>
                    <a:pt x="178" y="1170"/>
                    <a:pt x="178" y="1170"/>
                    <a:pt x="178" y="1170"/>
                  </a:cubicBezTo>
                  <a:cubicBezTo>
                    <a:pt x="260" y="1170"/>
                    <a:pt x="260" y="1170"/>
                    <a:pt x="260" y="1170"/>
                  </a:cubicBezTo>
                  <a:cubicBezTo>
                    <a:pt x="260" y="950"/>
                    <a:pt x="260" y="950"/>
                    <a:pt x="260" y="950"/>
                  </a:cubicBezTo>
                  <a:lnTo>
                    <a:pt x="120" y="950"/>
                  </a:lnTo>
                  <a:close/>
                  <a:moveTo>
                    <a:pt x="214" y="1290"/>
                  </a:moveTo>
                  <a:cubicBezTo>
                    <a:pt x="260" y="1446"/>
                    <a:pt x="260" y="1446"/>
                    <a:pt x="260" y="1446"/>
                  </a:cubicBezTo>
                  <a:cubicBezTo>
                    <a:pt x="260" y="1290"/>
                    <a:pt x="260" y="1290"/>
                    <a:pt x="260" y="1290"/>
                  </a:cubicBezTo>
                  <a:lnTo>
                    <a:pt x="214" y="1290"/>
                  </a:lnTo>
                  <a:close/>
                  <a:moveTo>
                    <a:pt x="380" y="1790"/>
                  </a:moveTo>
                  <a:cubicBezTo>
                    <a:pt x="580" y="1790"/>
                    <a:pt x="580" y="1790"/>
                    <a:pt x="580" y="1790"/>
                  </a:cubicBezTo>
                  <a:cubicBezTo>
                    <a:pt x="580" y="1610"/>
                    <a:pt x="580" y="1610"/>
                    <a:pt x="580" y="1610"/>
                  </a:cubicBezTo>
                  <a:cubicBezTo>
                    <a:pt x="380" y="1610"/>
                    <a:pt x="380" y="1610"/>
                    <a:pt x="380" y="1610"/>
                  </a:cubicBezTo>
                  <a:lnTo>
                    <a:pt x="380" y="1790"/>
                  </a:lnTo>
                  <a:close/>
                  <a:moveTo>
                    <a:pt x="700" y="1790"/>
                  </a:moveTo>
                  <a:cubicBezTo>
                    <a:pt x="900" y="1790"/>
                    <a:pt x="900" y="1790"/>
                    <a:pt x="900" y="1790"/>
                  </a:cubicBezTo>
                  <a:cubicBezTo>
                    <a:pt x="900" y="1610"/>
                    <a:pt x="900" y="1610"/>
                    <a:pt x="900" y="1610"/>
                  </a:cubicBezTo>
                  <a:cubicBezTo>
                    <a:pt x="700" y="1610"/>
                    <a:pt x="700" y="1610"/>
                    <a:pt x="700" y="1610"/>
                  </a:cubicBezTo>
                  <a:lnTo>
                    <a:pt x="700" y="1790"/>
                  </a:lnTo>
                  <a:close/>
                  <a:moveTo>
                    <a:pt x="1020" y="1790"/>
                  </a:moveTo>
                  <a:cubicBezTo>
                    <a:pt x="1220" y="1790"/>
                    <a:pt x="1220" y="1790"/>
                    <a:pt x="1220" y="1790"/>
                  </a:cubicBezTo>
                  <a:cubicBezTo>
                    <a:pt x="1220" y="1610"/>
                    <a:pt x="1220" y="1610"/>
                    <a:pt x="1220" y="1610"/>
                  </a:cubicBezTo>
                  <a:cubicBezTo>
                    <a:pt x="1020" y="1610"/>
                    <a:pt x="1020" y="1610"/>
                    <a:pt x="1020" y="1610"/>
                  </a:cubicBezTo>
                  <a:lnTo>
                    <a:pt x="1020" y="1790"/>
                  </a:lnTo>
                  <a:close/>
                  <a:moveTo>
                    <a:pt x="1340" y="1790"/>
                  </a:moveTo>
                  <a:cubicBezTo>
                    <a:pt x="1540" y="1790"/>
                    <a:pt x="1540" y="1790"/>
                    <a:pt x="1540" y="1790"/>
                  </a:cubicBezTo>
                  <a:cubicBezTo>
                    <a:pt x="1540" y="1610"/>
                    <a:pt x="1540" y="1610"/>
                    <a:pt x="1540" y="1610"/>
                  </a:cubicBezTo>
                  <a:cubicBezTo>
                    <a:pt x="1340" y="1610"/>
                    <a:pt x="1340" y="1610"/>
                    <a:pt x="1340" y="1610"/>
                  </a:cubicBezTo>
                  <a:lnTo>
                    <a:pt x="1340" y="1790"/>
                  </a:lnTo>
                  <a:close/>
                  <a:moveTo>
                    <a:pt x="1660" y="1446"/>
                  </a:moveTo>
                  <a:cubicBezTo>
                    <a:pt x="1706" y="1290"/>
                    <a:pt x="1706" y="1290"/>
                    <a:pt x="1706" y="1290"/>
                  </a:cubicBezTo>
                  <a:cubicBezTo>
                    <a:pt x="1660" y="1290"/>
                    <a:pt x="1660" y="1290"/>
                    <a:pt x="1660" y="1290"/>
                  </a:cubicBezTo>
                  <a:lnTo>
                    <a:pt x="1660" y="1446"/>
                  </a:lnTo>
                  <a:close/>
                  <a:moveTo>
                    <a:pt x="1540" y="1490"/>
                  </a:moveTo>
                  <a:cubicBezTo>
                    <a:pt x="1540" y="1290"/>
                    <a:pt x="1540" y="1290"/>
                    <a:pt x="1540" y="1290"/>
                  </a:cubicBezTo>
                  <a:cubicBezTo>
                    <a:pt x="1340" y="1290"/>
                    <a:pt x="1340" y="1290"/>
                    <a:pt x="1340" y="1290"/>
                  </a:cubicBezTo>
                  <a:cubicBezTo>
                    <a:pt x="1340" y="1490"/>
                    <a:pt x="1340" y="1490"/>
                    <a:pt x="1340" y="1490"/>
                  </a:cubicBezTo>
                  <a:lnTo>
                    <a:pt x="1540" y="1490"/>
                  </a:lnTo>
                  <a:close/>
                  <a:moveTo>
                    <a:pt x="1220" y="1490"/>
                  </a:moveTo>
                  <a:cubicBezTo>
                    <a:pt x="1220" y="1290"/>
                    <a:pt x="1220" y="1290"/>
                    <a:pt x="1220" y="1290"/>
                  </a:cubicBezTo>
                  <a:cubicBezTo>
                    <a:pt x="1020" y="1290"/>
                    <a:pt x="1020" y="1290"/>
                    <a:pt x="1020" y="1290"/>
                  </a:cubicBezTo>
                  <a:cubicBezTo>
                    <a:pt x="1020" y="1490"/>
                    <a:pt x="1020" y="1490"/>
                    <a:pt x="1020" y="1490"/>
                  </a:cubicBezTo>
                  <a:lnTo>
                    <a:pt x="1220" y="1490"/>
                  </a:lnTo>
                  <a:close/>
                  <a:moveTo>
                    <a:pt x="900" y="1490"/>
                  </a:moveTo>
                  <a:cubicBezTo>
                    <a:pt x="900" y="1290"/>
                    <a:pt x="900" y="1290"/>
                    <a:pt x="900" y="1290"/>
                  </a:cubicBezTo>
                  <a:cubicBezTo>
                    <a:pt x="700" y="1290"/>
                    <a:pt x="700" y="1290"/>
                    <a:pt x="700" y="1290"/>
                  </a:cubicBezTo>
                  <a:cubicBezTo>
                    <a:pt x="700" y="1490"/>
                    <a:pt x="700" y="1490"/>
                    <a:pt x="700" y="1490"/>
                  </a:cubicBezTo>
                  <a:lnTo>
                    <a:pt x="900" y="1490"/>
                  </a:lnTo>
                  <a:close/>
                  <a:moveTo>
                    <a:pt x="580" y="1490"/>
                  </a:moveTo>
                  <a:cubicBezTo>
                    <a:pt x="580" y="1290"/>
                    <a:pt x="580" y="1290"/>
                    <a:pt x="580" y="1290"/>
                  </a:cubicBezTo>
                  <a:cubicBezTo>
                    <a:pt x="380" y="1290"/>
                    <a:pt x="380" y="1290"/>
                    <a:pt x="380" y="1290"/>
                  </a:cubicBezTo>
                  <a:cubicBezTo>
                    <a:pt x="380" y="1490"/>
                    <a:pt x="380" y="1490"/>
                    <a:pt x="380" y="1490"/>
                  </a:cubicBezTo>
                  <a:lnTo>
                    <a:pt x="580" y="1490"/>
                  </a:lnTo>
                  <a:close/>
                  <a:moveTo>
                    <a:pt x="380" y="1170"/>
                  </a:moveTo>
                  <a:cubicBezTo>
                    <a:pt x="580" y="1170"/>
                    <a:pt x="580" y="1170"/>
                    <a:pt x="580" y="1170"/>
                  </a:cubicBezTo>
                  <a:cubicBezTo>
                    <a:pt x="580" y="950"/>
                    <a:pt x="580" y="950"/>
                    <a:pt x="580" y="950"/>
                  </a:cubicBezTo>
                  <a:cubicBezTo>
                    <a:pt x="380" y="950"/>
                    <a:pt x="380" y="950"/>
                    <a:pt x="380" y="950"/>
                  </a:cubicBezTo>
                  <a:lnTo>
                    <a:pt x="380" y="1170"/>
                  </a:lnTo>
                  <a:close/>
                  <a:moveTo>
                    <a:pt x="700" y="1170"/>
                  </a:moveTo>
                  <a:cubicBezTo>
                    <a:pt x="900" y="1170"/>
                    <a:pt x="900" y="1170"/>
                    <a:pt x="900" y="1170"/>
                  </a:cubicBezTo>
                  <a:cubicBezTo>
                    <a:pt x="900" y="950"/>
                    <a:pt x="900" y="950"/>
                    <a:pt x="900" y="950"/>
                  </a:cubicBezTo>
                  <a:cubicBezTo>
                    <a:pt x="700" y="950"/>
                    <a:pt x="700" y="950"/>
                    <a:pt x="700" y="950"/>
                  </a:cubicBezTo>
                  <a:lnTo>
                    <a:pt x="700" y="1170"/>
                  </a:lnTo>
                  <a:close/>
                  <a:moveTo>
                    <a:pt x="1020" y="1170"/>
                  </a:moveTo>
                  <a:cubicBezTo>
                    <a:pt x="1220" y="1170"/>
                    <a:pt x="1220" y="1170"/>
                    <a:pt x="1220" y="1170"/>
                  </a:cubicBezTo>
                  <a:cubicBezTo>
                    <a:pt x="1220" y="950"/>
                    <a:pt x="1220" y="950"/>
                    <a:pt x="1220" y="950"/>
                  </a:cubicBezTo>
                  <a:cubicBezTo>
                    <a:pt x="1020" y="950"/>
                    <a:pt x="1020" y="950"/>
                    <a:pt x="1020" y="950"/>
                  </a:cubicBezTo>
                  <a:lnTo>
                    <a:pt x="1020" y="1170"/>
                  </a:lnTo>
                  <a:close/>
                  <a:moveTo>
                    <a:pt x="1340" y="1170"/>
                  </a:moveTo>
                  <a:cubicBezTo>
                    <a:pt x="1540" y="1170"/>
                    <a:pt x="1540" y="1170"/>
                    <a:pt x="1540" y="1170"/>
                  </a:cubicBezTo>
                  <a:cubicBezTo>
                    <a:pt x="1540" y="950"/>
                    <a:pt x="1540" y="950"/>
                    <a:pt x="1540" y="950"/>
                  </a:cubicBezTo>
                  <a:cubicBezTo>
                    <a:pt x="1340" y="950"/>
                    <a:pt x="1340" y="950"/>
                    <a:pt x="1340" y="950"/>
                  </a:cubicBezTo>
                  <a:lnTo>
                    <a:pt x="1340" y="1170"/>
                  </a:lnTo>
                  <a:close/>
                </a:path>
              </a:pathLst>
            </a:custGeom>
            <a:solidFill>
              <a:schemeClr val="bg1"/>
            </a:solidFill>
            <a:ln>
              <a:noFill/>
            </a:ln>
          </p:spPr>
          <p:txBody>
            <a:bodyPr vert="horz" wrap="square" lIns="121920" tIns="60960" rIns="121920" bIns="60960" numCol="1" anchor="t" anchorCtr="0" compatLnSpc="1">
              <a:prstTxWarp prst="textNoShape">
                <a:avLst/>
              </a:prstTxWarp>
            </a:bodyPr>
            <a:lstStyle/>
            <a:p>
              <a:endParaRPr lang="en-US" sz="1333" dirty="0"/>
            </a:p>
          </p:txBody>
        </p:sp>
      </p:grpSp>
      <p:grpSp>
        <p:nvGrpSpPr>
          <p:cNvPr id="15" name="logo">
            <a:extLst>
              <a:ext uri="{FF2B5EF4-FFF2-40B4-BE49-F238E27FC236}">
                <a16:creationId xmlns:a16="http://schemas.microsoft.com/office/drawing/2014/main" xmlns="" id="{17C31224-219F-47A0-8443-9AD45ADF31DB}"/>
              </a:ext>
            </a:extLst>
          </p:cNvPr>
          <p:cNvGrpSpPr>
            <a:grpSpLocks noChangeAspect="1"/>
          </p:cNvGrpSpPr>
          <p:nvPr/>
        </p:nvGrpSpPr>
        <p:grpSpPr bwMode="gray">
          <a:xfrm>
            <a:off x="11174018" y="401441"/>
            <a:ext cx="644225" cy="646507"/>
            <a:chOff x="2711" y="1027"/>
            <a:chExt cx="2258" cy="2266"/>
          </a:xfrm>
        </p:grpSpPr>
        <p:sp>
          <p:nvSpPr>
            <p:cNvPr id="16" name="AutoShape 3">
              <a:extLst>
                <a:ext uri="{FF2B5EF4-FFF2-40B4-BE49-F238E27FC236}">
                  <a16:creationId xmlns:a16="http://schemas.microsoft.com/office/drawing/2014/main" xmlns="" id="{ACACF096-9394-4D82-8BA6-DDD09DA2E507}"/>
                </a:ext>
              </a:extLst>
            </p:cNvPr>
            <p:cNvSpPr>
              <a:spLocks noChangeAspect="1" noChangeArrowheads="1" noTextEdit="1"/>
            </p:cNvSpPr>
            <p:nvPr/>
          </p:nvSpPr>
          <p:spPr bwMode="gray">
            <a:xfrm>
              <a:off x="2711" y="1027"/>
              <a:ext cx="2258" cy="22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7" name="Freeform 5">
              <a:extLst>
                <a:ext uri="{FF2B5EF4-FFF2-40B4-BE49-F238E27FC236}">
                  <a16:creationId xmlns:a16="http://schemas.microsoft.com/office/drawing/2014/main" xmlns="" id="{9A980E7C-7A07-4C7C-B9D8-ABF6564FDCC6}"/>
                </a:ext>
              </a:extLst>
            </p:cNvPr>
            <p:cNvSpPr>
              <a:spLocks/>
            </p:cNvSpPr>
            <p:nvPr/>
          </p:nvSpPr>
          <p:spPr bwMode="gray">
            <a:xfrm>
              <a:off x="2709" y="1029"/>
              <a:ext cx="2260" cy="2262"/>
            </a:xfrm>
            <a:custGeom>
              <a:avLst/>
              <a:gdLst>
                <a:gd name="T0" fmla="*/ 2260 w 2260"/>
                <a:gd name="T1" fmla="*/ 0 h 2262"/>
                <a:gd name="T2" fmla="*/ 1612 w 2260"/>
                <a:gd name="T3" fmla="*/ 649 h 2262"/>
                <a:gd name="T4" fmla="*/ 1612 w 2260"/>
                <a:gd name="T5" fmla="*/ 649 h 2262"/>
                <a:gd name="T6" fmla="*/ 2035 w 2260"/>
                <a:gd name="T7" fmla="*/ 0 h 2262"/>
                <a:gd name="T8" fmla="*/ 0 w 2260"/>
                <a:gd name="T9" fmla="*/ 0 h 2262"/>
                <a:gd name="T10" fmla="*/ 0 w 2260"/>
                <a:gd name="T11" fmla="*/ 2262 h 2262"/>
                <a:gd name="T12" fmla="*/ 2260 w 2260"/>
                <a:gd name="T13" fmla="*/ 2262 h 2262"/>
                <a:gd name="T14" fmla="*/ 2260 w 2260"/>
                <a:gd name="T15" fmla="*/ 0 h 2262"/>
                <a:gd name="T16" fmla="*/ 2260 w 2260"/>
                <a:gd name="T17" fmla="*/ 0 h 22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60" h="2262">
                  <a:moveTo>
                    <a:pt x="2260" y="0"/>
                  </a:moveTo>
                  <a:lnTo>
                    <a:pt x="1612" y="649"/>
                  </a:lnTo>
                  <a:lnTo>
                    <a:pt x="1612" y="649"/>
                  </a:lnTo>
                  <a:lnTo>
                    <a:pt x="2035" y="0"/>
                  </a:lnTo>
                  <a:lnTo>
                    <a:pt x="0" y="0"/>
                  </a:lnTo>
                  <a:lnTo>
                    <a:pt x="0" y="2262"/>
                  </a:lnTo>
                  <a:lnTo>
                    <a:pt x="2260" y="2262"/>
                  </a:lnTo>
                  <a:lnTo>
                    <a:pt x="2260" y="0"/>
                  </a:lnTo>
                  <a:lnTo>
                    <a:pt x="2260" y="0"/>
                  </a:lnTo>
                  <a:close/>
                </a:path>
              </a:pathLst>
            </a:custGeom>
            <a:solidFill>
              <a:srgbClr val="E55A0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8" name="Freeform 6">
              <a:extLst>
                <a:ext uri="{FF2B5EF4-FFF2-40B4-BE49-F238E27FC236}">
                  <a16:creationId xmlns:a16="http://schemas.microsoft.com/office/drawing/2014/main" xmlns="" id="{AB7E1202-0797-4C60-9DA9-F3CBB699DF42}"/>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19" name="Freeform 7">
              <a:extLst>
                <a:ext uri="{FF2B5EF4-FFF2-40B4-BE49-F238E27FC236}">
                  <a16:creationId xmlns:a16="http://schemas.microsoft.com/office/drawing/2014/main" xmlns="" id="{B52D34B4-BDC3-4659-B93B-C91B017624B5}"/>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28" name="Oval 8">
              <a:extLst>
                <a:ext uri="{FF2B5EF4-FFF2-40B4-BE49-F238E27FC236}">
                  <a16:creationId xmlns:a16="http://schemas.microsoft.com/office/drawing/2014/main" xmlns="" id="{962B4684-2878-43B1-B048-0717D060EC4F}"/>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30" name="Freeform 9">
              <a:extLst>
                <a:ext uri="{FF2B5EF4-FFF2-40B4-BE49-F238E27FC236}">
                  <a16:creationId xmlns:a16="http://schemas.microsoft.com/office/drawing/2014/main" xmlns="" id="{77824731-8FB7-4FE1-939F-5D59A881F196}"/>
                </a:ext>
              </a:extLst>
            </p:cNvPr>
            <p:cNvSpPr>
              <a:spLocks noEditPoints="1"/>
            </p:cNvSpPr>
            <p:nvPr/>
          </p:nvSpPr>
          <p:spPr bwMode="gray">
            <a:xfrm>
              <a:off x="3623" y="1696"/>
              <a:ext cx="1167" cy="922"/>
            </a:xfrm>
            <a:custGeom>
              <a:avLst/>
              <a:gdLst>
                <a:gd name="T0" fmla="*/ 411 w 580"/>
                <a:gd name="T1" fmla="*/ 213 h 458"/>
                <a:gd name="T2" fmla="*/ 570 w 580"/>
                <a:gd name="T3" fmla="*/ 37 h 458"/>
                <a:gd name="T4" fmla="*/ 580 w 580"/>
                <a:gd name="T5" fmla="*/ 20 h 458"/>
                <a:gd name="T6" fmla="*/ 545 w 580"/>
                <a:gd name="T7" fmla="*/ 0 h 458"/>
                <a:gd name="T8" fmla="*/ 519 w 580"/>
                <a:gd name="T9" fmla="*/ 16 h 458"/>
                <a:gd name="T10" fmla="*/ 344 w 580"/>
                <a:gd name="T11" fmla="*/ 210 h 458"/>
                <a:gd name="T12" fmla="*/ 334 w 580"/>
                <a:gd name="T13" fmla="*/ 229 h 458"/>
                <a:gd name="T14" fmla="*/ 344 w 580"/>
                <a:gd name="T15" fmla="*/ 248 h 458"/>
                <a:gd name="T16" fmla="*/ 519 w 580"/>
                <a:gd name="T17" fmla="*/ 442 h 458"/>
                <a:gd name="T18" fmla="*/ 545 w 580"/>
                <a:gd name="T19" fmla="*/ 458 h 458"/>
                <a:gd name="T20" fmla="*/ 580 w 580"/>
                <a:gd name="T21" fmla="*/ 438 h 458"/>
                <a:gd name="T22" fmla="*/ 570 w 580"/>
                <a:gd name="T23" fmla="*/ 421 h 458"/>
                <a:gd name="T24" fmla="*/ 411 w 580"/>
                <a:gd name="T25" fmla="*/ 245 h 458"/>
                <a:gd name="T26" fmla="*/ 399 w 580"/>
                <a:gd name="T27" fmla="*/ 229 h 458"/>
                <a:gd name="T28" fmla="*/ 411 w 580"/>
                <a:gd name="T29" fmla="*/ 213 h 458"/>
                <a:gd name="T30" fmla="*/ 252 w 580"/>
                <a:gd name="T31" fmla="*/ 439 h 458"/>
                <a:gd name="T32" fmla="*/ 281 w 580"/>
                <a:gd name="T33" fmla="*/ 454 h 458"/>
                <a:gd name="T34" fmla="*/ 309 w 580"/>
                <a:gd name="T35" fmla="*/ 439 h 458"/>
                <a:gd name="T36" fmla="*/ 309 w 580"/>
                <a:gd name="T37" fmla="*/ 19 h 458"/>
                <a:gd name="T38" fmla="*/ 281 w 580"/>
                <a:gd name="T39" fmla="*/ 4 h 458"/>
                <a:gd name="T40" fmla="*/ 252 w 580"/>
                <a:gd name="T41" fmla="*/ 19 h 458"/>
                <a:gd name="T42" fmla="*/ 252 w 580"/>
                <a:gd name="T43" fmla="*/ 439 h 458"/>
                <a:gd name="T44" fmla="*/ 0 w 580"/>
                <a:gd name="T45" fmla="*/ 439 h 458"/>
                <a:gd name="T46" fmla="*/ 28 w 580"/>
                <a:gd name="T47" fmla="*/ 454 h 458"/>
                <a:gd name="T48" fmla="*/ 56 w 580"/>
                <a:gd name="T49" fmla="*/ 439 h 458"/>
                <a:gd name="T50" fmla="*/ 56 w 580"/>
                <a:gd name="T51" fmla="*/ 157 h 458"/>
                <a:gd name="T52" fmla="*/ 165 w 580"/>
                <a:gd name="T53" fmla="*/ 53 h 458"/>
                <a:gd name="T54" fmla="*/ 180 w 580"/>
                <a:gd name="T55" fmla="*/ 53 h 458"/>
                <a:gd name="T56" fmla="*/ 196 w 580"/>
                <a:gd name="T57" fmla="*/ 27 h 458"/>
                <a:gd name="T58" fmla="*/ 154 w 580"/>
                <a:gd name="T59" fmla="*/ 4 h 458"/>
                <a:gd name="T60" fmla="*/ 0 w 580"/>
                <a:gd name="T61" fmla="*/ 152 h 458"/>
                <a:gd name="T62" fmla="*/ 0 w 580"/>
                <a:gd name="T63" fmla="*/ 439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80" h="458">
                  <a:moveTo>
                    <a:pt x="411" y="213"/>
                  </a:moveTo>
                  <a:cubicBezTo>
                    <a:pt x="570" y="37"/>
                    <a:pt x="570" y="37"/>
                    <a:pt x="570" y="37"/>
                  </a:cubicBezTo>
                  <a:cubicBezTo>
                    <a:pt x="576" y="30"/>
                    <a:pt x="580" y="25"/>
                    <a:pt x="580" y="20"/>
                  </a:cubicBezTo>
                  <a:cubicBezTo>
                    <a:pt x="580" y="10"/>
                    <a:pt x="559" y="0"/>
                    <a:pt x="545" y="0"/>
                  </a:cubicBezTo>
                  <a:cubicBezTo>
                    <a:pt x="535" y="0"/>
                    <a:pt x="526" y="8"/>
                    <a:pt x="519" y="16"/>
                  </a:cubicBezTo>
                  <a:cubicBezTo>
                    <a:pt x="344" y="210"/>
                    <a:pt x="344" y="210"/>
                    <a:pt x="344" y="210"/>
                  </a:cubicBezTo>
                  <a:cubicBezTo>
                    <a:pt x="336" y="219"/>
                    <a:pt x="334" y="224"/>
                    <a:pt x="334" y="229"/>
                  </a:cubicBezTo>
                  <a:cubicBezTo>
                    <a:pt x="334" y="234"/>
                    <a:pt x="336" y="239"/>
                    <a:pt x="344" y="248"/>
                  </a:cubicBezTo>
                  <a:cubicBezTo>
                    <a:pt x="519" y="442"/>
                    <a:pt x="519" y="442"/>
                    <a:pt x="519" y="442"/>
                  </a:cubicBezTo>
                  <a:cubicBezTo>
                    <a:pt x="526" y="450"/>
                    <a:pt x="535" y="458"/>
                    <a:pt x="545" y="458"/>
                  </a:cubicBezTo>
                  <a:cubicBezTo>
                    <a:pt x="559" y="458"/>
                    <a:pt x="580" y="448"/>
                    <a:pt x="580" y="438"/>
                  </a:cubicBezTo>
                  <a:cubicBezTo>
                    <a:pt x="580" y="433"/>
                    <a:pt x="576" y="428"/>
                    <a:pt x="570" y="421"/>
                  </a:cubicBezTo>
                  <a:cubicBezTo>
                    <a:pt x="411" y="245"/>
                    <a:pt x="411" y="245"/>
                    <a:pt x="411" y="245"/>
                  </a:cubicBezTo>
                  <a:cubicBezTo>
                    <a:pt x="403" y="236"/>
                    <a:pt x="399" y="232"/>
                    <a:pt x="399" y="229"/>
                  </a:cubicBezTo>
                  <a:cubicBezTo>
                    <a:pt x="399" y="226"/>
                    <a:pt x="403" y="222"/>
                    <a:pt x="411" y="213"/>
                  </a:cubicBezTo>
                  <a:moveTo>
                    <a:pt x="252" y="439"/>
                  </a:moveTo>
                  <a:cubicBezTo>
                    <a:pt x="252" y="449"/>
                    <a:pt x="261" y="454"/>
                    <a:pt x="281" y="454"/>
                  </a:cubicBezTo>
                  <a:cubicBezTo>
                    <a:pt x="300" y="454"/>
                    <a:pt x="309" y="449"/>
                    <a:pt x="309" y="439"/>
                  </a:cubicBezTo>
                  <a:cubicBezTo>
                    <a:pt x="309" y="19"/>
                    <a:pt x="309" y="19"/>
                    <a:pt x="309" y="19"/>
                  </a:cubicBezTo>
                  <a:cubicBezTo>
                    <a:pt x="309" y="9"/>
                    <a:pt x="300" y="4"/>
                    <a:pt x="281" y="4"/>
                  </a:cubicBezTo>
                  <a:cubicBezTo>
                    <a:pt x="261" y="4"/>
                    <a:pt x="252" y="9"/>
                    <a:pt x="252" y="19"/>
                  </a:cubicBezTo>
                  <a:lnTo>
                    <a:pt x="252" y="439"/>
                  </a:lnTo>
                  <a:close/>
                  <a:moveTo>
                    <a:pt x="0" y="439"/>
                  </a:moveTo>
                  <a:cubicBezTo>
                    <a:pt x="0" y="449"/>
                    <a:pt x="8" y="454"/>
                    <a:pt x="28" y="454"/>
                  </a:cubicBezTo>
                  <a:cubicBezTo>
                    <a:pt x="48" y="454"/>
                    <a:pt x="56" y="449"/>
                    <a:pt x="56" y="439"/>
                  </a:cubicBezTo>
                  <a:cubicBezTo>
                    <a:pt x="56" y="157"/>
                    <a:pt x="56" y="157"/>
                    <a:pt x="56" y="157"/>
                  </a:cubicBezTo>
                  <a:cubicBezTo>
                    <a:pt x="56" y="83"/>
                    <a:pt x="85" y="53"/>
                    <a:pt x="165" y="53"/>
                  </a:cubicBezTo>
                  <a:cubicBezTo>
                    <a:pt x="180" y="53"/>
                    <a:pt x="180" y="53"/>
                    <a:pt x="180" y="53"/>
                  </a:cubicBezTo>
                  <a:cubicBezTo>
                    <a:pt x="192" y="53"/>
                    <a:pt x="196" y="43"/>
                    <a:pt x="196" y="27"/>
                  </a:cubicBezTo>
                  <a:cubicBezTo>
                    <a:pt x="196" y="8"/>
                    <a:pt x="185" y="4"/>
                    <a:pt x="154" y="4"/>
                  </a:cubicBezTo>
                  <a:cubicBezTo>
                    <a:pt x="64" y="4"/>
                    <a:pt x="0" y="43"/>
                    <a:pt x="0" y="152"/>
                  </a:cubicBezTo>
                  <a:lnTo>
                    <a:pt x="0" y="43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31" name="Freeform 10">
              <a:extLst>
                <a:ext uri="{FF2B5EF4-FFF2-40B4-BE49-F238E27FC236}">
                  <a16:creationId xmlns:a16="http://schemas.microsoft.com/office/drawing/2014/main" xmlns="" id="{ADDA2DB5-3DEA-4919-8E42-901CC6DC9BE8}"/>
                </a:ext>
              </a:extLst>
            </p:cNvPr>
            <p:cNvSpPr>
              <a:spLocks/>
            </p:cNvSpPr>
            <p:nvPr/>
          </p:nvSpPr>
          <p:spPr bwMode="gray">
            <a:xfrm>
              <a:off x="2880" y="1704"/>
              <a:ext cx="618" cy="916"/>
            </a:xfrm>
            <a:custGeom>
              <a:avLst/>
              <a:gdLst>
                <a:gd name="T0" fmla="*/ 307 w 307"/>
                <a:gd name="T1" fmla="*/ 405 h 455"/>
                <a:gd name="T2" fmla="*/ 307 w 307"/>
                <a:gd name="T3" fmla="*/ 244 h 455"/>
                <a:gd name="T4" fmla="*/ 279 w 307"/>
                <a:gd name="T5" fmla="*/ 229 h 455"/>
                <a:gd name="T6" fmla="*/ 250 w 307"/>
                <a:gd name="T7" fmla="*/ 244 h 455"/>
                <a:gd name="T8" fmla="*/ 250 w 307"/>
                <a:gd name="T9" fmla="*/ 378 h 455"/>
                <a:gd name="T10" fmla="*/ 199 w 307"/>
                <a:gd name="T11" fmla="*/ 408 h 455"/>
                <a:gd name="T12" fmla="*/ 61 w 307"/>
                <a:gd name="T13" fmla="*/ 231 h 455"/>
                <a:gd name="T14" fmla="*/ 238 w 307"/>
                <a:gd name="T15" fmla="*/ 49 h 455"/>
                <a:gd name="T16" fmla="*/ 270 w 307"/>
                <a:gd name="T17" fmla="*/ 49 h 455"/>
                <a:gd name="T18" fmla="*/ 286 w 307"/>
                <a:gd name="T19" fmla="*/ 23 h 455"/>
                <a:gd name="T20" fmla="*/ 244 w 307"/>
                <a:gd name="T21" fmla="*/ 0 h 455"/>
                <a:gd name="T22" fmla="*/ 231 w 307"/>
                <a:gd name="T23" fmla="*/ 0 h 455"/>
                <a:gd name="T24" fmla="*/ 0 w 307"/>
                <a:gd name="T25" fmla="*/ 232 h 455"/>
                <a:gd name="T26" fmla="*/ 198 w 307"/>
                <a:gd name="T27" fmla="*/ 455 h 455"/>
                <a:gd name="T28" fmla="*/ 307 w 307"/>
                <a:gd name="T29" fmla="*/ 405 h 4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07" h="455">
                  <a:moveTo>
                    <a:pt x="307" y="405"/>
                  </a:moveTo>
                  <a:cubicBezTo>
                    <a:pt x="307" y="244"/>
                    <a:pt x="307" y="244"/>
                    <a:pt x="307" y="244"/>
                  </a:cubicBezTo>
                  <a:cubicBezTo>
                    <a:pt x="307" y="234"/>
                    <a:pt x="298" y="229"/>
                    <a:pt x="279" y="229"/>
                  </a:cubicBezTo>
                  <a:cubicBezTo>
                    <a:pt x="259" y="229"/>
                    <a:pt x="250" y="234"/>
                    <a:pt x="250" y="244"/>
                  </a:cubicBezTo>
                  <a:cubicBezTo>
                    <a:pt x="250" y="378"/>
                    <a:pt x="250" y="378"/>
                    <a:pt x="250" y="378"/>
                  </a:cubicBezTo>
                  <a:cubicBezTo>
                    <a:pt x="250" y="399"/>
                    <a:pt x="241" y="408"/>
                    <a:pt x="199" y="408"/>
                  </a:cubicBezTo>
                  <a:cubicBezTo>
                    <a:pt x="114" y="408"/>
                    <a:pt x="61" y="342"/>
                    <a:pt x="61" y="231"/>
                  </a:cubicBezTo>
                  <a:cubicBezTo>
                    <a:pt x="61" y="115"/>
                    <a:pt x="126" y="49"/>
                    <a:pt x="238" y="49"/>
                  </a:cubicBezTo>
                  <a:cubicBezTo>
                    <a:pt x="270" y="49"/>
                    <a:pt x="270" y="49"/>
                    <a:pt x="270" y="49"/>
                  </a:cubicBezTo>
                  <a:cubicBezTo>
                    <a:pt x="282" y="49"/>
                    <a:pt x="286" y="39"/>
                    <a:pt x="286" y="23"/>
                  </a:cubicBezTo>
                  <a:cubicBezTo>
                    <a:pt x="286" y="4"/>
                    <a:pt x="275" y="0"/>
                    <a:pt x="244" y="0"/>
                  </a:cubicBezTo>
                  <a:cubicBezTo>
                    <a:pt x="231" y="0"/>
                    <a:pt x="231" y="0"/>
                    <a:pt x="231" y="0"/>
                  </a:cubicBezTo>
                  <a:cubicBezTo>
                    <a:pt x="101" y="0"/>
                    <a:pt x="0" y="71"/>
                    <a:pt x="0" y="232"/>
                  </a:cubicBezTo>
                  <a:cubicBezTo>
                    <a:pt x="0" y="386"/>
                    <a:pt x="88" y="455"/>
                    <a:pt x="198" y="455"/>
                  </a:cubicBezTo>
                  <a:cubicBezTo>
                    <a:pt x="286" y="455"/>
                    <a:pt x="307" y="430"/>
                    <a:pt x="307" y="4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32" name="Oval 11">
              <a:extLst>
                <a:ext uri="{FF2B5EF4-FFF2-40B4-BE49-F238E27FC236}">
                  <a16:creationId xmlns:a16="http://schemas.microsoft.com/office/drawing/2014/main" xmlns="" id="{15C760BF-BCB3-43B7-94FD-667EDF49BC0C}"/>
                </a:ext>
              </a:extLst>
            </p:cNvPr>
            <p:cNvSpPr>
              <a:spLocks noChangeArrowheads="1"/>
            </p:cNvSpPr>
            <p:nvPr/>
          </p:nvSpPr>
          <p:spPr bwMode="gray">
            <a:xfrm>
              <a:off x="3778" y="2099"/>
              <a:ext cx="122" cy="124"/>
            </a:xfrm>
            <a:prstGeom prst="ellipse">
              <a:avLst/>
            </a:pr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33" name="Freeform 12">
              <a:extLst>
                <a:ext uri="{FF2B5EF4-FFF2-40B4-BE49-F238E27FC236}">
                  <a16:creationId xmlns:a16="http://schemas.microsoft.com/office/drawing/2014/main" xmlns="" id="{A7BFFC46-69D8-484B-BBD3-A8DBBDA17D9D}"/>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sp>
          <p:nvSpPr>
            <p:cNvPr id="34" name="Freeform 13">
              <a:extLst>
                <a:ext uri="{FF2B5EF4-FFF2-40B4-BE49-F238E27FC236}">
                  <a16:creationId xmlns:a16="http://schemas.microsoft.com/office/drawing/2014/main" xmlns="" id="{B65D0BAA-4CEA-4277-9462-BDB783348259}"/>
                </a:ext>
              </a:extLst>
            </p:cNvPr>
            <p:cNvSpPr>
              <a:spLocks/>
            </p:cNvSpPr>
            <p:nvPr/>
          </p:nvSpPr>
          <p:spPr bwMode="gray">
            <a:xfrm>
              <a:off x="4321" y="1029"/>
              <a:ext cx="648" cy="649"/>
            </a:xfrm>
            <a:custGeom>
              <a:avLst/>
              <a:gdLst>
                <a:gd name="T0" fmla="*/ 0 w 648"/>
                <a:gd name="T1" fmla="*/ 649 h 649"/>
                <a:gd name="T2" fmla="*/ 2 w 648"/>
                <a:gd name="T3" fmla="*/ 649 h 649"/>
                <a:gd name="T4" fmla="*/ 648 w 648"/>
                <a:gd name="T5" fmla="*/ 0 h 649"/>
                <a:gd name="T6" fmla="*/ 423 w 648"/>
                <a:gd name="T7" fmla="*/ 0 h 649"/>
                <a:gd name="T8" fmla="*/ 0 w 648"/>
                <a:gd name="T9" fmla="*/ 649 h 649"/>
              </a:gdLst>
              <a:ahLst/>
              <a:cxnLst>
                <a:cxn ang="0">
                  <a:pos x="T0" y="T1"/>
                </a:cxn>
                <a:cxn ang="0">
                  <a:pos x="T2" y="T3"/>
                </a:cxn>
                <a:cxn ang="0">
                  <a:pos x="T4" y="T5"/>
                </a:cxn>
                <a:cxn ang="0">
                  <a:pos x="T6" y="T7"/>
                </a:cxn>
                <a:cxn ang="0">
                  <a:pos x="T8" y="T9"/>
                </a:cxn>
              </a:cxnLst>
              <a:rect l="0" t="0" r="r" b="b"/>
              <a:pathLst>
                <a:path w="648" h="649">
                  <a:moveTo>
                    <a:pt x="0" y="649"/>
                  </a:moveTo>
                  <a:lnTo>
                    <a:pt x="2" y="649"/>
                  </a:lnTo>
                  <a:lnTo>
                    <a:pt x="648" y="0"/>
                  </a:lnTo>
                  <a:lnTo>
                    <a:pt x="423" y="0"/>
                  </a:lnTo>
                  <a:lnTo>
                    <a:pt x="0" y="649"/>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de-DE" sz="1351" dirty="0"/>
            </a:p>
          </p:txBody>
        </p:sp>
      </p:grpSp>
      <p:pic>
        <p:nvPicPr>
          <p:cNvPr id="35" name="Picture 34">
            <a:extLst>
              <a:ext uri="{FF2B5EF4-FFF2-40B4-BE49-F238E27FC236}">
                <a16:creationId xmlns:a16="http://schemas.microsoft.com/office/drawing/2014/main" xmlns="" id="{F5B5EA93-F5F4-4305-93C2-26D2530B0DB5}"/>
              </a:ext>
            </a:extLst>
          </p:cNvPr>
          <p:cNvPicPr>
            <a:picLocks noChangeAspect="1"/>
          </p:cNvPicPr>
          <p:nvPr/>
        </p:nvPicPr>
        <p:blipFill>
          <a:blip r:embed="rId8"/>
          <a:stretch>
            <a:fillRect/>
          </a:stretch>
        </p:blipFill>
        <p:spPr>
          <a:xfrm>
            <a:off x="10370170" y="401441"/>
            <a:ext cx="645366" cy="645366"/>
          </a:xfrm>
          <a:prstGeom prst="rect">
            <a:avLst/>
          </a:prstGeom>
        </p:spPr>
      </p:pic>
      <p:sp>
        <p:nvSpPr>
          <p:cNvPr id="2" name="Title 1">
            <a:extLst>
              <a:ext uri="{FF2B5EF4-FFF2-40B4-BE49-F238E27FC236}">
                <a16:creationId xmlns:a16="http://schemas.microsoft.com/office/drawing/2014/main" xmlns="" id="{ABB3495F-3B79-4DA5-A330-5514C3151242}"/>
              </a:ext>
            </a:extLst>
          </p:cNvPr>
          <p:cNvSpPr>
            <a:spLocks noGrp="1"/>
          </p:cNvSpPr>
          <p:nvPr>
            <p:ph type="title"/>
          </p:nvPr>
        </p:nvSpPr>
        <p:spPr/>
        <p:txBody>
          <a:bodyPr/>
          <a:lstStyle/>
          <a:p>
            <a:r>
              <a:rPr lang="nl-NL" dirty="0"/>
              <a:t>How do </a:t>
            </a:r>
            <a:r>
              <a:rPr lang="nl-NL" dirty="0" err="1"/>
              <a:t>consumers</a:t>
            </a:r>
            <a:r>
              <a:rPr lang="nl-NL" dirty="0"/>
              <a:t> </a:t>
            </a:r>
            <a:r>
              <a:rPr lang="nl-NL" dirty="0" err="1"/>
              <a:t>foresee</a:t>
            </a:r>
            <a:r>
              <a:rPr lang="nl-NL" dirty="0"/>
              <a:t> </a:t>
            </a:r>
            <a:r>
              <a:rPr lang="nl-NL" dirty="0" err="1"/>
              <a:t>to</a:t>
            </a:r>
            <a:r>
              <a:rPr lang="nl-NL" dirty="0"/>
              <a:t> shop in 2025?</a:t>
            </a:r>
          </a:p>
        </p:txBody>
      </p:sp>
      <p:pic>
        <p:nvPicPr>
          <p:cNvPr id="10" name="Picture Placeholder 9" descr="A person using a computer sitting on top of a table&#10;&#10;Description automatically generated">
            <a:extLst>
              <a:ext uri="{FF2B5EF4-FFF2-40B4-BE49-F238E27FC236}">
                <a16:creationId xmlns:a16="http://schemas.microsoft.com/office/drawing/2014/main" xmlns="" id="{66A6168D-224C-4328-9AA8-5132AE7C1F74}"/>
              </a:ext>
            </a:extLst>
          </p:cNvPr>
          <p:cNvPicPr>
            <a:picLocks noGrp="1" noChangeAspect="1"/>
          </p:cNvPicPr>
          <p:nvPr>
            <p:ph type="pic" sz="quarter" idx="17"/>
          </p:nvPr>
        </p:nvPicPr>
        <p:blipFill>
          <a:blip r:embed="rId9">
            <a:extLst>
              <a:ext uri="{28A0092B-C50C-407E-A947-70E740481C1C}">
                <a14:useLocalDpi xmlns:a14="http://schemas.microsoft.com/office/drawing/2010/main" val="0"/>
              </a:ext>
            </a:extLst>
          </a:blip>
          <a:srcRect l="13822" r="13822"/>
          <a:stretch>
            <a:fillRect/>
          </a:stretch>
        </p:blipFill>
        <p:spPr/>
      </p:pic>
      <p:sp>
        <p:nvSpPr>
          <p:cNvPr id="3" name="Footer Placeholder 2">
            <a:extLst>
              <a:ext uri="{FF2B5EF4-FFF2-40B4-BE49-F238E27FC236}">
                <a16:creationId xmlns:a16="http://schemas.microsoft.com/office/drawing/2014/main" xmlns="" id="{CDA2AC87-A0E4-412A-84F5-1DDBC5C0A16B}"/>
              </a:ext>
            </a:extLst>
          </p:cNvPr>
          <p:cNvSpPr>
            <a:spLocks noGrp="1"/>
          </p:cNvSpPr>
          <p:nvPr>
            <p:ph type="ftr" sz="quarter" idx="19"/>
          </p:nvPr>
        </p:nvSpPr>
        <p:spPr/>
        <p:txBody>
          <a:bodyPr/>
          <a:lstStyle/>
          <a:p>
            <a:r>
              <a:rPr lang="en-US"/>
              <a:t>ShoppingTomorrow 2020</a:t>
            </a:r>
            <a:endParaRPr lang="en-US" dirty="0"/>
          </a:p>
        </p:txBody>
      </p:sp>
      <p:sp>
        <p:nvSpPr>
          <p:cNvPr id="4" name="Slide Number Placeholder 3">
            <a:extLst>
              <a:ext uri="{FF2B5EF4-FFF2-40B4-BE49-F238E27FC236}">
                <a16:creationId xmlns:a16="http://schemas.microsoft.com/office/drawing/2014/main" xmlns="" id="{BBD1978E-3DAD-4FDC-A8BE-C39017D851AC}"/>
              </a:ext>
            </a:extLst>
          </p:cNvPr>
          <p:cNvSpPr>
            <a:spLocks noGrp="1"/>
          </p:cNvSpPr>
          <p:nvPr>
            <p:ph type="sldNum" sz="quarter" idx="20"/>
          </p:nvPr>
        </p:nvSpPr>
        <p:spPr/>
        <p:txBody>
          <a:bodyPr/>
          <a:lstStyle/>
          <a:p>
            <a:fld id="{5F3E29E4-0979-4FCA-B4C5-5FC6044C982A}" type="slidenum">
              <a:rPr lang="en-US" smtClean="0"/>
              <a:pPr/>
              <a:t>3</a:t>
            </a:fld>
            <a:endParaRPr lang="en-US"/>
          </a:p>
        </p:txBody>
      </p:sp>
    </p:spTree>
    <p:extLst>
      <p:ext uri="{BB962C8B-B14F-4D97-AF65-F5344CB8AC3E}">
        <p14:creationId xmlns:p14="http://schemas.microsoft.com/office/powerpoint/2010/main" val="41476006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xmlns="" id="{5DE91100-595B-40BA-9486-B9C0598A0785}"/>
              </a:ext>
            </a:extLst>
          </p:cNvPr>
          <p:cNvSpPr>
            <a:spLocks noGrp="1"/>
          </p:cNvSpPr>
          <p:nvPr>
            <p:ph type="ftr" sz="quarter" idx="15"/>
          </p:nvPr>
        </p:nvSpPr>
        <p:spPr/>
        <p:txBody>
          <a:bodyPr/>
          <a:lstStyle/>
          <a:p>
            <a:r>
              <a:rPr lang="en-US"/>
              <a:t>ShoppingTomorrow 2020</a:t>
            </a:r>
            <a:endParaRPr lang="en-US" dirty="0"/>
          </a:p>
        </p:txBody>
      </p:sp>
      <p:sp>
        <p:nvSpPr>
          <p:cNvPr id="6" name="Slide Number Placeholder 5">
            <a:extLst>
              <a:ext uri="{FF2B5EF4-FFF2-40B4-BE49-F238E27FC236}">
                <a16:creationId xmlns:a16="http://schemas.microsoft.com/office/drawing/2014/main" xmlns="" id="{A29D891C-F3D5-4F8B-B812-D5AD7AC8F94A}"/>
              </a:ext>
            </a:extLst>
          </p:cNvPr>
          <p:cNvSpPr>
            <a:spLocks noGrp="1"/>
          </p:cNvSpPr>
          <p:nvPr>
            <p:ph type="sldNum" sz="quarter" idx="16"/>
          </p:nvPr>
        </p:nvSpPr>
        <p:spPr/>
        <p:txBody>
          <a:bodyPr/>
          <a:lstStyle/>
          <a:p>
            <a:fld id="{5F3E29E4-0979-4FCA-B4C5-5FC6044C982A}" type="slidenum">
              <a:rPr lang="en-US" smtClean="0"/>
              <a:pPr/>
              <a:t>4</a:t>
            </a:fld>
            <a:endParaRPr lang="en-US"/>
          </a:p>
        </p:txBody>
      </p:sp>
      <p:sp>
        <p:nvSpPr>
          <p:cNvPr id="7" name="Title 6">
            <a:extLst>
              <a:ext uri="{FF2B5EF4-FFF2-40B4-BE49-F238E27FC236}">
                <a16:creationId xmlns:a16="http://schemas.microsoft.com/office/drawing/2014/main" xmlns="" id="{22423BCB-4A59-45DC-8AEE-01F759522B86}"/>
              </a:ext>
            </a:extLst>
          </p:cNvPr>
          <p:cNvSpPr>
            <a:spLocks noGrp="1"/>
          </p:cNvSpPr>
          <p:nvPr>
            <p:ph type="title"/>
          </p:nvPr>
        </p:nvSpPr>
        <p:spPr/>
        <p:txBody>
          <a:bodyPr/>
          <a:lstStyle/>
          <a:p>
            <a:r>
              <a:rPr lang="nl-NL" dirty="0"/>
              <a:t>Poll</a:t>
            </a:r>
          </a:p>
        </p:txBody>
      </p:sp>
      <p:sp>
        <p:nvSpPr>
          <p:cNvPr id="11" name="TextBox 10">
            <a:extLst>
              <a:ext uri="{FF2B5EF4-FFF2-40B4-BE49-F238E27FC236}">
                <a16:creationId xmlns:a16="http://schemas.microsoft.com/office/drawing/2014/main" xmlns="" id="{3A5BEA36-CBC4-4762-AE2F-CA0443BDA615}"/>
              </a:ext>
            </a:extLst>
          </p:cNvPr>
          <p:cNvSpPr txBox="1"/>
          <p:nvPr/>
        </p:nvSpPr>
        <p:spPr>
          <a:xfrm>
            <a:off x="1075061" y="3380248"/>
            <a:ext cx="5472495" cy="2822222"/>
          </a:xfrm>
          <a:prstGeom prst="rect">
            <a:avLst/>
          </a:prstGeom>
          <a:noFill/>
        </p:spPr>
        <p:txBody>
          <a:bodyPr wrap="square" lIns="0" tIns="0" rIns="0" bIns="0" rtlCol="0">
            <a:noAutofit/>
          </a:bodyPr>
          <a:lstStyle/>
          <a:p>
            <a:pPr>
              <a:lnSpc>
                <a:spcPct val="125000"/>
              </a:lnSpc>
              <a:buClr>
                <a:schemeClr val="tx2"/>
              </a:buClr>
            </a:pPr>
            <a:r>
              <a:rPr lang="nl-NL" sz="1600" dirty="0"/>
              <a:t>A: </a:t>
            </a:r>
            <a:r>
              <a:rPr lang="nl-NL" sz="1600" dirty="0" err="1"/>
              <a:t>Decrease</a:t>
            </a:r>
            <a:r>
              <a:rPr lang="nl-NL" sz="1600" dirty="0"/>
              <a:t> below 26%</a:t>
            </a:r>
          </a:p>
          <a:p>
            <a:pPr>
              <a:lnSpc>
                <a:spcPct val="125000"/>
              </a:lnSpc>
              <a:buClr>
                <a:schemeClr val="tx2"/>
              </a:buClr>
            </a:pPr>
            <a:endParaRPr lang="nl-NL" sz="1600" dirty="0"/>
          </a:p>
          <a:p>
            <a:pPr>
              <a:lnSpc>
                <a:spcPct val="125000"/>
              </a:lnSpc>
              <a:buClr>
                <a:schemeClr val="tx2"/>
              </a:buClr>
            </a:pPr>
            <a:r>
              <a:rPr lang="nl-NL" sz="1600" dirty="0"/>
              <a:t>B: </a:t>
            </a:r>
            <a:r>
              <a:rPr lang="nl-NL" sz="1600" dirty="0" err="1"/>
              <a:t>Stabilize</a:t>
            </a:r>
            <a:r>
              <a:rPr lang="nl-NL" sz="1600" dirty="0"/>
              <a:t> at 26%</a:t>
            </a:r>
          </a:p>
          <a:p>
            <a:pPr>
              <a:lnSpc>
                <a:spcPct val="125000"/>
              </a:lnSpc>
              <a:buClr>
                <a:schemeClr val="tx2"/>
              </a:buClr>
            </a:pPr>
            <a:r>
              <a:rPr lang="nl-NL" sz="1600" dirty="0"/>
              <a:t/>
            </a:r>
            <a:br>
              <a:rPr lang="nl-NL" sz="1600" dirty="0"/>
            </a:br>
            <a:r>
              <a:rPr lang="nl-NL" sz="1600" dirty="0"/>
              <a:t>C: </a:t>
            </a:r>
            <a:r>
              <a:rPr lang="nl-NL" sz="1600" dirty="0" err="1"/>
              <a:t>Increase</a:t>
            </a:r>
            <a:r>
              <a:rPr lang="nl-NL" sz="1600" dirty="0"/>
              <a:t> </a:t>
            </a:r>
            <a:r>
              <a:rPr lang="nl-NL" sz="1600" dirty="0" err="1"/>
              <a:t>to</a:t>
            </a:r>
            <a:r>
              <a:rPr lang="nl-NL" sz="1600" dirty="0"/>
              <a:t> max. 35%</a:t>
            </a:r>
          </a:p>
          <a:p>
            <a:pPr>
              <a:lnSpc>
                <a:spcPct val="125000"/>
              </a:lnSpc>
              <a:buClr>
                <a:schemeClr val="tx2"/>
              </a:buClr>
            </a:pPr>
            <a:endParaRPr lang="nl-NL" sz="1600" dirty="0"/>
          </a:p>
          <a:p>
            <a:pPr>
              <a:lnSpc>
                <a:spcPct val="125000"/>
              </a:lnSpc>
              <a:buClr>
                <a:schemeClr val="tx2"/>
              </a:buClr>
            </a:pPr>
            <a:r>
              <a:rPr lang="nl-NL" sz="1600" dirty="0"/>
              <a:t>D: </a:t>
            </a:r>
            <a:r>
              <a:rPr lang="nl-NL" sz="1600" dirty="0" err="1"/>
              <a:t>Increase</a:t>
            </a:r>
            <a:r>
              <a:rPr lang="nl-NL" sz="1600" dirty="0"/>
              <a:t> </a:t>
            </a:r>
            <a:r>
              <a:rPr lang="nl-NL" sz="1600" dirty="0" err="1"/>
              <a:t>above</a:t>
            </a:r>
            <a:r>
              <a:rPr lang="nl-NL" sz="1600" dirty="0"/>
              <a:t> 35%</a:t>
            </a:r>
          </a:p>
          <a:p>
            <a:pPr>
              <a:lnSpc>
                <a:spcPct val="125000"/>
              </a:lnSpc>
              <a:buClr>
                <a:schemeClr val="tx2"/>
              </a:buClr>
            </a:pPr>
            <a:endParaRPr lang="nl-NL" sz="1600" dirty="0"/>
          </a:p>
        </p:txBody>
      </p:sp>
      <p:sp>
        <p:nvSpPr>
          <p:cNvPr id="12" name="TextBox 11">
            <a:extLst>
              <a:ext uri="{FF2B5EF4-FFF2-40B4-BE49-F238E27FC236}">
                <a16:creationId xmlns:a16="http://schemas.microsoft.com/office/drawing/2014/main" xmlns="" id="{1520BD5D-22A1-4C0F-833C-F421C56FB29F}"/>
              </a:ext>
            </a:extLst>
          </p:cNvPr>
          <p:cNvSpPr txBox="1"/>
          <p:nvPr/>
        </p:nvSpPr>
        <p:spPr>
          <a:xfrm>
            <a:off x="1075061" y="1868088"/>
            <a:ext cx="8918222" cy="648000"/>
          </a:xfrm>
          <a:prstGeom prst="rect">
            <a:avLst/>
          </a:prstGeom>
          <a:noFill/>
        </p:spPr>
        <p:txBody>
          <a:bodyPr wrap="square" lIns="0" tIns="0" rIns="0" bIns="0" rtlCol="0">
            <a:noAutofit/>
          </a:bodyPr>
          <a:lstStyle/>
          <a:p>
            <a:pPr>
              <a:lnSpc>
                <a:spcPct val="125000"/>
              </a:lnSpc>
              <a:buClr>
                <a:schemeClr val="tx2"/>
              </a:buClr>
            </a:pPr>
            <a:r>
              <a:rPr lang="nl-NL" sz="1600" dirty="0"/>
              <a:t>In Q1 2020 </a:t>
            </a:r>
            <a:r>
              <a:rPr lang="nl-NL" sz="1600" dirty="0" err="1"/>
              <a:t>consumers</a:t>
            </a:r>
            <a:r>
              <a:rPr lang="nl-NL" sz="1600" dirty="0"/>
              <a:t> </a:t>
            </a:r>
            <a:r>
              <a:rPr lang="nl-NL" sz="1600" dirty="0" err="1"/>
              <a:t>spent</a:t>
            </a:r>
            <a:r>
              <a:rPr lang="nl-NL" sz="1600" dirty="0"/>
              <a:t> 26% of </a:t>
            </a:r>
            <a:r>
              <a:rPr lang="nl-NL" sz="1600" dirty="0" err="1"/>
              <a:t>their</a:t>
            </a:r>
            <a:r>
              <a:rPr lang="nl-NL" sz="1600" dirty="0"/>
              <a:t> money online on </a:t>
            </a:r>
            <a:r>
              <a:rPr lang="nl-NL" sz="1600" dirty="0" err="1"/>
              <a:t>purchases</a:t>
            </a:r>
            <a:r>
              <a:rPr lang="nl-NL" sz="1600" dirty="0"/>
              <a:t> of </a:t>
            </a:r>
            <a:r>
              <a:rPr lang="nl-NL" sz="1600" dirty="0" err="1"/>
              <a:t>products</a:t>
            </a:r>
            <a:r>
              <a:rPr lang="nl-NL" sz="1600" dirty="0"/>
              <a:t> </a:t>
            </a:r>
            <a:r>
              <a:rPr lang="nl-NL" sz="1600" dirty="0" err="1"/>
              <a:t>and</a:t>
            </a:r>
            <a:r>
              <a:rPr lang="nl-NL" sz="1600" dirty="0"/>
              <a:t> services.</a:t>
            </a:r>
          </a:p>
          <a:p>
            <a:pPr>
              <a:lnSpc>
                <a:spcPct val="125000"/>
              </a:lnSpc>
              <a:buClr>
                <a:schemeClr val="tx2"/>
              </a:buClr>
            </a:pPr>
            <a:r>
              <a:rPr lang="nl-NL" sz="1600" dirty="0"/>
              <a:t> </a:t>
            </a:r>
          </a:p>
          <a:p>
            <a:pPr>
              <a:lnSpc>
                <a:spcPct val="125000"/>
              </a:lnSpc>
              <a:buClr>
                <a:schemeClr val="tx2"/>
              </a:buClr>
            </a:pPr>
            <a:r>
              <a:rPr lang="nl-NL" sz="1600" b="1" dirty="0"/>
              <a:t>How do </a:t>
            </a:r>
            <a:r>
              <a:rPr lang="nl-NL" sz="1600" b="1" dirty="0" err="1"/>
              <a:t>you</a:t>
            </a:r>
            <a:r>
              <a:rPr lang="nl-NL" sz="1600" b="1" dirty="0"/>
              <a:t> </a:t>
            </a:r>
            <a:r>
              <a:rPr lang="nl-NL" sz="1600" b="1" dirty="0" err="1"/>
              <a:t>think</a:t>
            </a:r>
            <a:r>
              <a:rPr lang="nl-NL" sz="1600" b="1" dirty="0"/>
              <a:t> </a:t>
            </a:r>
            <a:r>
              <a:rPr lang="nl-NL" sz="1600" b="1" dirty="0" err="1"/>
              <a:t>that</a:t>
            </a:r>
            <a:r>
              <a:rPr lang="nl-NL" sz="1600" b="1" dirty="0"/>
              <a:t> </a:t>
            </a:r>
            <a:r>
              <a:rPr lang="nl-NL" sz="1600" b="1" dirty="0" err="1"/>
              <a:t>this</a:t>
            </a:r>
            <a:r>
              <a:rPr lang="nl-NL" sz="1600" b="1" dirty="0"/>
              <a:t> percentage </a:t>
            </a:r>
            <a:r>
              <a:rPr lang="nl-NL" sz="1600" b="1" dirty="0" err="1"/>
              <a:t>will</a:t>
            </a:r>
            <a:r>
              <a:rPr lang="nl-NL" sz="1600" b="1" dirty="0"/>
              <a:t> </a:t>
            </a:r>
            <a:r>
              <a:rPr lang="nl-NL" sz="1600" b="1" dirty="0" err="1"/>
              <a:t>develop</a:t>
            </a:r>
            <a:r>
              <a:rPr lang="nl-NL" sz="1600" b="1" dirty="0"/>
              <a:t> in 2025? </a:t>
            </a:r>
          </a:p>
        </p:txBody>
      </p:sp>
    </p:spTree>
    <p:extLst>
      <p:ext uri="{BB962C8B-B14F-4D97-AF65-F5344CB8AC3E}">
        <p14:creationId xmlns:p14="http://schemas.microsoft.com/office/powerpoint/2010/main" val="27678209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5"/>
          </p:nvPr>
        </p:nvSpPr>
        <p:spPr/>
        <p:txBody>
          <a:bodyPr/>
          <a:lstStyle/>
          <a:p>
            <a:r>
              <a:rPr lang="en-US"/>
              <a:t>ShoppingTomorrow 2020</a:t>
            </a:r>
            <a:endParaRPr lang="en-US" dirty="0"/>
          </a:p>
        </p:txBody>
      </p:sp>
      <p:sp>
        <p:nvSpPr>
          <p:cNvPr id="4" name="Slide Number Placeholder 3"/>
          <p:cNvSpPr>
            <a:spLocks noGrp="1"/>
          </p:cNvSpPr>
          <p:nvPr>
            <p:ph type="sldNum" sz="quarter" idx="16"/>
          </p:nvPr>
        </p:nvSpPr>
        <p:spPr/>
        <p:txBody>
          <a:bodyPr/>
          <a:lstStyle/>
          <a:p>
            <a:fld id="{5F3E29E4-0979-4FCA-B4C5-5FC6044C982A}" type="slidenum">
              <a:rPr lang="en-US" smtClean="0"/>
              <a:pPr/>
              <a:t>5</a:t>
            </a:fld>
            <a:endParaRPr lang="en-US"/>
          </a:p>
        </p:txBody>
      </p:sp>
      <p:sp>
        <p:nvSpPr>
          <p:cNvPr id="15" name="Text Placeholder 14"/>
          <p:cNvSpPr>
            <a:spLocks noGrp="1"/>
          </p:cNvSpPr>
          <p:nvPr>
            <p:ph type="body" sz="quarter" idx="17"/>
          </p:nvPr>
        </p:nvSpPr>
        <p:spPr>
          <a:xfrm>
            <a:off x="1075063" y="6307665"/>
            <a:ext cx="8162717" cy="133200"/>
          </a:xfrm>
        </p:spPr>
        <p:txBody>
          <a:bodyPr/>
          <a:lstStyle/>
          <a:p>
            <a:r>
              <a:rPr lang="en-US" sz="900" dirty="0"/>
              <a:t>Total B2C online share in value including product and services</a:t>
            </a:r>
          </a:p>
          <a:p>
            <a:r>
              <a:rPr lang="en-US" sz="900" dirty="0"/>
              <a:t>* Source: </a:t>
            </a:r>
            <a:r>
              <a:rPr lang="en-US" sz="900" dirty="0" err="1"/>
              <a:t>Thuiswinkel</a:t>
            </a:r>
            <a:r>
              <a:rPr lang="en-US" sz="900" dirty="0"/>
              <a:t> </a:t>
            </a:r>
            <a:r>
              <a:rPr lang="en-US" sz="900" dirty="0" err="1"/>
              <a:t>Markt</a:t>
            </a:r>
            <a:r>
              <a:rPr lang="en-US" sz="900" dirty="0"/>
              <a:t> Monitor, Q1 2016, Q1 2017, Q1 2018, Q1 2019, Q1 2020</a:t>
            </a:r>
          </a:p>
          <a:p>
            <a:r>
              <a:rPr lang="en-US" sz="900" dirty="0"/>
              <a:t>** Source: </a:t>
            </a:r>
            <a:r>
              <a:rPr lang="en-US" sz="900" dirty="0" err="1"/>
              <a:t>ShoppingTomorrow</a:t>
            </a:r>
            <a:r>
              <a:rPr lang="en-US" sz="900" dirty="0"/>
              <a:t> Research 2016, 2017, 2018, 2019, 2020</a:t>
            </a:r>
          </a:p>
        </p:txBody>
      </p:sp>
      <p:sp>
        <p:nvSpPr>
          <p:cNvPr id="14" name="Title 8">
            <a:extLst>
              <a:ext uri="{FF2B5EF4-FFF2-40B4-BE49-F238E27FC236}">
                <a16:creationId xmlns:a16="http://schemas.microsoft.com/office/drawing/2014/main" xmlns="" id="{336CB63B-7A5A-415F-A5B1-6039ADDE6631}"/>
              </a:ext>
            </a:extLst>
          </p:cNvPr>
          <p:cNvSpPr txBox="1">
            <a:spLocks/>
          </p:cNvSpPr>
          <p:nvPr/>
        </p:nvSpPr>
        <p:spPr bwMode="gray">
          <a:xfrm>
            <a:off x="1167319" y="1340722"/>
            <a:ext cx="10525328"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en-US" sz="1200" b="1" dirty="0">
                <a:latin typeface="+mj-lt"/>
              </a:rPr>
              <a:t>(Expected) overall B2C online share in value </a:t>
            </a:r>
          </a:p>
        </p:txBody>
      </p:sp>
      <p:cxnSp>
        <p:nvCxnSpPr>
          <p:cNvPr id="16" name="Straight Connector 15">
            <a:extLst>
              <a:ext uri="{FF2B5EF4-FFF2-40B4-BE49-F238E27FC236}">
                <a16:creationId xmlns:a16="http://schemas.microsoft.com/office/drawing/2014/main" xmlns="" id="{33F5F090-E00E-4DD8-B328-6CFB70193D9F}"/>
              </a:ext>
            </a:extLst>
          </p:cNvPr>
          <p:cNvCxnSpPr>
            <a:cxnSpLocks/>
          </p:cNvCxnSpPr>
          <p:nvPr/>
        </p:nvCxnSpPr>
        <p:spPr>
          <a:xfrm>
            <a:off x="1167319" y="1628754"/>
            <a:ext cx="10525328"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8" name="Text Placeholder 20">
            <a:extLst>
              <a:ext uri="{FF2B5EF4-FFF2-40B4-BE49-F238E27FC236}">
                <a16:creationId xmlns:a16="http://schemas.microsoft.com/office/drawing/2014/main" xmlns="" id="{D8053BAF-DF3B-4024-930B-1A39CCC01430}"/>
              </a:ext>
            </a:extLst>
          </p:cNvPr>
          <p:cNvSpPr txBox="1">
            <a:spLocks/>
          </p:cNvSpPr>
          <p:nvPr/>
        </p:nvSpPr>
        <p:spPr bwMode="gray">
          <a:xfrm>
            <a:off x="9950824" y="6266612"/>
            <a:ext cx="1883845" cy="195039"/>
          </a:xfrm>
          <a:prstGeom prst="rect">
            <a:avLst/>
          </a:prstGeom>
        </p:spPr>
        <p:txBody>
          <a:bodyPr vert="horz" lIns="0" tIns="0" rIns="0" bIns="36000" rtlCol="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800" kern="1200" baseline="0" noProof="0" smtClean="0">
                <a:solidFill>
                  <a:schemeClr val="bg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spcAft>
                <a:spcPts val="0"/>
              </a:spcAft>
              <a:buFont typeface="Arial" pitchFamily="34" charset="0"/>
              <a:buNone/>
              <a:defRPr lang="de-DE" sz="800" kern="1200" baseline="0" noProof="0" smtClean="0">
                <a:solidFill>
                  <a:schemeClr val="bg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9pPr>
          </a:lstStyle>
          <a:p>
            <a:pPr algn="r"/>
            <a:r>
              <a:rPr lang="nl-NL" sz="900" dirty="0">
                <a:solidFill>
                  <a:schemeClr val="tx1"/>
                </a:solidFill>
                <a:latin typeface="+mj-lt"/>
              </a:rPr>
              <a:t>Base: </a:t>
            </a:r>
            <a:r>
              <a:rPr lang="nl-NL" sz="900" dirty="0" err="1">
                <a:solidFill>
                  <a:schemeClr val="tx1"/>
                </a:solidFill>
                <a:latin typeface="+mj-lt"/>
              </a:rPr>
              <a:t>all</a:t>
            </a:r>
            <a:r>
              <a:rPr lang="nl-NL" sz="900" dirty="0">
                <a:solidFill>
                  <a:schemeClr val="tx1"/>
                </a:solidFill>
                <a:latin typeface="+mj-lt"/>
              </a:rPr>
              <a:t> </a:t>
            </a:r>
            <a:r>
              <a:rPr lang="nl-NL" sz="900" dirty="0" err="1">
                <a:solidFill>
                  <a:schemeClr val="tx1"/>
                </a:solidFill>
                <a:latin typeface="+mj-lt"/>
              </a:rPr>
              <a:t>respondents</a:t>
            </a:r>
            <a:r>
              <a:rPr lang="nl-NL" sz="900" dirty="0">
                <a:solidFill>
                  <a:schemeClr val="tx1"/>
                </a:solidFill>
                <a:latin typeface="+mj-lt"/>
              </a:rPr>
              <a:t> </a:t>
            </a:r>
          </a:p>
          <a:p>
            <a:pPr algn="r"/>
            <a:r>
              <a:rPr lang="nl-NL" sz="900" dirty="0">
                <a:solidFill>
                  <a:schemeClr val="tx1"/>
                </a:solidFill>
                <a:latin typeface="+mj-lt"/>
              </a:rPr>
              <a:t>2020: n=1.026</a:t>
            </a:r>
          </a:p>
        </p:txBody>
      </p:sp>
      <p:sp>
        <p:nvSpPr>
          <p:cNvPr id="69" name="Ellipse 81">
            <a:extLst>
              <a:ext uri="{FF2B5EF4-FFF2-40B4-BE49-F238E27FC236}">
                <a16:creationId xmlns:a16="http://schemas.microsoft.com/office/drawing/2014/main" xmlns="" id="{8B2B0DCF-96DD-461D-87C3-6F28062C6861}"/>
              </a:ext>
            </a:extLst>
          </p:cNvPr>
          <p:cNvSpPr/>
          <p:nvPr>
            <p:custDataLst>
              <p:tags r:id="rId1"/>
            </p:custDataLst>
          </p:nvPr>
        </p:nvSpPr>
        <p:spPr bwMode="gray">
          <a:xfrm>
            <a:off x="9699629" y="3148146"/>
            <a:ext cx="1440001" cy="672637"/>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60960" rIns="0" bIns="60960" numCol="1" spcCol="0" rtlCol="0" fromWordArt="0" anchor="ctr" anchorCtr="0" forceAA="0" compatLnSpc="1">
            <a:prstTxWarp prst="textNoShape">
              <a:avLst/>
            </a:prstTxWarp>
            <a:noAutofit/>
          </a:bodyPr>
          <a:lstStyle/>
          <a:p>
            <a:pPr>
              <a:spcBef>
                <a:spcPts val="400"/>
              </a:spcBef>
            </a:pPr>
            <a:r>
              <a:rPr lang="en-US" sz="1600" dirty="0">
                <a:solidFill>
                  <a:schemeClr val="tx1">
                    <a:lumMod val="60000"/>
                    <a:lumOff val="40000"/>
                  </a:schemeClr>
                </a:solidFill>
                <a:cs typeface="Arial" pitchFamily="34" charset="0"/>
              </a:rPr>
              <a:t>According to … </a:t>
            </a:r>
            <a:r>
              <a:rPr lang="en-US" sz="1867" b="1" dirty="0">
                <a:solidFill>
                  <a:schemeClr val="tx1">
                    <a:lumMod val="60000"/>
                    <a:lumOff val="40000"/>
                  </a:schemeClr>
                </a:solidFill>
                <a:cs typeface="Arial" pitchFamily="34" charset="0"/>
              </a:rPr>
              <a:t>Consumers</a:t>
            </a:r>
            <a:endParaRPr lang="en-US" sz="1600" b="1" dirty="0">
              <a:solidFill>
                <a:schemeClr val="tx1">
                  <a:lumMod val="60000"/>
                  <a:lumOff val="40000"/>
                </a:schemeClr>
              </a:solidFill>
              <a:cs typeface="Arial" pitchFamily="34" charset="0"/>
            </a:endParaRPr>
          </a:p>
        </p:txBody>
      </p:sp>
      <p:sp>
        <p:nvSpPr>
          <p:cNvPr id="84" name="Title 83">
            <a:extLst>
              <a:ext uri="{FF2B5EF4-FFF2-40B4-BE49-F238E27FC236}">
                <a16:creationId xmlns:a16="http://schemas.microsoft.com/office/drawing/2014/main" xmlns="" id="{2B234EFD-E090-42AE-9695-5BBBAC973B43}"/>
              </a:ext>
            </a:extLst>
          </p:cNvPr>
          <p:cNvSpPr>
            <a:spLocks noGrp="1"/>
          </p:cNvSpPr>
          <p:nvPr>
            <p:ph type="title"/>
          </p:nvPr>
        </p:nvSpPr>
        <p:spPr>
          <a:xfrm>
            <a:off x="1075061" y="288922"/>
            <a:ext cx="7910158" cy="648000"/>
          </a:xfrm>
        </p:spPr>
        <p:txBody>
          <a:bodyPr/>
          <a:lstStyle/>
          <a:p>
            <a:r>
              <a:rPr lang="nl-NL" sz="2400" dirty="0" err="1"/>
              <a:t>Consumers</a:t>
            </a:r>
            <a:r>
              <a:rPr lang="nl-NL" sz="2400" dirty="0"/>
              <a:t> </a:t>
            </a:r>
            <a:r>
              <a:rPr lang="nl-NL" sz="2400" dirty="0" err="1"/>
              <a:t>expect</a:t>
            </a:r>
            <a:r>
              <a:rPr lang="nl-NL" sz="2400" dirty="0"/>
              <a:t> </a:t>
            </a:r>
            <a:r>
              <a:rPr lang="nl-NL" sz="2400" dirty="0" err="1"/>
              <a:t>that</a:t>
            </a:r>
            <a:r>
              <a:rPr lang="nl-NL" sz="2400" dirty="0"/>
              <a:t> 37% of </a:t>
            </a:r>
            <a:r>
              <a:rPr lang="nl-NL" sz="2400" dirty="0" err="1"/>
              <a:t>their</a:t>
            </a:r>
            <a:r>
              <a:rPr lang="nl-NL" sz="2400" dirty="0"/>
              <a:t> </a:t>
            </a:r>
            <a:r>
              <a:rPr lang="nl-NL" sz="2400" dirty="0" err="1"/>
              <a:t>spendings</a:t>
            </a:r>
            <a:r>
              <a:rPr lang="nl-NL" sz="2400" dirty="0"/>
              <a:t> </a:t>
            </a:r>
            <a:r>
              <a:rPr lang="nl-NL" sz="2400" dirty="0" err="1"/>
              <a:t>will</a:t>
            </a:r>
            <a:r>
              <a:rPr lang="nl-NL" sz="2400" dirty="0"/>
              <a:t> </a:t>
            </a:r>
            <a:r>
              <a:rPr lang="nl-NL" sz="2400" dirty="0" err="1"/>
              <a:t>be</a:t>
            </a:r>
            <a:r>
              <a:rPr lang="nl-NL" sz="2400" dirty="0"/>
              <a:t> </a:t>
            </a:r>
            <a:r>
              <a:rPr lang="nl-NL" sz="2400" dirty="0" err="1"/>
              <a:t>done</a:t>
            </a:r>
            <a:r>
              <a:rPr lang="nl-NL" sz="2400" dirty="0"/>
              <a:t> online in 2025 </a:t>
            </a:r>
          </a:p>
        </p:txBody>
      </p:sp>
      <p:graphicFrame>
        <p:nvGraphicFramePr>
          <p:cNvPr id="5" name="Table 5">
            <a:extLst>
              <a:ext uri="{FF2B5EF4-FFF2-40B4-BE49-F238E27FC236}">
                <a16:creationId xmlns:a16="http://schemas.microsoft.com/office/drawing/2014/main" xmlns="" id="{DE826BF9-D601-412B-8D0F-6FF516E05310}"/>
              </a:ext>
            </a:extLst>
          </p:cNvPr>
          <p:cNvGraphicFramePr>
            <a:graphicFrameLocks noGrp="1"/>
          </p:cNvGraphicFramePr>
          <p:nvPr>
            <p:extLst>
              <p:ext uri="{D42A27DB-BD31-4B8C-83A1-F6EECF244321}">
                <p14:modId xmlns:p14="http://schemas.microsoft.com/office/powerpoint/2010/main" val="2560929141"/>
              </p:ext>
            </p:extLst>
          </p:nvPr>
        </p:nvGraphicFramePr>
        <p:xfrm>
          <a:off x="1674251" y="1931811"/>
          <a:ext cx="3568448" cy="2351406"/>
        </p:xfrm>
        <a:graphic>
          <a:graphicData uri="http://schemas.openxmlformats.org/drawingml/2006/table">
            <a:tbl>
              <a:tblPr firstRow="1" bandRow="1">
                <a:tableStyleId>{C115FB49-3FBE-41CF-8DFC-A938FE5134F0}</a:tableStyleId>
              </a:tblPr>
              <a:tblGrid>
                <a:gridCol w="892112">
                  <a:extLst>
                    <a:ext uri="{9D8B030D-6E8A-4147-A177-3AD203B41FA5}">
                      <a16:colId xmlns:a16="http://schemas.microsoft.com/office/drawing/2014/main" xmlns="" val="761053208"/>
                    </a:ext>
                  </a:extLst>
                </a:gridCol>
                <a:gridCol w="1784224">
                  <a:extLst>
                    <a:ext uri="{9D8B030D-6E8A-4147-A177-3AD203B41FA5}">
                      <a16:colId xmlns:a16="http://schemas.microsoft.com/office/drawing/2014/main" xmlns="" val="965598496"/>
                    </a:ext>
                  </a:extLst>
                </a:gridCol>
                <a:gridCol w="892112">
                  <a:extLst>
                    <a:ext uri="{9D8B030D-6E8A-4147-A177-3AD203B41FA5}">
                      <a16:colId xmlns:a16="http://schemas.microsoft.com/office/drawing/2014/main" xmlns="" val="175666602"/>
                    </a:ext>
                  </a:extLst>
                </a:gridCol>
              </a:tblGrid>
              <a:tr h="783802">
                <a:tc gridSpan="3">
                  <a:txBody>
                    <a:bodyPr/>
                    <a:lstStyle/>
                    <a:p>
                      <a:pPr algn="ctr"/>
                      <a:r>
                        <a:rPr lang="en-US" b="1" u="sng" dirty="0"/>
                        <a:t>Actual</a:t>
                      </a:r>
                      <a:r>
                        <a:rPr lang="en-US" b="1" dirty="0"/>
                        <a:t> online share in spending</a:t>
                      </a:r>
                      <a:endParaRPr lang="nl-NL" b="1" dirty="0"/>
                    </a:p>
                  </a:txBody>
                  <a:tcPr anchor="ctr">
                    <a:lnL>
                      <a:noFill/>
                    </a:lnL>
                    <a:lnR>
                      <a:noFill/>
                    </a:lnR>
                    <a:lnT>
                      <a:noFill/>
                    </a:lnT>
                    <a:lnB w="6350" cmpd="sng">
                      <a:noFill/>
                    </a:lnB>
                    <a:lnTlToBr w="12700" cmpd="sng">
                      <a:noFill/>
                      <a:prstDash val="solid"/>
                    </a:lnTlToBr>
                    <a:lnBlToTr w="12700" cmpd="sng">
                      <a:noFill/>
                      <a:prstDash val="solid"/>
                    </a:lnBlToTr>
                  </a:tcPr>
                </a:tc>
                <a:tc hMerge="1">
                  <a:txBody>
                    <a:bodyPr/>
                    <a:lstStyle/>
                    <a:p>
                      <a:endParaRPr lang="nl-NL" dirty="0"/>
                    </a:p>
                  </a:txBody>
                  <a:tcPr/>
                </a:tc>
                <a:tc hMerge="1">
                  <a:txBody>
                    <a:bodyPr/>
                    <a:lstStyle/>
                    <a:p>
                      <a:endParaRPr lang="nl-NL" dirty="0"/>
                    </a:p>
                  </a:txBody>
                  <a:tcPr/>
                </a:tc>
                <a:extLst>
                  <a:ext uri="{0D108BD9-81ED-4DB2-BD59-A6C34878D82A}">
                    <a16:rowId xmlns:a16="http://schemas.microsoft.com/office/drawing/2014/main" xmlns="" val="3977841064"/>
                  </a:ext>
                </a:extLst>
              </a:tr>
              <a:tr h="783802">
                <a:tc>
                  <a:txBody>
                    <a:bodyPr/>
                    <a:lstStyle/>
                    <a:p>
                      <a:endParaRPr lang="nl-NL" dirty="0"/>
                    </a:p>
                  </a:txBody>
                  <a:tcPr>
                    <a:lnL>
                      <a:noFill/>
                    </a:lnL>
                    <a:lnR>
                      <a:noFill/>
                    </a:lnR>
                    <a:lnT w="6350" cmpd="sng">
                      <a:noFill/>
                    </a:lnT>
                    <a:lnB w="6350" cmpd="sng">
                      <a:noFill/>
                    </a:lnB>
                    <a:lnTlToBr w="12700" cmpd="sng">
                      <a:noFill/>
                      <a:prstDash val="solid"/>
                    </a:lnTlToBr>
                    <a:lnBlToTr w="12700" cmpd="sng">
                      <a:noFill/>
                      <a:prstDash val="solid"/>
                    </a:lnBlToTr>
                  </a:tcPr>
                </a:tc>
                <a:tc>
                  <a:txBody>
                    <a:bodyPr/>
                    <a:lstStyle/>
                    <a:p>
                      <a:pPr algn="ctr"/>
                      <a:r>
                        <a:rPr lang="en-US" sz="3200" b="1" dirty="0">
                          <a:solidFill>
                            <a:schemeClr val="accent3">
                              <a:lumMod val="60000"/>
                              <a:lumOff val="40000"/>
                            </a:schemeClr>
                          </a:solidFill>
                        </a:rPr>
                        <a:t>2020 </a:t>
                      </a:r>
                      <a:r>
                        <a:rPr lang="en-US" sz="1100" b="1" dirty="0">
                          <a:solidFill>
                            <a:schemeClr val="accent3">
                              <a:lumMod val="60000"/>
                              <a:lumOff val="40000"/>
                            </a:schemeClr>
                          </a:solidFill>
                        </a:rPr>
                        <a:t>(Q1)</a:t>
                      </a:r>
                      <a:endParaRPr lang="nl-NL" sz="3200" b="1" dirty="0">
                        <a:solidFill>
                          <a:schemeClr val="accent3">
                            <a:lumMod val="60000"/>
                            <a:lumOff val="40000"/>
                          </a:schemeClr>
                        </a:solidFill>
                      </a:endParaRPr>
                    </a:p>
                  </a:txBody>
                  <a:tcPr anchor="ctr">
                    <a:lnL>
                      <a:noFill/>
                    </a:lnL>
                    <a:lnR>
                      <a:noFill/>
                    </a:lnR>
                    <a:lnT w="6350" cmpd="sng">
                      <a:noFill/>
                    </a:lnT>
                    <a:lnB w="6350" cmpd="sng">
                      <a:noFill/>
                    </a:lnB>
                    <a:lnTlToBr w="12700" cmpd="sng">
                      <a:noFill/>
                      <a:prstDash val="solid"/>
                    </a:lnTlToBr>
                    <a:lnBlToTr w="12700" cmpd="sng">
                      <a:noFill/>
                      <a:prstDash val="solid"/>
                    </a:lnBlToTr>
                  </a:tcPr>
                </a:tc>
                <a:tc>
                  <a:txBody>
                    <a:bodyPr/>
                    <a:lstStyle/>
                    <a:p>
                      <a:endParaRPr lang="nl-NL" dirty="0"/>
                    </a:p>
                  </a:txBody>
                  <a:tcP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2444093725"/>
                  </a:ext>
                </a:extLst>
              </a:tr>
              <a:tr h="783802">
                <a:tc>
                  <a:txBody>
                    <a:bodyPr/>
                    <a:lstStyle/>
                    <a:p>
                      <a:endParaRPr lang="nl-NL" dirty="0"/>
                    </a:p>
                  </a:txBody>
                  <a:tcPr>
                    <a:lnL>
                      <a:noFill/>
                    </a:lnL>
                    <a:lnR>
                      <a:noFill/>
                    </a:lnR>
                    <a:lnT w="6350" cmpd="sng">
                      <a:noFill/>
                    </a:lnT>
                    <a:lnB w="6350" cmpd="sng">
                      <a:noFill/>
                    </a:lnB>
                    <a:lnTlToBr w="12700" cmpd="sng">
                      <a:noFill/>
                      <a:prstDash val="solid"/>
                    </a:lnTlToBr>
                    <a:lnBlToTr w="12700" cmpd="sng">
                      <a:noFill/>
                      <a:prstDash val="solid"/>
                    </a:lnBlToTr>
                  </a:tcPr>
                </a:tc>
                <a:tc>
                  <a:txBody>
                    <a:bodyPr/>
                    <a:lstStyle/>
                    <a:p>
                      <a:pPr algn="ctr"/>
                      <a:r>
                        <a:rPr lang="en-US" sz="3200" b="1" dirty="0">
                          <a:solidFill>
                            <a:schemeClr val="accent3">
                              <a:lumMod val="60000"/>
                              <a:lumOff val="40000"/>
                            </a:schemeClr>
                          </a:solidFill>
                        </a:rPr>
                        <a:t>26%</a:t>
                      </a:r>
                      <a:endParaRPr lang="nl-NL" sz="3200" b="1" dirty="0">
                        <a:solidFill>
                          <a:schemeClr val="accent3">
                            <a:lumMod val="60000"/>
                            <a:lumOff val="40000"/>
                          </a:schemeClr>
                        </a:solidFill>
                      </a:endParaRPr>
                    </a:p>
                  </a:txBody>
                  <a:tcPr anchor="ctr">
                    <a:lnL>
                      <a:noFill/>
                    </a:lnL>
                    <a:lnR>
                      <a:noFill/>
                    </a:lnR>
                    <a:lnT w="6350" cmpd="sng">
                      <a:noFill/>
                    </a:lnT>
                    <a:lnB w="6350" cmpd="sng">
                      <a:noFill/>
                    </a:lnB>
                    <a:lnTlToBr w="12700" cmpd="sng">
                      <a:noFill/>
                      <a:prstDash val="solid"/>
                    </a:lnTlToBr>
                    <a:lnBlToTr w="12700" cmpd="sng">
                      <a:noFill/>
                      <a:prstDash val="solid"/>
                    </a:lnBlToTr>
                  </a:tcPr>
                </a:tc>
                <a:tc>
                  <a:txBody>
                    <a:bodyPr/>
                    <a:lstStyle/>
                    <a:p>
                      <a:endParaRPr lang="nl-NL" dirty="0"/>
                    </a:p>
                  </a:txBody>
                  <a:tcP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3055455596"/>
                  </a:ext>
                </a:extLst>
              </a:tr>
            </a:tbl>
          </a:graphicData>
        </a:graphic>
      </p:graphicFrame>
      <p:cxnSp>
        <p:nvCxnSpPr>
          <p:cNvPr id="65" name="Straight Connector 64">
            <a:extLst>
              <a:ext uri="{FF2B5EF4-FFF2-40B4-BE49-F238E27FC236}">
                <a16:creationId xmlns:a16="http://schemas.microsoft.com/office/drawing/2014/main" xmlns="" id="{A5605E50-3FF0-4541-85DF-DE09985E56DA}"/>
              </a:ext>
            </a:extLst>
          </p:cNvPr>
          <p:cNvCxnSpPr>
            <a:cxnSpLocks/>
          </p:cNvCxnSpPr>
          <p:nvPr/>
        </p:nvCxnSpPr>
        <p:spPr>
          <a:xfrm>
            <a:off x="1674251" y="2654752"/>
            <a:ext cx="3600000"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xmlns="" id="{BE936385-03E4-4E77-9A80-E180CDBE982A}"/>
              </a:ext>
            </a:extLst>
          </p:cNvPr>
          <p:cNvCxnSpPr>
            <a:cxnSpLocks/>
          </p:cNvCxnSpPr>
          <p:nvPr/>
        </p:nvCxnSpPr>
        <p:spPr>
          <a:xfrm>
            <a:off x="2734875" y="3511841"/>
            <a:ext cx="1440000" cy="0"/>
          </a:xfrm>
          <a:prstGeom prst="line">
            <a:avLst/>
          </a:prstGeom>
          <a:ln w="38100" cap="rnd">
            <a:solidFill>
              <a:schemeClr val="bg2">
                <a:lumMod val="20000"/>
                <a:lumOff val="80000"/>
              </a:schemeClr>
            </a:solidFill>
            <a:round/>
            <a:tailEnd type="none"/>
          </a:ln>
        </p:spPr>
        <p:style>
          <a:lnRef idx="1">
            <a:schemeClr val="accent1"/>
          </a:lnRef>
          <a:fillRef idx="0">
            <a:schemeClr val="accent1"/>
          </a:fillRef>
          <a:effectRef idx="0">
            <a:schemeClr val="accent1"/>
          </a:effectRef>
          <a:fontRef idx="minor">
            <a:schemeClr val="tx1"/>
          </a:fontRef>
        </p:style>
      </p:cxnSp>
      <p:graphicFrame>
        <p:nvGraphicFramePr>
          <p:cNvPr id="89" name="Table 5">
            <a:extLst>
              <a:ext uri="{FF2B5EF4-FFF2-40B4-BE49-F238E27FC236}">
                <a16:creationId xmlns:a16="http://schemas.microsoft.com/office/drawing/2014/main" xmlns="" id="{0DB97C28-7107-4AB0-B8A1-1DF48F56A3A1}"/>
              </a:ext>
            </a:extLst>
          </p:cNvPr>
          <p:cNvGraphicFramePr>
            <a:graphicFrameLocks noGrp="1"/>
          </p:cNvGraphicFramePr>
          <p:nvPr>
            <p:extLst>
              <p:ext uri="{D42A27DB-BD31-4B8C-83A1-F6EECF244321}">
                <p14:modId xmlns:p14="http://schemas.microsoft.com/office/powerpoint/2010/main" val="2831205927"/>
              </p:ext>
            </p:extLst>
          </p:nvPr>
        </p:nvGraphicFramePr>
        <p:xfrm>
          <a:off x="6615859" y="1932265"/>
          <a:ext cx="3891280" cy="2351406"/>
        </p:xfrm>
        <a:graphic>
          <a:graphicData uri="http://schemas.openxmlformats.org/drawingml/2006/table">
            <a:tbl>
              <a:tblPr firstRow="1" bandRow="1">
                <a:tableStyleId>{C115FB49-3FBE-41CF-8DFC-A938FE5134F0}</a:tableStyleId>
              </a:tblPr>
              <a:tblGrid>
                <a:gridCol w="1002700">
                  <a:extLst>
                    <a:ext uri="{9D8B030D-6E8A-4147-A177-3AD203B41FA5}">
                      <a16:colId xmlns:a16="http://schemas.microsoft.com/office/drawing/2014/main" xmlns="" val="761053208"/>
                    </a:ext>
                  </a:extLst>
                </a:gridCol>
                <a:gridCol w="1717030">
                  <a:extLst>
                    <a:ext uri="{9D8B030D-6E8A-4147-A177-3AD203B41FA5}">
                      <a16:colId xmlns:a16="http://schemas.microsoft.com/office/drawing/2014/main" xmlns="" val="965598496"/>
                    </a:ext>
                  </a:extLst>
                </a:gridCol>
                <a:gridCol w="1171550">
                  <a:extLst>
                    <a:ext uri="{9D8B030D-6E8A-4147-A177-3AD203B41FA5}">
                      <a16:colId xmlns:a16="http://schemas.microsoft.com/office/drawing/2014/main" xmlns="" val="175666602"/>
                    </a:ext>
                  </a:extLst>
                </a:gridCol>
              </a:tblGrid>
              <a:tr h="783802">
                <a:tc gridSpan="3">
                  <a:txBody>
                    <a:bodyPr/>
                    <a:lstStyle/>
                    <a:p>
                      <a:pPr algn="ctr"/>
                      <a:r>
                        <a:rPr lang="en-US" b="1" u="sng" dirty="0"/>
                        <a:t>Expected</a:t>
                      </a:r>
                      <a:r>
                        <a:rPr lang="en-US" b="1" dirty="0"/>
                        <a:t> online share in spending</a:t>
                      </a:r>
                      <a:endParaRPr lang="nl-NL" b="1" dirty="0"/>
                    </a:p>
                  </a:txBody>
                  <a:tcPr anchor="ctr">
                    <a:lnL>
                      <a:noFill/>
                    </a:lnL>
                    <a:lnR>
                      <a:noFill/>
                    </a:lnR>
                    <a:lnT>
                      <a:noFill/>
                    </a:lnT>
                    <a:lnB w="6350" cmpd="sng">
                      <a:noFill/>
                    </a:lnB>
                    <a:lnTlToBr w="12700" cmpd="sng">
                      <a:noFill/>
                      <a:prstDash val="solid"/>
                    </a:lnTlToBr>
                    <a:lnBlToTr w="12700" cmpd="sng">
                      <a:noFill/>
                      <a:prstDash val="solid"/>
                    </a:lnBlToTr>
                  </a:tcPr>
                </a:tc>
                <a:tc hMerge="1">
                  <a:txBody>
                    <a:bodyPr/>
                    <a:lstStyle/>
                    <a:p>
                      <a:endParaRPr lang="nl-NL" dirty="0"/>
                    </a:p>
                  </a:txBody>
                  <a:tcPr/>
                </a:tc>
                <a:tc hMerge="1">
                  <a:txBody>
                    <a:bodyPr/>
                    <a:lstStyle/>
                    <a:p>
                      <a:endParaRPr lang="nl-NL" dirty="0"/>
                    </a:p>
                  </a:txBody>
                  <a:tcPr/>
                </a:tc>
                <a:extLst>
                  <a:ext uri="{0D108BD9-81ED-4DB2-BD59-A6C34878D82A}">
                    <a16:rowId xmlns:a16="http://schemas.microsoft.com/office/drawing/2014/main" xmlns="" val="3977841064"/>
                  </a:ext>
                </a:extLst>
              </a:tr>
              <a:tr h="783802">
                <a:tc>
                  <a:txBody>
                    <a:bodyPr/>
                    <a:lstStyle/>
                    <a:p>
                      <a:endParaRPr lang="nl-NL" dirty="0"/>
                    </a:p>
                  </a:txBody>
                  <a:tcPr>
                    <a:lnL>
                      <a:noFill/>
                    </a:lnL>
                    <a:lnR>
                      <a:noFill/>
                    </a:lnR>
                    <a:lnT w="6350" cmpd="sng">
                      <a:noFill/>
                    </a:lnT>
                    <a:lnB w="6350" cmpd="sng">
                      <a:noFill/>
                    </a:lnB>
                    <a:lnTlToBr w="12700" cmpd="sng">
                      <a:noFill/>
                      <a:prstDash val="solid"/>
                    </a:lnTlToBr>
                    <a:lnBlToTr w="12700" cmpd="sng">
                      <a:noFill/>
                      <a:prstDash val="solid"/>
                    </a:lnBlToTr>
                  </a:tcPr>
                </a:tc>
                <a:tc>
                  <a:txBody>
                    <a:bodyPr/>
                    <a:lstStyle/>
                    <a:p>
                      <a:pPr algn="ctr"/>
                      <a:r>
                        <a:rPr lang="en-US" sz="3200" b="1" dirty="0">
                          <a:solidFill>
                            <a:schemeClr val="accent3">
                              <a:lumMod val="60000"/>
                              <a:lumOff val="40000"/>
                            </a:schemeClr>
                          </a:solidFill>
                        </a:rPr>
                        <a:t>2025</a:t>
                      </a:r>
                      <a:endParaRPr lang="nl-NL" sz="3200" b="1" dirty="0">
                        <a:solidFill>
                          <a:schemeClr val="accent3">
                            <a:lumMod val="60000"/>
                            <a:lumOff val="40000"/>
                          </a:schemeClr>
                        </a:solidFill>
                      </a:endParaRPr>
                    </a:p>
                  </a:txBody>
                  <a:tcPr anchor="ctr">
                    <a:lnL>
                      <a:noFill/>
                    </a:lnL>
                    <a:lnR>
                      <a:noFill/>
                    </a:lnR>
                    <a:lnT w="6350" cmpd="sng">
                      <a:noFill/>
                    </a:lnT>
                    <a:lnB w="6350" cmpd="sng">
                      <a:noFill/>
                    </a:lnB>
                    <a:lnTlToBr w="12700" cmpd="sng">
                      <a:noFill/>
                      <a:prstDash val="solid"/>
                    </a:lnTlToBr>
                    <a:lnBlToTr w="12700" cmpd="sng">
                      <a:noFill/>
                      <a:prstDash val="solid"/>
                    </a:lnBlToTr>
                  </a:tcPr>
                </a:tc>
                <a:tc>
                  <a:txBody>
                    <a:bodyPr/>
                    <a:lstStyle/>
                    <a:p>
                      <a:endParaRPr lang="nl-NL" dirty="0"/>
                    </a:p>
                  </a:txBody>
                  <a:tcP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2444093725"/>
                  </a:ext>
                </a:extLst>
              </a:tr>
              <a:tr h="783802">
                <a:tc>
                  <a:txBody>
                    <a:bodyPr/>
                    <a:lstStyle/>
                    <a:p>
                      <a:endParaRPr lang="nl-NL" dirty="0"/>
                    </a:p>
                  </a:txBody>
                  <a:tcPr>
                    <a:lnL>
                      <a:noFill/>
                    </a:lnL>
                    <a:lnR>
                      <a:noFill/>
                    </a:lnR>
                    <a:lnT w="6350" cmpd="sng">
                      <a:noFill/>
                    </a:lnT>
                    <a:lnB w="6350" cmpd="sng">
                      <a:noFill/>
                    </a:lnB>
                    <a:lnTlToBr w="12700" cmpd="sng">
                      <a:noFill/>
                      <a:prstDash val="solid"/>
                    </a:lnTlToBr>
                    <a:lnBlToTr w="12700" cmpd="sng">
                      <a:noFill/>
                      <a:prstDash val="solid"/>
                    </a:lnBlToTr>
                  </a:tcPr>
                </a:tc>
                <a:tc>
                  <a:txBody>
                    <a:bodyPr/>
                    <a:lstStyle/>
                    <a:p>
                      <a:pPr algn="ctr"/>
                      <a:r>
                        <a:rPr lang="en-US" sz="3200" b="1" dirty="0">
                          <a:solidFill>
                            <a:schemeClr val="accent3">
                              <a:lumMod val="60000"/>
                              <a:lumOff val="40000"/>
                            </a:schemeClr>
                          </a:solidFill>
                        </a:rPr>
                        <a:t>37%</a:t>
                      </a:r>
                      <a:endParaRPr lang="nl-NL" sz="3200" b="1" dirty="0">
                        <a:solidFill>
                          <a:schemeClr val="accent3">
                            <a:lumMod val="60000"/>
                            <a:lumOff val="40000"/>
                          </a:schemeClr>
                        </a:solidFill>
                      </a:endParaRPr>
                    </a:p>
                  </a:txBody>
                  <a:tcPr anchor="ctr">
                    <a:lnL>
                      <a:noFill/>
                    </a:lnL>
                    <a:lnR>
                      <a:noFill/>
                    </a:lnR>
                    <a:lnT w="6350" cmpd="sng">
                      <a:noFill/>
                    </a:lnT>
                    <a:lnB w="6350" cmpd="sng">
                      <a:noFill/>
                    </a:lnB>
                    <a:lnTlToBr w="12700" cmpd="sng">
                      <a:noFill/>
                      <a:prstDash val="solid"/>
                    </a:lnTlToBr>
                    <a:lnBlToTr w="12700" cmpd="sng">
                      <a:noFill/>
                      <a:prstDash val="solid"/>
                    </a:lnBlToTr>
                  </a:tcPr>
                </a:tc>
                <a:tc>
                  <a:txBody>
                    <a:bodyPr/>
                    <a:lstStyle/>
                    <a:p>
                      <a:endParaRPr lang="nl-NL" dirty="0"/>
                    </a:p>
                  </a:txBody>
                  <a:tcPr>
                    <a:lnL>
                      <a:noFill/>
                    </a:lnL>
                    <a:lnR>
                      <a:noFill/>
                    </a:lnR>
                    <a:lnT w="6350" cmpd="sng">
                      <a:noFill/>
                    </a:lnT>
                    <a:lnB w="6350" cmpd="sng">
                      <a:noFill/>
                    </a:lnB>
                    <a:lnTlToBr w="12700" cmpd="sng">
                      <a:noFill/>
                      <a:prstDash val="solid"/>
                    </a:lnTlToBr>
                    <a:lnBlToTr w="12700" cmpd="sng">
                      <a:noFill/>
                      <a:prstDash val="solid"/>
                    </a:lnBlToTr>
                  </a:tcPr>
                </a:tc>
                <a:extLst>
                  <a:ext uri="{0D108BD9-81ED-4DB2-BD59-A6C34878D82A}">
                    <a16:rowId xmlns:a16="http://schemas.microsoft.com/office/drawing/2014/main" xmlns="" val="3055455596"/>
                  </a:ext>
                </a:extLst>
              </a:tr>
            </a:tbl>
          </a:graphicData>
        </a:graphic>
      </p:graphicFrame>
      <p:cxnSp>
        <p:nvCxnSpPr>
          <p:cNvPr id="91" name="Straight Connector 90">
            <a:extLst>
              <a:ext uri="{FF2B5EF4-FFF2-40B4-BE49-F238E27FC236}">
                <a16:creationId xmlns:a16="http://schemas.microsoft.com/office/drawing/2014/main" xmlns="" id="{D994AE1D-AF8B-4DBB-94D6-1814E9114C61}"/>
              </a:ext>
            </a:extLst>
          </p:cNvPr>
          <p:cNvCxnSpPr>
            <a:cxnSpLocks/>
          </p:cNvCxnSpPr>
          <p:nvPr/>
        </p:nvCxnSpPr>
        <p:spPr>
          <a:xfrm>
            <a:off x="6665554" y="2655206"/>
            <a:ext cx="3758606"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cxnSp>
        <p:nvCxnSpPr>
          <p:cNvPr id="97" name="Straight Connector 96">
            <a:extLst>
              <a:ext uri="{FF2B5EF4-FFF2-40B4-BE49-F238E27FC236}">
                <a16:creationId xmlns:a16="http://schemas.microsoft.com/office/drawing/2014/main" xmlns="" id="{7DF1099B-3ADE-43A5-9084-7D33900E3165}"/>
              </a:ext>
            </a:extLst>
          </p:cNvPr>
          <p:cNvCxnSpPr>
            <a:cxnSpLocks/>
          </p:cNvCxnSpPr>
          <p:nvPr/>
        </p:nvCxnSpPr>
        <p:spPr>
          <a:xfrm>
            <a:off x="7746056" y="3512295"/>
            <a:ext cx="1440000" cy="0"/>
          </a:xfrm>
          <a:prstGeom prst="line">
            <a:avLst/>
          </a:prstGeom>
          <a:ln w="38100" cap="rnd">
            <a:solidFill>
              <a:schemeClr val="bg2">
                <a:lumMod val="20000"/>
                <a:lumOff val="80000"/>
              </a:schemeClr>
            </a:solidFill>
            <a:round/>
            <a:tailEnd type="none"/>
          </a:ln>
        </p:spPr>
        <p:style>
          <a:lnRef idx="1">
            <a:schemeClr val="accent1"/>
          </a:lnRef>
          <a:fillRef idx="0">
            <a:schemeClr val="accent1"/>
          </a:fillRef>
          <a:effectRef idx="0">
            <a:schemeClr val="accent1"/>
          </a:effectRef>
          <a:fontRef idx="minor">
            <a:schemeClr val="tx1"/>
          </a:fontRef>
        </p:style>
      </p:cxnSp>
      <p:grpSp>
        <p:nvGrpSpPr>
          <p:cNvPr id="98" name="Group 97">
            <a:extLst>
              <a:ext uri="{FF2B5EF4-FFF2-40B4-BE49-F238E27FC236}">
                <a16:creationId xmlns:a16="http://schemas.microsoft.com/office/drawing/2014/main" xmlns="" id="{BB447405-6BBC-44C2-89C3-0C124D5BED16}"/>
              </a:ext>
            </a:extLst>
          </p:cNvPr>
          <p:cNvGrpSpPr/>
          <p:nvPr/>
        </p:nvGrpSpPr>
        <p:grpSpPr>
          <a:xfrm>
            <a:off x="5544825" y="2883785"/>
            <a:ext cx="981022" cy="934935"/>
            <a:chOff x="7479409" y="1614312"/>
            <a:chExt cx="645569" cy="615240"/>
          </a:xfrm>
          <a:solidFill>
            <a:schemeClr val="accent3">
              <a:lumMod val="60000"/>
              <a:lumOff val="40000"/>
            </a:schemeClr>
          </a:solidFill>
        </p:grpSpPr>
        <p:sp>
          <p:nvSpPr>
            <p:cNvPr id="99" name="Freeform 49">
              <a:extLst>
                <a:ext uri="{FF2B5EF4-FFF2-40B4-BE49-F238E27FC236}">
                  <a16:creationId xmlns:a16="http://schemas.microsoft.com/office/drawing/2014/main" xmlns="" id="{B19D769F-9254-4B6B-AD8A-4C4D76094FDF}"/>
                </a:ext>
              </a:extLst>
            </p:cNvPr>
            <p:cNvSpPr>
              <a:spLocks noChangeAspect="1" noEditPoints="1"/>
            </p:cNvSpPr>
            <p:nvPr/>
          </p:nvSpPr>
          <p:spPr bwMode="auto">
            <a:xfrm>
              <a:off x="7479409" y="1614312"/>
              <a:ext cx="469344" cy="131662"/>
            </a:xfrm>
            <a:custGeom>
              <a:avLst/>
              <a:gdLst/>
              <a:ahLst/>
              <a:cxnLst>
                <a:cxn ang="0">
                  <a:pos x="85" y="41"/>
                </a:cxn>
                <a:cxn ang="0">
                  <a:pos x="76" y="81"/>
                </a:cxn>
                <a:cxn ang="0">
                  <a:pos x="57" y="77"/>
                </a:cxn>
                <a:cxn ang="0">
                  <a:pos x="45" y="36"/>
                </a:cxn>
                <a:cxn ang="0">
                  <a:pos x="33" y="68"/>
                </a:cxn>
                <a:cxn ang="0">
                  <a:pos x="15" y="82"/>
                </a:cxn>
                <a:cxn ang="0">
                  <a:pos x="5" y="62"/>
                </a:cxn>
                <a:cxn ang="0">
                  <a:pos x="0" y="4"/>
                </a:cxn>
                <a:cxn ang="0">
                  <a:pos x="15" y="4"/>
                </a:cxn>
                <a:cxn ang="0">
                  <a:pos x="17" y="36"/>
                </a:cxn>
                <a:cxn ang="0">
                  <a:pos x="19" y="68"/>
                </a:cxn>
                <a:cxn ang="0">
                  <a:pos x="24" y="60"/>
                </a:cxn>
                <a:cxn ang="0">
                  <a:pos x="37" y="25"/>
                </a:cxn>
                <a:cxn ang="0">
                  <a:pos x="58" y="39"/>
                </a:cxn>
                <a:cxn ang="0">
                  <a:pos x="67" y="69"/>
                </a:cxn>
                <a:cxn ang="0">
                  <a:pos x="70" y="52"/>
                </a:cxn>
                <a:cxn ang="0">
                  <a:pos x="74" y="15"/>
                </a:cxn>
                <a:cxn ang="0">
                  <a:pos x="82" y="0"/>
                </a:cxn>
                <a:cxn ang="0">
                  <a:pos x="176" y="4"/>
                </a:cxn>
                <a:cxn ang="0">
                  <a:pos x="173" y="36"/>
                </a:cxn>
                <a:cxn ang="0">
                  <a:pos x="170" y="68"/>
                </a:cxn>
                <a:cxn ang="0">
                  <a:pos x="165" y="60"/>
                </a:cxn>
                <a:cxn ang="0">
                  <a:pos x="153" y="25"/>
                </a:cxn>
                <a:cxn ang="0">
                  <a:pos x="132" y="39"/>
                </a:cxn>
                <a:cxn ang="0">
                  <a:pos x="121" y="69"/>
                </a:cxn>
                <a:cxn ang="0">
                  <a:pos x="119" y="52"/>
                </a:cxn>
                <a:cxn ang="0">
                  <a:pos x="116" y="15"/>
                </a:cxn>
                <a:cxn ang="0">
                  <a:pos x="108" y="0"/>
                </a:cxn>
                <a:cxn ang="0">
                  <a:pos x="102" y="15"/>
                </a:cxn>
                <a:cxn ang="0">
                  <a:pos x="109" y="77"/>
                </a:cxn>
                <a:cxn ang="0">
                  <a:pos x="127" y="81"/>
                </a:cxn>
                <a:cxn ang="0">
                  <a:pos x="142" y="46"/>
                </a:cxn>
                <a:cxn ang="0">
                  <a:pos x="151" y="58"/>
                </a:cxn>
                <a:cxn ang="0">
                  <a:pos x="166" y="82"/>
                </a:cxn>
                <a:cxn ang="0">
                  <a:pos x="182" y="70"/>
                </a:cxn>
                <a:cxn ang="0">
                  <a:pos x="190" y="8"/>
                </a:cxn>
                <a:cxn ang="0">
                  <a:pos x="279" y="1"/>
                </a:cxn>
                <a:cxn ang="0">
                  <a:pos x="275" y="27"/>
                </a:cxn>
                <a:cxn ang="0">
                  <a:pos x="272" y="61"/>
                </a:cxn>
                <a:cxn ang="0">
                  <a:pos x="269" y="68"/>
                </a:cxn>
                <a:cxn ang="0">
                  <a:pos x="258" y="30"/>
                </a:cxn>
                <a:cxn ang="0">
                  <a:pos x="235" y="30"/>
                </a:cxn>
                <a:cxn ang="0">
                  <a:pos x="223" y="68"/>
                </a:cxn>
                <a:cxn ang="0">
                  <a:pos x="221" y="61"/>
                </a:cxn>
                <a:cxn ang="0">
                  <a:pos x="218" y="27"/>
                </a:cxn>
                <a:cxn ang="0">
                  <a:pos x="214" y="1"/>
                </a:cxn>
                <a:cxn ang="0">
                  <a:pos x="203" y="9"/>
                </a:cxn>
                <a:cxn ang="0">
                  <a:pos x="209" y="70"/>
                </a:cxn>
                <a:cxn ang="0">
                  <a:pos x="223" y="82"/>
                </a:cxn>
                <a:cxn ang="0">
                  <a:pos x="240" y="57"/>
                </a:cxn>
                <a:cxn ang="0">
                  <a:pos x="249" y="46"/>
                </a:cxn>
                <a:cxn ang="0">
                  <a:pos x="262" y="81"/>
                </a:cxn>
                <a:cxn ang="0">
                  <a:pos x="281" y="77"/>
                </a:cxn>
                <a:cxn ang="0">
                  <a:pos x="291" y="15"/>
                </a:cxn>
              </a:cxnLst>
              <a:rect l="0" t="0" r="r" b="b"/>
              <a:pathLst>
                <a:path w="291" h="82">
                  <a:moveTo>
                    <a:pt x="89" y="4"/>
                  </a:moveTo>
                  <a:cubicBezTo>
                    <a:pt x="89" y="5"/>
                    <a:pt x="89" y="6"/>
                    <a:pt x="89" y="8"/>
                  </a:cubicBezTo>
                  <a:cubicBezTo>
                    <a:pt x="89" y="10"/>
                    <a:pt x="89" y="12"/>
                    <a:pt x="88" y="15"/>
                  </a:cubicBezTo>
                  <a:cubicBezTo>
                    <a:pt x="87" y="25"/>
                    <a:pt x="86" y="34"/>
                    <a:pt x="85" y="41"/>
                  </a:cubicBezTo>
                  <a:cubicBezTo>
                    <a:pt x="84" y="49"/>
                    <a:pt x="83" y="55"/>
                    <a:pt x="82" y="61"/>
                  </a:cubicBezTo>
                  <a:cubicBezTo>
                    <a:pt x="82" y="65"/>
                    <a:pt x="81" y="68"/>
                    <a:pt x="80" y="70"/>
                  </a:cubicBezTo>
                  <a:cubicBezTo>
                    <a:pt x="80" y="73"/>
                    <a:pt x="79" y="75"/>
                    <a:pt x="79" y="77"/>
                  </a:cubicBezTo>
                  <a:cubicBezTo>
                    <a:pt x="78" y="79"/>
                    <a:pt x="77" y="80"/>
                    <a:pt x="76" y="81"/>
                  </a:cubicBezTo>
                  <a:cubicBezTo>
                    <a:pt x="75" y="82"/>
                    <a:pt x="73" y="82"/>
                    <a:pt x="71" y="82"/>
                  </a:cubicBezTo>
                  <a:cubicBezTo>
                    <a:pt x="65" y="82"/>
                    <a:pt x="65" y="82"/>
                    <a:pt x="65" y="82"/>
                  </a:cubicBezTo>
                  <a:cubicBezTo>
                    <a:pt x="63" y="82"/>
                    <a:pt x="61" y="82"/>
                    <a:pt x="60" y="81"/>
                  </a:cubicBezTo>
                  <a:cubicBezTo>
                    <a:pt x="58" y="80"/>
                    <a:pt x="57" y="79"/>
                    <a:pt x="57" y="77"/>
                  </a:cubicBezTo>
                  <a:cubicBezTo>
                    <a:pt x="56" y="75"/>
                    <a:pt x="55" y="72"/>
                    <a:pt x="54" y="69"/>
                  </a:cubicBezTo>
                  <a:cubicBezTo>
                    <a:pt x="53" y="65"/>
                    <a:pt x="51" y="61"/>
                    <a:pt x="50" y="58"/>
                  </a:cubicBezTo>
                  <a:cubicBezTo>
                    <a:pt x="49" y="54"/>
                    <a:pt x="48" y="50"/>
                    <a:pt x="47" y="46"/>
                  </a:cubicBezTo>
                  <a:cubicBezTo>
                    <a:pt x="46" y="42"/>
                    <a:pt x="45" y="39"/>
                    <a:pt x="45" y="36"/>
                  </a:cubicBezTo>
                  <a:cubicBezTo>
                    <a:pt x="44" y="36"/>
                    <a:pt x="44" y="36"/>
                    <a:pt x="44" y="36"/>
                  </a:cubicBezTo>
                  <a:cubicBezTo>
                    <a:pt x="43" y="39"/>
                    <a:pt x="42" y="42"/>
                    <a:pt x="41" y="46"/>
                  </a:cubicBezTo>
                  <a:cubicBezTo>
                    <a:pt x="40" y="49"/>
                    <a:pt x="39" y="53"/>
                    <a:pt x="37" y="57"/>
                  </a:cubicBezTo>
                  <a:cubicBezTo>
                    <a:pt x="36" y="61"/>
                    <a:pt x="35" y="64"/>
                    <a:pt x="33" y="68"/>
                  </a:cubicBezTo>
                  <a:cubicBezTo>
                    <a:pt x="32" y="72"/>
                    <a:pt x="31" y="75"/>
                    <a:pt x="30" y="77"/>
                  </a:cubicBezTo>
                  <a:cubicBezTo>
                    <a:pt x="29" y="79"/>
                    <a:pt x="28" y="80"/>
                    <a:pt x="26" y="81"/>
                  </a:cubicBezTo>
                  <a:cubicBezTo>
                    <a:pt x="25" y="82"/>
                    <a:pt x="23" y="82"/>
                    <a:pt x="21" y="82"/>
                  </a:cubicBezTo>
                  <a:cubicBezTo>
                    <a:pt x="15" y="82"/>
                    <a:pt x="15" y="82"/>
                    <a:pt x="15" y="82"/>
                  </a:cubicBezTo>
                  <a:cubicBezTo>
                    <a:pt x="13" y="82"/>
                    <a:pt x="12" y="82"/>
                    <a:pt x="10" y="81"/>
                  </a:cubicBezTo>
                  <a:cubicBezTo>
                    <a:pt x="9" y="80"/>
                    <a:pt x="8" y="79"/>
                    <a:pt x="8" y="77"/>
                  </a:cubicBezTo>
                  <a:cubicBezTo>
                    <a:pt x="7" y="75"/>
                    <a:pt x="7" y="73"/>
                    <a:pt x="6" y="70"/>
                  </a:cubicBezTo>
                  <a:cubicBezTo>
                    <a:pt x="6" y="68"/>
                    <a:pt x="6" y="65"/>
                    <a:pt x="5" y="62"/>
                  </a:cubicBezTo>
                  <a:cubicBezTo>
                    <a:pt x="4" y="56"/>
                    <a:pt x="4" y="49"/>
                    <a:pt x="3" y="42"/>
                  </a:cubicBezTo>
                  <a:cubicBezTo>
                    <a:pt x="2" y="34"/>
                    <a:pt x="1" y="26"/>
                    <a:pt x="1" y="15"/>
                  </a:cubicBezTo>
                  <a:cubicBezTo>
                    <a:pt x="1" y="14"/>
                    <a:pt x="1" y="12"/>
                    <a:pt x="0" y="9"/>
                  </a:cubicBezTo>
                  <a:cubicBezTo>
                    <a:pt x="0" y="7"/>
                    <a:pt x="0" y="5"/>
                    <a:pt x="0" y="4"/>
                  </a:cubicBezTo>
                  <a:cubicBezTo>
                    <a:pt x="0" y="3"/>
                    <a:pt x="1" y="2"/>
                    <a:pt x="2" y="1"/>
                  </a:cubicBezTo>
                  <a:cubicBezTo>
                    <a:pt x="3" y="1"/>
                    <a:pt x="5" y="0"/>
                    <a:pt x="7" y="0"/>
                  </a:cubicBezTo>
                  <a:cubicBezTo>
                    <a:pt x="9" y="0"/>
                    <a:pt x="11" y="0"/>
                    <a:pt x="12" y="1"/>
                  </a:cubicBezTo>
                  <a:cubicBezTo>
                    <a:pt x="14" y="1"/>
                    <a:pt x="14" y="2"/>
                    <a:pt x="15" y="4"/>
                  </a:cubicBezTo>
                  <a:cubicBezTo>
                    <a:pt x="15" y="6"/>
                    <a:pt x="15" y="8"/>
                    <a:pt x="15" y="9"/>
                  </a:cubicBezTo>
                  <a:cubicBezTo>
                    <a:pt x="15" y="11"/>
                    <a:pt x="15" y="13"/>
                    <a:pt x="15" y="15"/>
                  </a:cubicBezTo>
                  <a:cubicBezTo>
                    <a:pt x="16" y="20"/>
                    <a:pt x="16" y="24"/>
                    <a:pt x="16" y="27"/>
                  </a:cubicBezTo>
                  <a:cubicBezTo>
                    <a:pt x="16" y="31"/>
                    <a:pt x="17" y="34"/>
                    <a:pt x="17" y="36"/>
                  </a:cubicBezTo>
                  <a:cubicBezTo>
                    <a:pt x="17" y="39"/>
                    <a:pt x="17" y="42"/>
                    <a:pt x="17" y="44"/>
                  </a:cubicBezTo>
                  <a:cubicBezTo>
                    <a:pt x="17" y="47"/>
                    <a:pt x="18" y="49"/>
                    <a:pt x="18" y="52"/>
                  </a:cubicBezTo>
                  <a:cubicBezTo>
                    <a:pt x="18" y="55"/>
                    <a:pt x="18" y="58"/>
                    <a:pt x="19" y="61"/>
                  </a:cubicBezTo>
                  <a:cubicBezTo>
                    <a:pt x="19" y="64"/>
                    <a:pt x="19" y="66"/>
                    <a:pt x="19" y="68"/>
                  </a:cubicBezTo>
                  <a:cubicBezTo>
                    <a:pt x="19" y="69"/>
                    <a:pt x="19" y="69"/>
                    <a:pt x="20" y="69"/>
                  </a:cubicBezTo>
                  <a:cubicBezTo>
                    <a:pt x="20" y="69"/>
                    <a:pt x="20" y="69"/>
                    <a:pt x="20" y="69"/>
                  </a:cubicBezTo>
                  <a:cubicBezTo>
                    <a:pt x="21" y="69"/>
                    <a:pt x="21" y="69"/>
                    <a:pt x="21" y="68"/>
                  </a:cubicBezTo>
                  <a:cubicBezTo>
                    <a:pt x="22" y="66"/>
                    <a:pt x="23" y="63"/>
                    <a:pt x="24" y="60"/>
                  </a:cubicBezTo>
                  <a:cubicBezTo>
                    <a:pt x="25" y="57"/>
                    <a:pt x="26" y="53"/>
                    <a:pt x="27" y="50"/>
                  </a:cubicBezTo>
                  <a:cubicBezTo>
                    <a:pt x="28" y="46"/>
                    <a:pt x="29" y="43"/>
                    <a:pt x="30" y="39"/>
                  </a:cubicBezTo>
                  <a:cubicBezTo>
                    <a:pt x="31" y="36"/>
                    <a:pt x="32" y="33"/>
                    <a:pt x="33" y="30"/>
                  </a:cubicBezTo>
                  <a:cubicBezTo>
                    <a:pt x="34" y="28"/>
                    <a:pt x="35" y="26"/>
                    <a:pt x="37" y="25"/>
                  </a:cubicBezTo>
                  <a:cubicBezTo>
                    <a:pt x="38" y="24"/>
                    <a:pt x="41" y="24"/>
                    <a:pt x="44" y="24"/>
                  </a:cubicBezTo>
                  <a:cubicBezTo>
                    <a:pt x="48" y="24"/>
                    <a:pt x="51" y="24"/>
                    <a:pt x="52" y="25"/>
                  </a:cubicBezTo>
                  <a:cubicBezTo>
                    <a:pt x="54" y="26"/>
                    <a:pt x="55" y="28"/>
                    <a:pt x="56" y="30"/>
                  </a:cubicBezTo>
                  <a:cubicBezTo>
                    <a:pt x="56" y="33"/>
                    <a:pt x="57" y="36"/>
                    <a:pt x="58" y="39"/>
                  </a:cubicBezTo>
                  <a:cubicBezTo>
                    <a:pt x="59" y="43"/>
                    <a:pt x="60" y="46"/>
                    <a:pt x="61" y="50"/>
                  </a:cubicBezTo>
                  <a:cubicBezTo>
                    <a:pt x="62" y="53"/>
                    <a:pt x="63" y="57"/>
                    <a:pt x="64" y="60"/>
                  </a:cubicBezTo>
                  <a:cubicBezTo>
                    <a:pt x="65" y="63"/>
                    <a:pt x="66" y="66"/>
                    <a:pt x="67" y="68"/>
                  </a:cubicBezTo>
                  <a:cubicBezTo>
                    <a:pt x="67" y="69"/>
                    <a:pt x="67" y="69"/>
                    <a:pt x="67" y="69"/>
                  </a:cubicBezTo>
                  <a:cubicBezTo>
                    <a:pt x="68" y="69"/>
                    <a:pt x="68" y="69"/>
                    <a:pt x="68" y="69"/>
                  </a:cubicBezTo>
                  <a:cubicBezTo>
                    <a:pt x="68" y="69"/>
                    <a:pt x="68" y="69"/>
                    <a:pt x="68" y="68"/>
                  </a:cubicBezTo>
                  <a:cubicBezTo>
                    <a:pt x="69" y="66"/>
                    <a:pt x="69" y="64"/>
                    <a:pt x="69" y="61"/>
                  </a:cubicBezTo>
                  <a:cubicBezTo>
                    <a:pt x="69" y="59"/>
                    <a:pt x="70" y="56"/>
                    <a:pt x="70" y="52"/>
                  </a:cubicBezTo>
                  <a:cubicBezTo>
                    <a:pt x="71" y="49"/>
                    <a:pt x="71" y="47"/>
                    <a:pt x="71" y="44"/>
                  </a:cubicBezTo>
                  <a:cubicBezTo>
                    <a:pt x="71" y="42"/>
                    <a:pt x="72" y="39"/>
                    <a:pt x="72" y="36"/>
                  </a:cubicBezTo>
                  <a:cubicBezTo>
                    <a:pt x="72" y="34"/>
                    <a:pt x="72" y="30"/>
                    <a:pt x="73" y="27"/>
                  </a:cubicBezTo>
                  <a:cubicBezTo>
                    <a:pt x="73" y="24"/>
                    <a:pt x="73" y="20"/>
                    <a:pt x="74" y="15"/>
                  </a:cubicBezTo>
                  <a:cubicBezTo>
                    <a:pt x="74" y="14"/>
                    <a:pt x="74" y="12"/>
                    <a:pt x="74" y="10"/>
                  </a:cubicBezTo>
                  <a:cubicBezTo>
                    <a:pt x="74" y="8"/>
                    <a:pt x="75" y="6"/>
                    <a:pt x="75" y="4"/>
                  </a:cubicBezTo>
                  <a:cubicBezTo>
                    <a:pt x="75" y="3"/>
                    <a:pt x="76" y="2"/>
                    <a:pt x="77" y="1"/>
                  </a:cubicBezTo>
                  <a:cubicBezTo>
                    <a:pt x="78" y="0"/>
                    <a:pt x="80" y="0"/>
                    <a:pt x="82" y="0"/>
                  </a:cubicBezTo>
                  <a:cubicBezTo>
                    <a:pt x="87" y="0"/>
                    <a:pt x="89" y="2"/>
                    <a:pt x="89" y="4"/>
                  </a:cubicBezTo>
                  <a:close/>
                  <a:moveTo>
                    <a:pt x="183" y="0"/>
                  </a:moveTo>
                  <a:cubicBezTo>
                    <a:pt x="181" y="0"/>
                    <a:pt x="179" y="0"/>
                    <a:pt x="178" y="1"/>
                  </a:cubicBezTo>
                  <a:cubicBezTo>
                    <a:pt x="177" y="2"/>
                    <a:pt x="176" y="3"/>
                    <a:pt x="176" y="4"/>
                  </a:cubicBezTo>
                  <a:cubicBezTo>
                    <a:pt x="176" y="6"/>
                    <a:pt x="176" y="8"/>
                    <a:pt x="175" y="10"/>
                  </a:cubicBezTo>
                  <a:cubicBezTo>
                    <a:pt x="175" y="12"/>
                    <a:pt x="175" y="14"/>
                    <a:pt x="175" y="15"/>
                  </a:cubicBezTo>
                  <a:cubicBezTo>
                    <a:pt x="175" y="20"/>
                    <a:pt x="174" y="24"/>
                    <a:pt x="174" y="27"/>
                  </a:cubicBezTo>
                  <a:cubicBezTo>
                    <a:pt x="174" y="30"/>
                    <a:pt x="173" y="34"/>
                    <a:pt x="173" y="36"/>
                  </a:cubicBezTo>
                  <a:cubicBezTo>
                    <a:pt x="173" y="39"/>
                    <a:pt x="172" y="42"/>
                    <a:pt x="172" y="44"/>
                  </a:cubicBezTo>
                  <a:cubicBezTo>
                    <a:pt x="172" y="47"/>
                    <a:pt x="172" y="49"/>
                    <a:pt x="171" y="52"/>
                  </a:cubicBezTo>
                  <a:cubicBezTo>
                    <a:pt x="171" y="56"/>
                    <a:pt x="171" y="59"/>
                    <a:pt x="170" y="61"/>
                  </a:cubicBezTo>
                  <a:cubicBezTo>
                    <a:pt x="170" y="64"/>
                    <a:pt x="170" y="66"/>
                    <a:pt x="170" y="68"/>
                  </a:cubicBezTo>
                  <a:cubicBezTo>
                    <a:pt x="169" y="69"/>
                    <a:pt x="169" y="69"/>
                    <a:pt x="169" y="69"/>
                  </a:cubicBezTo>
                  <a:cubicBezTo>
                    <a:pt x="168" y="69"/>
                    <a:pt x="168" y="69"/>
                    <a:pt x="168" y="69"/>
                  </a:cubicBezTo>
                  <a:cubicBezTo>
                    <a:pt x="168" y="69"/>
                    <a:pt x="168" y="69"/>
                    <a:pt x="168" y="68"/>
                  </a:cubicBezTo>
                  <a:cubicBezTo>
                    <a:pt x="167" y="66"/>
                    <a:pt x="166" y="63"/>
                    <a:pt x="165" y="60"/>
                  </a:cubicBezTo>
                  <a:cubicBezTo>
                    <a:pt x="164" y="57"/>
                    <a:pt x="163" y="53"/>
                    <a:pt x="162" y="50"/>
                  </a:cubicBezTo>
                  <a:cubicBezTo>
                    <a:pt x="161" y="46"/>
                    <a:pt x="160" y="43"/>
                    <a:pt x="159" y="39"/>
                  </a:cubicBezTo>
                  <a:cubicBezTo>
                    <a:pt x="158" y="36"/>
                    <a:pt x="158" y="33"/>
                    <a:pt x="157" y="30"/>
                  </a:cubicBezTo>
                  <a:cubicBezTo>
                    <a:pt x="156" y="28"/>
                    <a:pt x="155" y="26"/>
                    <a:pt x="153" y="25"/>
                  </a:cubicBezTo>
                  <a:cubicBezTo>
                    <a:pt x="152" y="24"/>
                    <a:pt x="149" y="24"/>
                    <a:pt x="146" y="24"/>
                  </a:cubicBezTo>
                  <a:cubicBezTo>
                    <a:pt x="142" y="24"/>
                    <a:pt x="139" y="24"/>
                    <a:pt x="138" y="25"/>
                  </a:cubicBezTo>
                  <a:cubicBezTo>
                    <a:pt x="136" y="26"/>
                    <a:pt x="135" y="28"/>
                    <a:pt x="134" y="30"/>
                  </a:cubicBezTo>
                  <a:cubicBezTo>
                    <a:pt x="134" y="33"/>
                    <a:pt x="133" y="36"/>
                    <a:pt x="132" y="39"/>
                  </a:cubicBezTo>
                  <a:cubicBezTo>
                    <a:pt x="130" y="43"/>
                    <a:pt x="129" y="46"/>
                    <a:pt x="128" y="50"/>
                  </a:cubicBezTo>
                  <a:cubicBezTo>
                    <a:pt x="127" y="53"/>
                    <a:pt x="126" y="57"/>
                    <a:pt x="125" y="60"/>
                  </a:cubicBezTo>
                  <a:cubicBezTo>
                    <a:pt x="124" y="63"/>
                    <a:pt x="123" y="66"/>
                    <a:pt x="122" y="68"/>
                  </a:cubicBezTo>
                  <a:cubicBezTo>
                    <a:pt x="122" y="69"/>
                    <a:pt x="122" y="69"/>
                    <a:pt x="121" y="69"/>
                  </a:cubicBezTo>
                  <a:cubicBezTo>
                    <a:pt x="121" y="69"/>
                    <a:pt x="121" y="69"/>
                    <a:pt x="121" y="69"/>
                  </a:cubicBezTo>
                  <a:cubicBezTo>
                    <a:pt x="121" y="69"/>
                    <a:pt x="120" y="69"/>
                    <a:pt x="120" y="68"/>
                  </a:cubicBezTo>
                  <a:cubicBezTo>
                    <a:pt x="120" y="66"/>
                    <a:pt x="120" y="64"/>
                    <a:pt x="120" y="61"/>
                  </a:cubicBezTo>
                  <a:cubicBezTo>
                    <a:pt x="119" y="58"/>
                    <a:pt x="119" y="55"/>
                    <a:pt x="119" y="52"/>
                  </a:cubicBezTo>
                  <a:cubicBezTo>
                    <a:pt x="119" y="49"/>
                    <a:pt x="119" y="47"/>
                    <a:pt x="118" y="44"/>
                  </a:cubicBezTo>
                  <a:cubicBezTo>
                    <a:pt x="118" y="42"/>
                    <a:pt x="118" y="39"/>
                    <a:pt x="118" y="36"/>
                  </a:cubicBezTo>
                  <a:cubicBezTo>
                    <a:pt x="118" y="34"/>
                    <a:pt x="117" y="31"/>
                    <a:pt x="117" y="27"/>
                  </a:cubicBezTo>
                  <a:cubicBezTo>
                    <a:pt x="117" y="24"/>
                    <a:pt x="117" y="20"/>
                    <a:pt x="116" y="15"/>
                  </a:cubicBezTo>
                  <a:cubicBezTo>
                    <a:pt x="116" y="13"/>
                    <a:pt x="116" y="11"/>
                    <a:pt x="116" y="9"/>
                  </a:cubicBezTo>
                  <a:cubicBezTo>
                    <a:pt x="116" y="8"/>
                    <a:pt x="116" y="6"/>
                    <a:pt x="116" y="4"/>
                  </a:cubicBezTo>
                  <a:cubicBezTo>
                    <a:pt x="116" y="2"/>
                    <a:pt x="115" y="1"/>
                    <a:pt x="113" y="1"/>
                  </a:cubicBezTo>
                  <a:cubicBezTo>
                    <a:pt x="112" y="0"/>
                    <a:pt x="110" y="0"/>
                    <a:pt x="108" y="0"/>
                  </a:cubicBezTo>
                  <a:cubicBezTo>
                    <a:pt x="106" y="0"/>
                    <a:pt x="104" y="1"/>
                    <a:pt x="103" y="1"/>
                  </a:cubicBezTo>
                  <a:cubicBezTo>
                    <a:pt x="102" y="2"/>
                    <a:pt x="101" y="3"/>
                    <a:pt x="101" y="4"/>
                  </a:cubicBezTo>
                  <a:cubicBezTo>
                    <a:pt x="101" y="5"/>
                    <a:pt x="101" y="7"/>
                    <a:pt x="102" y="9"/>
                  </a:cubicBezTo>
                  <a:cubicBezTo>
                    <a:pt x="102" y="12"/>
                    <a:pt x="102" y="14"/>
                    <a:pt x="102" y="15"/>
                  </a:cubicBezTo>
                  <a:cubicBezTo>
                    <a:pt x="103" y="26"/>
                    <a:pt x="103" y="34"/>
                    <a:pt x="104" y="42"/>
                  </a:cubicBezTo>
                  <a:cubicBezTo>
                    <a:pt x="105" y="49"/>
                    <a:pt x="106" y="56"/>
                    <a:pt x="106" y="62"/>
                  </a:cubicBezTo>
                  <a:cubicBezTo>
                    <a:pt x="107" y="65"/>
                    <a:pt x="107" y="68"/>
                    <a:pt x="108" y="70"/>
                  </a:cubicBezTo>
                  <a:cubicBezTo>
                    <a:pt x="108" y="73"/>
                    <a:pt x="109" y="75"/>
                    <a:pt x="109" y="77"/>
                  </a:cubicBezTo>
                  <a:cubicBezTo>
                    <a:pt x="110" y="79"/>
                    <a:pt x="110" y="80"/>
                    <a:pt x="112" y="81"/>
                  </a:cubicBezTo>
                  <a:cubicBezTo>
                    <a:pt x="113" y="82"/>
                    <a:pt x="114" y="82"/>
                    <a:pt x="117" y="82"/>
                  </a:cubicBezTo>
                  <a:cubicBezTo>
                    <a:pt x="122" y="82"/>
                    <a:pt x="122" y="82"/>
                    <a:pt x="122" y="82"/>
                  </a:cubicBezTo>
                  <a:cubicBezTo>
                    <a:pt x="124" y="82"/>
                    <a:pt x="126" y="82"/>
                    <a:pt x="127" y="81"/>
                  </a:cubicBezTo>
                  <a:cubicBezTo>
                    <a:pt x="129" y="80"/>
                    <a:pt x="130" y="79"/>
                    <a:pt x="131" y="77"/>
                  </a:cubicBezTo>
                  <a:cubicBezTo>
                    <a:pt x="132" y="75"/>
                    <a:pt x="133" y="72"/>
                    <a:pt x="135" y="68"/>
                  </a:cubicBezTo>
                  <a:cubicBezTo>
                    <a:pt x="136" y="64"/>
                    <a:pt x="137" y="61"/>
                    <a:pt x="139" y="57"/>
                  </a:cubicBezTo>
                  <a:cubicBezTo>
                    <a:pt x="140" y="53"/>
                    <a:pt x="141" y="49"/>
                    <a:pt x="142" y="46"/>
                  </a:cubicBezTo>
                  <a:cubicBezTo>
                    <a:pt x="143" y="42"/>
                    <a:pt x="144" y="39"/>
                    <a:pt x="145" y="36"/>
                  </a:cubicBezTo>
                  <a:cubicBezTo>
                    <a:pt x="146" y="36"/>
                    <a:pt x="146" y="36"/>
                    <a:pt x="146" y="36"/>
                  </a:cubicBezTo>
                  <a:cubicBezTo>
                    <a:pt x="146" y="39"/>
                    <a:pt x="147" y="42"/>
                    <a:pt x="148" y="46"/>
                  </a:cubicBezTo>
                  <a:cubicBezTo>
                    <a:pt x="149" y="50"/>
                    <a:pt x="150" y="54"/>
                    <a:pt x="151" y="58"/>
                  </a:cubicBezTo>
                  <a:cubicBezTo>
                    <a:pt x="153" y="61"/>
                    <a:pt x="154" y="65"/>
                    <a:pt x="155" y="69"/>
                  </a:cubicBezTo>
                  <a:cubicBezTo>
                    <a:pt x="156" y="72"/>
                    <a:pt x="157" y="75"/>
                    <a:pt x="158" y="77"/>
                  </a:cubicBezTo>
                  <a:cubicBezTo>
                    <a:pt x="159" y="79"/>
                    <a:pt x="160" y="80"/>
                    <a:pt x="161" y="81"/>
                  </a:cubicBezTo>
                  <a:cubicBezTo>
                    <a:pt x="162" y="82"/>
                    <a:pt x="164" y="82"/>
                    <a:pt x="166" y="82"/>
                  </a:cubicBezTo>
                  <a:cubicBezTo>
                    <a:pt x="172" y="82"/>
                    <a:pt x="172" y="82"/>
                    <a:pt x="172" y="82"/>
                  </a:cubicBezTo>
                  <a:cubicBezTo>
                    <a:pt x="175" y="82"/>
                    <a:pt x="176" y="82"/>
                    <a:pt x="177" y="81"/>
                  </a:cubicBezTo>
                  <a:cubicBezTo>
                    <a:pt x="178" y="80"/>
                    <a:pt x="179" y="79"/>
                    <a:pt x="180" y="77"/>
                  </a:cubicBezTo>
                  <a:cubicBezTo>
                    <a:pt x="181" y="75"/>
                    <a:pt x="181" y="73"/>
                    <a:pt x="182" y="70"/>
                  </a:cubicBezTo>
                  <a:cubicBezTo>
                    <a:pt x="182" y="68"/>
                    <a:pt x="183" y="65"/>
                    <a:pt x="183" y="61"/>
                  </a:cubicBezTo>
                  <a:cubicBezTo>
                    <a:pt x="184" y="55"/>
                    <a:pt x="185" y="49"/>
                    <a:pt x="186" y="41"/>
                  </a:cubicBezTo>
                  <a:cubicBezTo>
                    <a:pt x="188" y="34"/>
                    <a:pt x="189" y="25"/>
                    <a:pt x="189" y="15"/>
                  </a:cubicBezTo>
                  <a:cubicBezTo>
                    <a:pt x="190" y="12"/>
                    <a:pt x="190" y="10"/>
                    <a:pt x="190" y="8"/>
                  </a:cubicBezTo>
                  <a:cubicBezTo>
                    <a:pt x="190" y="6"/>
                    <a:pt x="190" y="5"/>
                    <a:pt x="190" y="4"/>
                  </a:cubicBezTo>
                  <a:cubicBezTo>
                    <a:pt x="190" y="2"/>
                    <a:pt x="188" y="0"/>
                    <a:pt x="183" y="0"/>
                  </a:cubicBezTo>
                  <a:close/>
                  <a:moveTo>
                    <a:pt x="284" y="0"/>
                  </a:moveTo>
                  <a:cubicBezTo>
                    <a:pt x="282" y="0"/>
                    <a:pt x="280" y="0"/>
                    <a:pt x="279" y="1"/>
                  </a:cubicBezTo>
                  <a:cubicBezTo>
                    <a:pt x="278" y="2"/>
                    <a:pt x="277" y="3"/>
                    <a:pt x="277" y="4"/>
                  </a:cubicBezTo>
                  <a:cubicBezTo>
                    <a:pt x="277" y="6"/>
                    <a:pt x="277" y="8"/>
                    <a:pt x="277" y="10"/>
                  </a:cubicBezTo>
                  <a:cubicBezTo>
                    <a:pt x="276" y="12"/>
                    <a:pt x="276" y="14"/>
                    <a:pt x="276" y="15"/>
                  </a:cubicBezTo>
                  <a:cubicBezTo>
                    <a:pt x="276" y="20"/>
                    <a:pt x="275" y="24"/>
                    <a:pt x="275" y="27"/>
                  </a:cubicBezTo>
                  <a:cubicBezTo>
                    <a:pt x="275" y="30"/>
                    <a:pt x="274" y="34"/>
                    <a:pt x="274" y="36"/>
                  </a:cubicBezTo>
                  <a:cubicBezTo>
                    <a:pt x="274" y="39"/>
                    <a:pt x="274" y="42"/>
                    <a:pt x="273" y="44"/>
                  </a:cubicBezTo>
                  <a:cubicBezTo>
                    <a:pt x="273" y="47"/>
                    <a:pt x="273" y="49"/>
                    <a:pt x="273" y="52"/>
                  </a:cubicBezTo>
                  <a:cubicBezTo>
                    <a:pt x="272" y="56"/>
                    <a:pt x="272" y="59"/>
                    <a:pt x="272" y="61"/>
                  </a:cubicBezTo>
                  <a:cubicBezTo>
                    <a:pt x="271" y="64"/>
                    <a:pt x="271" y="66"/>
                    <a:pt x="271" y="68"/>
                  </a:cubicBezTo>
                  <a:cubicBezTo>
                    <a:pt x="271" y="69"/>
                    <a:pt x="270" y="69"/>
                    <a:pt x="270" y="69"/>
                  </a:cubicBezTo>
                  <a:cubicBezTo>
                    <a:pt x="270" y="69"/>
                    <a:pt x="270" y="69"/>
                    <a:pt x="270" y="69"/>
                  </a:cubicBezTo>
                  <a:cubicBezTo>
                    <a:pt x="269" y="69"/>
                    <a:pt x="269" y="69"/>
                    <a:pt x="269" y="68"/>
                  </a:cubicBezTo>
                  <a:cubicBezTo>
                    <a:pt x="268" y="66"/>
                    <a:pt x="267" y="63"/>
                    <a:pt x="266" y="60"/>
                  </a:cubicBezTo>
                  <a:cubicBezTo>
                    <a:pt x="266" y="57"/>
                    <a:pt x="265" y="53"/>
                    <a:pt x="264" y="50"/>
                  </a:cubicBezTo>
                  <a:cubicBezTo>
                    <a:pt x="263" y="46"/>
                    <a:pt x="262" y="43"/>
                    <a:pt x="261" y="39"/>
                  </a:cubicBezTo>
                  <a:cubicBezTo>
                    <a:pt x="260" y="36"/>
                    <a:pt x="259" y="33"/>
                    <a:pt x="258" y="30"/>
                  </a:cubicBezTo>
                  <a:cubicBezTo>
                    <a:pt x="257" y="28"/>
                    <a:pt x="256" y="26"/>
                    <a:pt x="255" y="25"/>
                  </a:cubicBezTo>
                  <a:cubicBezTo>
                    <a:pt x="253" y="24"/>
                    <a:pt x="250" y="24"/>
                    <a:pt x="247" y="24"/>
                  </a:cubicBezTo>
                  <a:cubicBezTo>
                    <a:pt x="243" y="24"/>
                    <a:pt x="241" y="24"/>
                    <a:pt x="239" y="25"/>
                  </a:cubicBezTo>
                  <a:cubicBezTo>
                    <a:pt x="237" y="26"/>
                    <a:pt x="236" y="28"/>
                    <a:pt x="235" y="30"/>
                  </a:cubicBezTo>
                  <a:cubicBezTo>
                    <a:pt x="235" y="33"/>
                    <a:pt x="234" y="36"/>
                    <a:pt x="233" y="39"/>
                  </a:cubicBezTo>
                  <a:cubicBezTo>
                    <a:pt x="232" y="43"/>
                    <a:pt x="230" y="46"/>
                    <a:pt x="229" y="50"/>
                  </a:cubicBezTo>
                  <a:cubicBezTo>
                    <a:pt x="228" y="53"/>
                    <a:pt x="227" y="57"/>
                    <a:pt x="226" y="60"/>
                  </a:cubicBezTo>
                  <a:cubicBezTo>
                    <a:pt x="225" y="63"/>
                    <a:pt x="224" y="66"/>
                    <a:pt x="223" y="68"/>
                  </a:cubicBezTo>
                  <a:cubicBezTo>
                    <a:pt x="223" y="69"/>
                    <a:pt x="223" y="69"/>
                    <a:pt x="223" y="69"/>
                  </a:cubicBezTo>
                  <a:cubicBezTo>
                    <a:pt x="222" y="69"/>
                    <a:pt x="222" y="69"/>
                    <a:pt x="222" y="69"/>
                  </a:cubicBezTo>
                  <a:cubicBezTo>
                    <a:pt x="222" y="69"/>
                    <a:pt x="221" y="69"/>
                    <a:pt x="221" y="68"/>
                  </a:cubicBezTo>
                  <a:cubicBezTo>
                    <a:pt x="221" y="66"/>
                    <a:pt x="221" y="64"/>
                    <a:pt x="221" y="61"/>
                  </a:cubicBezTo>
                  <a:cubicBezTo>
                    <a:pt x="221" y="58"/>
                    <a:pt x="220" y="55"/>
                    <a:pt x="220" y="52"/>
                  </a:cubicBezTo>
                  <a:cubicBezTo>
                    <a:pt x="220" y="49"/>
                    <a:pt x="220" y="47"/>
                    <a:pt x="220" y="44"/>
                  </a:cubicBezTo>
                  <a:cubicBezTo>
                    <a:pt x="219" y="42"/>
                    <a:pt x="219" y="39"/>
                    <a:pt x="219" y="36"/>
                  </a:cubicBezTo>
                  <a:cubicBezTo>
                    <a:pt x="219" y="34"/>
                    <a:pt x="219" y="31"/>
                    <a:pt x="218" y="27"/>
                  </a:cubicBezTo>
                  <a:cubicBezTo>
                    <a:pt x="218" y="24"/>
                    <a:pt x="218" y="20"/>
                    <a:pt x="218" y="15"/>
                  </a:cubicBezTo>
                  <a:cubicBezTo>
                    <a:pt x="217" y="13"/>
                    <a:pt x="217" y="11"/>
                    <a:pt x="217" y="9"/>
                  </a:cubicBezTo>
                  <a:cubicBezTo>
                    <a:pt x="217" y="8"/>
                    <a:pt x="217" y="6"/>
                    <a:pt x="217" y="4"/>
                  </a:cubicBezTo>
                  <a:cubicBezTo>
                    <a:pt x="217" y="2"/>
                    <a:pt x="216" y="1"/>
                    <a:pt x="214" y="1"/>
                  </a:cubicBezTo>
                  <a:cubicBezTo>
                    <a:pt x="213" y="0"/>
                    <a:pt x="211" y="0"/>
                    <a:pt x="210" y="0"/>
                  </a:cubicBezTo>
                  <a:cubicBezTo>
                    <a:pt x="207" y="0"/>
                    <a:pt x="205" y="1"/>
                    <a:pt x="204" y="1"/>
                  </a:cubicBezTo>
                  <a:cubicBezTo>
                    <a:pt x="203" y="2"/>
                    <a:pt x="203" y="3"/>
                    <a:pt x="203" y="4"/>
                  </a:cubicBezTo>
                  <a:cubicBezTo>
                    <a:pt x="203" y="5"/>
                    <a:pt x="203" y="7"/>
                    <a:pt x="203" y="9"/>
                  </a:cubicBezTo>
                  <a:cubicBezTo>
                    <a:pt x="203" y="12"/>
                    <a:pt x="203" y="14"/>
                    <a:pt x="203" y="15"/>
                  </a:cubicBezTo>
                  <a:cubicBezTo>
                    <a:pt x="204" y="26"/>
                    <a:pt x="204" y="34"/>
                    <a:pt x="205" y="42"/>
                  </a:cubicBezTo>
                  <a:cubicBezTo>
                    <a:pt x="206" y="49"/>
                    <a:pt x="207" y="56"/>
                    <a:pt x="207" y="62"/>
                  </a:cubicBezTo>
                  <a:cubicBezTo>
                    <a:pt x="208" y="65"/>
                    <a:pt x="208" y="68"/>
                    <a:pt x="209" y="70"/>
                  </a:cubicBezTo>
                  <a:cubicBezTo>
                    <a:pt x="209" y="73"/>
                    <a:pt x="210" y="75"/>
                    <a:pt x="210" y="77"/>
                  </a:cubicBezTo>
                  <a:cubicBezTo>
                    <a:pt x="211" y="79"/>
                    <a:pt x="212" y="80"/>
                    <a:pt x="213" y="81"/>
                  </a:cubicBezTo>
                  <a:cubicBezTo>
                    <a:pt x="214" y="82"/>
                    <a:pt x="216" y="82"/>
                    <a:pt x="218" y="82"/>
                  </a:cubicBezTo>
                  <a:cubicBezTo>
                    <a:pt x="223" y="82"/>
                    <a:pt x="223" y="82"/>
                    <a:pt x="223" y="82"/>
                  </a:cubicBezTo>
                  <a:cubicBezTo>
                    <a:pt x="225" y="82"/>
                    <a:pt x="227" y="82"/>
                    <a:pt x="229" y="81"/>
                  </a:cubicBezTo>
                  <a:cubicBezTo>
                    <a:pt x="230" y="80"/>
                    <a:pt x="231" y="79"/>
                    <a:pt x="232" y="77"/>
                  </a:cubicBezTo>
                  <a:cubicBezTo>
                    <a:pt x="233" y="75"/>
                    <a:pt x="234" y="72"/>
                    <a:pt x="236" y="68"/>
                  </a:cubicBezTo>
                  <a:cubicBezTo>
                    <a:pt x="237" y="64"/>
                    <a:pt x="238" y="61"/>
                    <a:pt x="240" y="57"/>
                  </a:cubicBezTo>
                  <a:cubicBezTo>
                    <a:pt x="241" y="53"/>
                    <a:pt x="242" y="49"/>
                    <a:pt x="243" y="46"/>
                  </a:cubicBezTo>
                  <a:cubicBezTo>
                    <a:pt x="245" y="42"/>
                    <a:pt x="246" y="39"/>
                    <a:pt x="246" y="36"/>
                  </a:cubicBezTo>
                  <a:cubicBezTo>
                    <a:pt x="247" y="36"/>
                    <a:pt x="247" y="36"/>
                    <a:pt x="247" y="36"/>
                  </a:cubicBezTo>
                  <a:cubicBezTo>
                    <a:pt x="247" y="39"/>
                    <a:pt x="248" y="42"/>
                    <a:pt x="249" y="46"/>
                  </a:cubicBezTo>
                  <a:cubicBezTo>
                    <a:pt x="250" y="50"/>
                    <a:pt x="251" y="54"/>
                    <a:pt x="253" y="58"/>
                  </a:cubicBezTo>
                  <a:cubicBezTo>
                    <a:pt x="254" y="61"/>
                    <a:pt x="255" y="65"/>
                    <a:pt x="256" y="69"/>
                  </a:cubicBezTo>
                  <a:cubicBezTo>
                    <a:pt x="257" y="72"/>
                    <a:pt x="258" y="75"/>
                    <a:pt x="259" y="77"/>
                  </a:cubicBezTo>
                  <a:cubicBezTo>
                    <a:pt x="260" y="79"/>
                    <a:pt x="261" y="80"/>
                    <a:pt x="262" y="81"/>
                  </a:cubicBezTo>
                  <a:cubicBezTo>
                    <a:pt x="263" y="82"/>
                    <a:pt x="265" y="82"/>
                    <a:pt x="268" y="82"/>
                  </a:cubicBezTo>
                  <a:cubicBezTo>
                    <a:pt x="274" y="82"/>
                    <a:pt x="274" y="82"/>
                    <a:pt x="274" y="82"/>
                  </a:cubicBezTo>
                  <a:cubicBezTo>
                    <a:pt x="276" y="82"/>
                    <a:pt x="277" y="82"/>
                    <a:pt x="278" y="81"/>
                  </a:cubicBezTo>
                  <a:cubicBezTo>
                    <a:pt x="280" y="80"/>
                    <a:pt x="280" y="79"/>
                    <a:pt x="281" y="77"/>
                  </a:cubicBezTo>
                  <a:cubicBezTo>
                    <a:pt x="282" y="75"/>
                    <a:pt x="282" y="73"/>
                    <a:pt x="283" y="70"/>
                  </a:cubicBezTo>
                  <a:cubicBezTo>
                    <a:pt x="283" y="68"/>
                    <a:pt x="284" y="65"/>
                    <a:pt x="285" y="61"/>
                  </a:cubicBezTo>
                  <a:cubicBezTo>
                    <a:pt x="286" y="55"/>
                    <a:pt x="287" y="49"/>
                    <a:pt x="288" y="41"/>
                  </a:cubicBezTo>
                  <a:cubicBezTo>
                    <a:pt x="289" y="34"/>
                    <a:pt x="290" y="25"/>
                    <a:pt x="291" y="15"/>
                  </a:cubicBezTo>
                  <a:cubicBezTo>
                    <a:pt x="291" y="12"/>
                    <a:pt x="291" y="10"/>
                    <a:pt x="291" y="8"/>
                  </a:cubicBezTo>
                  <a:cubicBezTo>
                    <a:pt x="291" y="6"/>
                    <a:pt x="291" y="5"/>
                    <a:pt x="291" y="4"/>
                  </a:cubicBezTo>
                  <a:cubicBezTo>
                    <a:pt x="291" y="2"/>
                    <a:pt x="289" y="0"/>
                    <a:pt x="284"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sp>
          <p:nvSpPr>
            <p:cNvPr id="100" name="Freeform 9">
              <a:extLst>
                <a:ext uri="{FF2B5EF4-FFF2-40B4-BE49-F238E27FC236}">
                  <a16:creationId xmlns:a16="http://schemas.microsoft.com/office/drawing/2014/main" xmlns="" id="{638832A5-2ADD-47BC-A0D9-6B244057E128}"/>
                </a:ext>
              </a:extLst>
            </p:cNvPr>
            <p:cNvSpPr>
              <a:spLocks noChangeAspect="1" noEditPoints="1"/>
            </p:cNvSpPr>
            <p:nvPr/>
          </p:nvSpPr>
          <p:spPr bwMode="auto">
            <a:xfrm>
              <a:off x="7714081" y="1779663"/>
              <a:ext cx="410898" cy="449894"/>
            </a:xfrm>
            <a:custGeom>
              <a:avLst/>
              <a:gdLst/>
              <a:ahLst/>
              <a:cxnLst>
                <a:cxn ang="0">
                  <a:pos x="218" y="254"/>
                </a:cxn>
                <a:cxn ang="0">
                  <a:pos x="174" y="215"/>
                </a:cxn>
                <a:cxn ang="0">
                  <a:pos x="139" y="224"/>
                </a:cxn>
                <a:cxn ang="0">
                  <a:pos x="139" y="200"/>
                </a:cxn>
                <a:cxn ang="0">
                  <a:pos x="139" y="151"/>
                </a:cxn>
                <a:cxn ang="0">
                  <a:pos x="139" y="113"/>
                </a:cxn>
                <a:cxn ang="0">
                  <a:pos x="156" y="129"/>
                </a:cxn>
                <a:cxn ang="0">
                  <a:pos x="168" y="141"/>
                </a:cxn>
                <a:cxn ang="0">
                  <a:pos x="180" y="151"/>
                </a:cxn>
                <a:cxn ang="0">
                  <a:pos x="200" y="169"/>
                </a:cxn>
                <a:cxn ang="0">
                  <a:pos x="208" y="177"/>
                </a:cxn>
                <a:cxn ang="0">
                  <a:pos x="241" y="207"/>
                </a:cxn>
                <a:cxn ang="0">
                  <a:pos x="144" y="86"/>
                </a:cxn>
                <a:cxn ang="0">
                  <a:pos x="127" y="75"/>
                </a:cxn>
                <a:cxn ang="0">
                  <a:pos x="114" y="18"/>
                </a:cxn>
                <a:cxn ang="0">
                  <a:pos x="119" y="75"/>
                </a:cxn>
                <a:cxn ang="0">
                  <a:pos x="83" y="86"/>
                </a:cxn>
                <a:cxn ang="0">
                  <a:pos x="83" y="141"/>
                </a:cxn>
                <a:cxn ang="0">
                  <a:pos x="119" y="151"/>
                </a:cxn>
                <a:cxn ang="0">
                  <a:pos x="114" y="208"/>
                </a:cxn>
                <a:cxn ang="0">
                  <a:pos x="119" y="226"/>
                </a:cxn>
                <a:cxn ang="0">
                  <a:pos x="0" y="113"/>
                </a:cxn>
                <a:cxn ang="0">
                  <a:pos x="227" y="113"/>
                </a:cxn>
                <a:cxn ang="0">
                  <a:pos x="209" y="151"/>
                </a:cxn>
                <a:cxn ang="0">
                  <a:pos x="209" y="151"/>
                </a:cxn>
                <a:cxn ang="0">
                  <a:pos x="213" y="141"/>
                </a:cxn>
                <a:cxn ang="0">
                  <a:pos x="213" y="86"/>
                </a:cxn>
                <a:cxn ang="0">
                  <a:pos x="156" y="102"/>
                </a:cxn>
                <a:cxn ang="0">
                  <a:pos x="145" y="92"/>
                </a:cxn>
                <a:cxn ang="0">
                  <a:pos x="15" y="141"/>
                </a:cxn>
                <a:cxn ang="0">
                  <a:pos x="71" y="113"/>
                </a:cxn>
                <a:cxn ang="0">
                  <a:pos x="15" y="86"/>
                </a:cxn>
                <a:cxn ang="0">
                  <a:pos x="15" y="141"/>
                </a:cxn>
                <a:cxn ang="0">
                  <a:pos x="18" y="151"/>
                </a:cxn>
                <a:cxn ang="0">
                  <a:pos x="74" y="151"/>
                </a:cxn>
                <a:cxn ang="0">
                  <a:pos x="18" y="75"/>
                </a:cxn>
                <a:cxn ang="0">
                  <a:pos x="102" y="11"/>
                </a:cxn>
                <a:cxn ang="0">
                  <a:pos x="209" y="75"/>
                </a:cxn>
                <a:cxn ang="0">
                  <a:pos x="154" y="75"/>
                </a:cxn>
              </a:cxnLst>
              <a:rect l="0" t="0" r="r" b="b"/>
              <a:pathLst>
                <a:path w="241" h="264">
                  <a:moveTo>
                    <a:pt x="193" y="207"/>
                  </a:moveTo>
                  <a:cubicBezTo>
                    <a:pt x="218" y="254"/>
                    <a:pt x="218" y="254"/>
                    <a:pt x="218" y="254"/>
                  </a:cubicBezTo>
                  <a:cubicBezTo>
                    <a:pt x="199" y="264"/>
                    <a:pt x="199" y="264"/>
                    <a:pt x="199" y="264"/>
                  </a:cubicBezTo>
                  <a:cubicBezTo>
                    <a:pt x="174" y="215"/>
                    <a:pt x="174" y="215"/>
                    <a:pt x="174" y="215"/>
                  </a:cubicBezTo>
                  <a:cubicBezTo>
                    <a:pt x="139" y="250"/>
                    <a:pt x="139" y="250"/>
                    <a:pt x="139" y="250"/>
                  </a:cubicBezTo>
                  <a:cubicBezTo>
                    <a:pt x="139" y="224"/>
                    <a:pt x="139" y="224"/>
                    <a:pt x="139" y="224"/>
                  </a:cubicBezTo>
                  <a:cubicBezTo>
                    <a:pt x="139" y="213"/>
                    <a:pt x="139" y="213"/>
                    <a:pt x="139" y="213"/>
                  </a:cubicBezTo>
                  <a:cubicBezTo>
                    <a:pt x="139" y="200"/>
                    <a:pt x="139" y="200"/>
                    <a:pt x="139" y="200"/>
                  </a:cubicBezTo>
                  <a:cubicBezTo>
                    <a:pt x="139" y="172"/>
                    <a:pt x="139" y="172"/>
                    <a:pt x="139" y="172"/>
                  </a:cubicBezTo>
                  <a:cubicBezTo>
                    <a:pt x="139" y="151"/>
                    <a:pt x="139" y="151"/>
                    <a:pt x="139" y="151"/>
                  </a:cubicBezTo>
                  <a:cubicBezTo>
                    <a:pt x="139" y="141"/>
                    <a:pt x="139" y="141"/>
                    <a:pt x="139" y="141"/>
                  </a:cubicBezTo>
                  <a:cubicBezTo>
                    <a:pt x="139" y="113"/>
                    <a:pt x="139" y="113"/>
                    <a:pt x="139" y="113"/>
                  </a:cubicBezTo>
                  <a:cubicBezTo>
                    <a:pt x="149" y="123"/>
                    <a:pt x="149" y="123"/>
                    <a:pt x="149" y="123"/>
                  </a:cubicBezTo>
                  <a:cubicBezTo>
                    <a:pt x="156" y="129"/>
                    <a:pt x="156" y="129"/>
                    <a:pt x="156" y="129"/>
                  </a:cubicBezTo>
                  <a:cubicBezTo>
                    <a:pt x="156" y="129"/>
                    <a:pt x="156" y="129"/>
                    <a:pt x="156" y="129"/>
                  </a:cubicBezTo>
                  <a:cubicBezTo>
                    <a:pt x="168" y="141"/>
                    <a:pt x="168" y="141"/>
                    <a:pt x="168" y="141"/>
                  </a:cubicBezTo>
                  <a:cubicBezTo>
                    <a:pt x="168" y="141"/>
                    <a:pt x="168" y="141"/>
                    <a:pt x="168" y="141"/>
                  </a:cubicBezTo>
                  <a:cubicBezTo>
                    <a:pt x="180" y="151"/>
                    <a:pt x="180" y="151"/>
                    <a:pt x="180" y="151"/>
                  </a:cubicBezTo>
                  <a:cubicBezTo>
                    <a:pt x="180" y="151"/>
                    <a:pt x="180" y="151"/>
                    <a:pt x="180" y="151"/>
                  </a:cubicBezTo>
                  <a:cubicBezTo>
                    <a:pt x="200" y="169"/>
                    <a:pt x="200" y="169"/>
                    <a:pt x="200" y="169"/>
                  </a:cubicBezTo>
                  <a:cubicBezTo>
                    <a:pt x="200" y="169"/>
                    <a:pt x="200" y="169"/>
                    <a:pt x="200" y="169"/>
                  </a:cubicBezTo>
                  <a:cubicBezTo>
                    <a:pt x="208" y="177"/>
                    <a:pt x="208" y="177"/>
                    <a:pt x="208" y="177"/>
                  </a:cubicBezTo>
                  <a:cubicBezTo>
                    <a:pt x="208" y="177"/>
                    <a:pt x="208" y="177"/>
                    <a:pt x="208" y="177"/>
                  </a:cubicBezTo>
                  <a:cubicBezTo>
                    <a:pt x="241" y="207"/>
                    <a:pt x="241" y="207"/>
                    <a:pt x="241" y="207"/>
                  </a:cubicBezTo>
                  <a:lnTo>
                    <a:pt x="193" y="207"/>
                  </a:lnTo>
                  <a:close/>
                  <a:moveTo>
                    <a:pt x="144" y="86"/>
                  </a:moveTo>
                  <a:cubicBezTo>
                    <a:pt x="138" y="86"/>
                    <a:pt x="138" y="86"/>
                    <a:pt x="138" y="86"/>
                  </a:cubicBezTo>
                  <a:cubicBezTo>
                    <a:pt x="127" y="75"/>
                    <a:pt x="127" y="75"/>
                    <a:pt x="127" y="75"/>
                  </a:cubicBezTo>
                  <a:cubicBezTo>
                    <a:pt x="143" y="75"/>
                    <a:pt x="143" y="75"/>
                    <a:pt x="143" y="75"/>
                  </a:cubicBezTo>
                  <a:cubicBezTo>
                    <a:pt x="138" y="40"/>
                    <a:pt x="125" y="18"/>
                    <a:pt x="114" y="18"/>
                  </a:cubicBezTo>
                  <a:cubicBezTo>
                    <a:pt x="102" y="18"/>
                    <a:pt x="90" y="40"/>
                    <a:pt x="85" y="75"/>
                  </a:cubicBezTo>
                  <a:cubicBezTo>
                    <a:pt x="119" y="75"/>
                    <a:pt x="119" y="75"/>
                    <a:pt x="119" y="75"/>
                  </a:cubicBezTo>
                  <a:cubicBezTo>
                    <a:pt x="119" y="86"/>
                    <a:pt x="119" y="86"/>
                    <a:pt x="119" y="86"/>
                  </a:cubicBezTo>
                  <a:cubicBezTo>
                    <a:pt x="83" y="86"/>
                    <a:pt x="83" y="86"/>
                    <a:pt x="83" y="86"/>
                  </a:cubicBezTo>
                  <a:cubicBezTo>
                    <a:pt x="82" y="94"/>
                    <a:pt x="82" y="104"/>
                    <a:pt x="82" y="113"/>
                  </a:cubicBezTo>
                  <a:cubicBezTo>
                    <a:pt x="82" y="123"/>
                    <a:pt x="82" y="132"/>
                    <a:pt x="83" y="141"/>
                  </a:cubicBezTo>
                  <a:cubicBezTo>
                    <a:pt x="119" y="141"/>
                    <a:pt x="119" y="141"/>
                    <a:pt x="119" y="141"/>
                  </a:cubicBezTo>
                  <a:cubicBezTo>
                    <a:pt x="119" y="151"/>
                    <a:pt x="119" y="151"/>
                    <a:pt x="119" y="151"/>
                  </a:cubicBezTo>
                  <a:cubicBezTo>
                    <a:pt x="85" y="151"/>
                    <a:pt x="85" y="151"/>
                    <a:pt x="85" y="151"/>
                  </a:cubicBezTo>
                  <a:cubicBezTo>
                    <a:pt x="90" y="186"/>
                    <a:pt x="102" y="208"/>
                    <a:pt x="114" y="208"/>
                  </a:cubicBezTo>
                  <a:cubicBezTo>
                    <a:pt x="115" y="208"/>
                    <a:pt x="117" y="208"/>
                    <a:pt x="119" y="207"/>
                  </a:cubicBezTo>
                  <a:cubicBezTo>
                    <a:pt x="119" y="226"/>
                    <a:pt x="119" y="226"/>
                    <a:pt x="119" y="226"/>
                  </a:cubicBezTo>
                  <a:cubicBezTo>
                    <a:pt x="117" y="227"/>
                    <a:pt x="115" y="227"/>
                    <a:pt x="114" y="227"/>
                  </a:cubicBezTo>
                  <a:cubicBezTo>
                    <a:pt x="51" y="227"/>
                    <a:pt x="0" y="176"/>
                    <a:pt x="0" y="113"/>
                  </a:cubicBezTo>
                  <a:cubicBezTo>
                    <a:pt x="0" y="51"/>
                    <a:pt x="51" y="0"/>
                    <a:pt x="114" y="0"/>
                  </a:cubicBezTo>
                  <a:cubicBezTo>
                    <a:pt x="176" y="0"/>
                    <a:pt x="227" y="51"/>
                    <a:pt x="227" y="113"/>
                  </a:cubicBezTo>
                  <a:cubicBezTo>
                    <a:pt x="227" y="129"/>
                    <a:pt x="224" y="145"/>
                    <a:pt x="218" y="159"/>
                  </a:cubicBezTo>
                  <a:cubicBezTo>
                    <a:pt x="209" y="151"/>
                    <a:pt x="209" y="151"/>
                    <a:pt x="209" y="151"/>
                  </a:cubicBezTo>
                  <a:cubicBezTo>
                    <a:pt x="209" y="151"/>
                    <a:pt x="209" y="151"/>
                    <a:pt x="209" y="151"/>
                  </a:cubicBezTo>
                  <a:cubicBezTo>
                    <a:pt x="209" y="151"/>
                    <a:pt x="209" y="151"/>
                    <a:pt x="209" y="151"/>
                  </a:cubicBezTo>
                  <a:cubicBezTo>
                    <a:pt x="198" y="141"/>
                    <a:pt x="198" y="141"/>
                    <a:pt x="198" y="141"/>
                  </a:cubicBezTo>
                  <a:cubicBezTo>
                    <a:pt x="213" y="141"/>
                    <a:pt x="213" y="141"/>
                    <a:pt x="213" y="141"/>
                  </a:cubicBezTo>
                  <a:cubicBezTo>
                    <a:pt x="215" y="132"/>
                    <a:pt x="217" y="123"/>
                    <a:pt x="217" y="113"/>
                  </a:cubicBezTo>
                  <a:cubicBezTo>
                    <a:pt x="217" y="104"/>
                    <a:pt x="215" y="95"/>
                    <a:pt x="213" y="86"/>
                  </a:cubicBezTo>
                  <a:cubicBezTo>
                    <a:pt x="155" y="86"/>
                    <a:pt x="155" y="86"/>
                    <a:pt x="155" y="86"/>
                  </a:cubicBezTo>
                  <a:cubicBezTo>
                    <a:pt x="155" y="91"/>
                    <a:pt x="156" y="97"/>
                    <a:pt x="156" y="102"/>
                  </a:cubicBezTo>
                  <a:cubicBezTo>
                    <a:pt x="152" y="98"/>
                    <a:pt x="152" y="98"/>
                    <a:pt x="152" y="98"/>
                  </a:cubicBezTo>
                  <a:cubicBezTo>
                    <a:pt x="145" y="92"/>
                    <a:pt x="145" y="92"/>
                    <a:pt x="145" y="92"/>
                  </a:cubicBezTo>
                  <a:cubicBezTo>
                    <a:pt x="145" y="90"/>
                    <a:pt x="145" y="88"/>
                    <a:pt x="144" y="86"/>
                  </a:cubicBezTo>
                  <a:close/>
                  <a:moveTo>
                    <a:pt x="15" y="141"/>
                  </a:moveTo>
                  <a:cubicBezTo>
                    <a:pt x="73" y="141"/>
                    <a:pt x="73" y="141"/>
                    <a:pt x="73" y="141"/>
                  </a:cubicBezTo>
                  <a:cubicBezTo>
                    <a:pt x="72" y="132"/>
                    <a:pt x="71" y="122"/>
                    <a:pt x="71" y="113"/>
                  </a:cubicBezTo>
                  <a:cubicBezTo>
                    <a:pt x="71" y="104"/>
                    <a:pt x="72" y="95"/>
                    <a:pt x="73" y="86"/>
                  </a:cubicBezTo>
                  <a:cubicBezTo>
                    <a:pt x="15" y="86"/>
                    <a:pt x="15" y="86"/>
                    <a:pt x="15" y="86"/>
                  </a:cubicBezTo>
                  <a:cubicBezTo>
                    <a:pt x="12" y="95"/>
                    <a:pt x="11" y="104"/>
                    <a:pt x="11" y="113"/>
                  </a:cubicBezTo>
                  <a:cubicBezTo>
                    <a:pt x="11" y="123"/>
                    <a:pt x="12" y="132"/>
                    <a:pt x="15" y="141"/>
                  </a:cubicBezTo>
                  <a:close/>
                  <a:moveTo>
                    <a:pt x="74" y="151"/>
                  </a:moveTo>
                  <a:cubicBezTo>
                    <a:pt x="18" y="151"/>
                    <a:pt x="18" y="151"/>
                    <a:pt x="18" y="151"/>
                  </a:cubicBezTo>
                  <a:cubicBezTo>
                    <a:pt x="32" y="186"/>
                    <a:pt x="64" y="211"/>
                    <a:pt x="102" y="215"/>
                  </a:cubicBezTo>
                  <a:cubicBezTo>
                    <a:pt x="88" y="206"/>
                    <a:pt x="78" y="181"/>
                    <a:pt x="74" y="151"/>
                  </a:cubicBezTo>
                  <a:close/>
                  <a:moveTo>
                    <a:pt x="102" y="11"/>
                  </a:moveTo>
                  <a:cubicBezTo>
                    <a:pt x="64" y="15"/>
                    <a:pt x="32" y="41"/>
                    <a:pt x="18" y="75"/>
                  </a:cubicBezTo>
                  <a:cubicBezTo>
                    <a:pt x="74" y="75"/>
                    <a:pt x="74" y="75"/>
                    <a:pt x="74" y="75"/>
                  </a:cubicBezTo>
                  <a:cubicBezTo>
                    <a:pt x="78" y="46"/>
                    <a:pt x="88" y="20"/>
                    <a:pt x="102" y="11"/>
                  </a:cubicBezTo>
                  <a:close/>
                  <a:moveTo>
                    <a:pt x="154" y="75"/>
                  </a:moveTo>
                  <a:cubicBezTo>
                    <a:pt x="209" y="75"/>
                    <a:pt x="209" y="75"/>
                    <a:pt x="209" y="75"/>
                  </a:cubicBezTo>
                  <a:cubicBezTo>
                    <a:pt x="196" y="41"/>
                    <a:pt x="164" y="15"/>
                    <a:pt x="126" y="11"/>
                  </a:cubicBezTo>
                  <a:cubicBezTo>
                    <a:pt x="140" y="20"/>
                    <a:pt x="149" y="46"/>
                    <a:pt x="154" y="75"/>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endParaRPr lang="de-DE"/>
            </a:p>
          </p:txBody>
        </p:sp>
      </p:grpSp>
      <p:sp>
        <p:nvSpPr>
          <p:cNvPr id="101" name="Freeform 28">
            <a:extLst>
              <a:ext uri="{FF2B5EF4-FFF2-40B4-BE49-F238E27FC236}">
                <a16:creationId xmlns:a16="http://schemas.microsoft.com/office/drawing/2014/main" xmlns="" id="{0326FFA0-44FD-4E99-864D-3517666D017E}"/>
              </a:ext>
            </a:extLst>
          </p:cNvPr>
          <p:cNvSpPr>
            <a:spLocks noChangeAspect="1" noEditPoints="1"/>
          </p:cNvSpPr>
          <p:nvPr>
            <p:custDataLst>
              <p:tags r:id="rId2"/>
            </p:custDataLst>
          </p:nvPr>
        </p:nvSpPr>
        <p:spPr bwMode="gray">
          <a:xfrm>
            <a:off x="5480985" y="3654540"/>
            <a:ext cx="486464" cy="483995"/>
          </a:xfrm>
          <a:custGeom>
            <a:avLst/>
            <a:gdLst>
              <a:gd name="T0" fmla="*/ 480 w 1920"/>
              <a:gd name="T1" fmla="*/ 390 h 1910"/>
              <a:gd name="T2" fmla="*/ 1040 w 1920"/>
              <a:gd name="T3" fmla="*/ 310 h 1910"/>
              <a:gd name="T4" fmla="*/ 727 w 1920"/>
              <a:gd name="T5" fmla="*/ 571 h 1910"/>
              <a:gd name="T6" fmla="*/ 480 w 1920"/>
              <a:gd name="T7" fmla="*/ 710 h 1910"/>
              <a:gd name="T8" fmla="*/ 1920 w 1920"/>
              <a:gd name="T9" fmla="*/ 996 h 1910"/>
              <a:gd name="T10" fmla="*/ 1560 w 1920"/>
              <a:gd name="T11" fmla="*/ 1910 h 1910"/>
              <a:gd name="T12" fmla="*/ 242 w 1920"/>
              <a:gd name="T13" fmla="*/ 1801 h 1910"/>
              <a:gd name="T14" fmla="*/ 0 w 1920"/>
              <a:gd name="T15" fmla="*/ 790 h 1910"/>
              <a:gd name="T16" fmla="*/ 1322 w 1920"/>
              <a:gd name="T17" fmla="*/ 321 h 1910"/>
              <a:gd name="T18" fmla="*/ 1638 w 1920"/>
              <a:gd name="T19" fmla="*/ 710 h 1910"/>
              <a:gd name="T20" fmla="*/ 767 w 1920"/>
              <a:gd name="T21" fmla="*/ 641 h 1910"/>
              <a:gd name="T22" fmla="*/ 1747 w 1920"/>
              <a:gd name="T23" fmla="*/ 710 h 1910"/>
              <a:gd name="T24" fmla="*/ 1407 w 1920"/>
              <a:gd name="T25" fmla="*/ 16 h 1910"/>
              <a:gd name="T26" fmla="*/ 1886 w 1920"/>
              <a:gd name="T27" fmla="*/ 710 h 1910"/>
              <a:gd name="T28" fmla="*/ 34 w 1920"/>
              <a:gd name="T29" fmla="*/ 710 h 1910"/>
              <a:gd name="T30" fmla="*/ 513 w 1920"/>
              <a:gd name="T31" fmla="*/ 16 h 1910"/>
              <a:gd name="T32" fmla="*/ 173 w 1920"/>
              <a:gd name="T33" fmla="*/ 710 h 1910"/>
              <a:gd name="T34" fmla="*/ 1800 w 1920"/>
              <a:gd name="T35" fmla="*/ 978 h 1910"/>
              <a:gd name="T36" fmla="*/ 1660 w 1920"/>
              <a:gd name="T37" fmla="*/ 950 h 1910"/>
              <a:gd name="T38" fmla="*/ 1742 w 1920"/>
              <a:gd name="T39" fmla="*/ 1170 h 1910"/>
              <a:gd name="T40" fmla="*/ 120 w 1920"/>
              <a:gd name="T41" fmla="*/ 950 h 1910"/>
              <a:gd name="T42" fmla="*/ 178 w 1920"/>
              <a:gd name="T43" fmla="*/ 1170 h 1910"/>
              <a:gd name="T44" fmla="*/ 260 w 1920"/>
              <a:gd name="T45" fmla="*/ 950 h 1910"/>
              <a:gd name="T46" fmla="*/ 214 w 1920"/>
              <a:gd name="T47" fmla="*/ 1290 h 1910"/>
              <a:gd name="T48" fmla="*/ 260 w 1920"/>
              <a:gd name="T49" fmla="*/ 1290 h 1910"/>
              <a:gd name="T50" fmla="*/ 380 w 1920"/>
              <a:gd name="T51" fmla="*/ 1790 h 1910"/>
              <a:gd name="T52" fmla="*/ 580 w 1920"/>
              <a:gd name="T53" fmla="*/ 1610 h 1910"/>
              <a:gd name="T54" fmla="*/ 380 w 1920"/>
              <a:gd name="T55" fmla="*/ 1790 h 1910"/>
              <a:gd name="T56" fmla="*/ 900 w 1920"/>
              <a:gd name="T57" fmla="*/ 1790 h 1910"/>
              <a:gd name="T58" fmla="*/ 700 w 1920"/>
              <a:gd name="T59" fmla="*/ 1610 h 1910"/>
              <a:gd name="T60" fmla="*/ 1020 w 1920"/>
              <a:gd name="T61" fmla="*/ 1790 h 1910"/>
              <a:gd name="T62" fmla="*/ 1220 w 1920"/>
              <a:gd name="T63" fmla="*/ 1610 h 1910"/>
              <a:gd name="T64" fmla="*/ 1020 w 1920"/>
              <a:gd name="T65" fmla="*/ 1790 h 1910"/>
              <a:gd name="T66" fmla="*/ 1540 w 1920"/>
              <a:gd name="T67" fmla="*/ 1790 h 1910"/>
              <a:gd name="T68" fmla="*/ 1340 w 1920"/>
              <a:gd name="T69" fmla="*/ 1610 h 1910"/>
              <a:gd name="T70" fmla="*/ 1660 w 1920"/>
              <a:gd name="T71" fmla="*/ 1446 h 1910"/>
              <a:gd name="T72" fmla="*/ 1660 w 1920"/>
              <a:gd name="T73" fmla="*/ 1290 h 1910"/>
              <a:gd name="T74" fmla="*/ 1540 w 1920"/>
              <a:gd name="T75" fmla="*/ 1490 h 1910"/>
              <a:gd name="T76" fmla="*/ 1340 w 1920"/>
              <a:gd name="T77" fmla="*/ 1290 h 1910"/>
              <a:gd name="T78" fmla="*/ 1540 w 1920"/>
              <a:gd name="T79" fmla="*/ 1490 h 1910"/>
              <a:gd name="T80" fmla="*/ 1220 w 1920"/>
              <a:gd name="T81" fmla="*/ 1290 h 1910"/>
              <a:gd name="T82" fmla="*/ 1020 w 1920"/>
              <a:gd name="T83" fmla="*/ 1490 h 1910"/>
              <a:gd name="T84" fmla="*/ 900 w 1920"/>
              <a:gd name="T85" fmla="*/ 1490 h 1910"/>
              <a:gd name="T86" fmla="*/ 700 w 1920"/>
              <a:gd name="T87" fmla="*/ 1290 h 1910"/>
              <a:gd name="T88" fmla="*/ 900 w 1920"/>
              <a:gd name="T89" fmla="*/ 1490 h 1910"/>
              <a:gd name="T90" fmla="*/ 580 w 1920"/>
              <a:gd name="T91" fmla="*/ 1290 h 1910"/>
              <a:gd name="T92" fmla="*/ 380 w 1920"/>
              <a:gd name="T93" fmla="*/ 1490 h 1910"/>
              <a:gd name="T94" fmla="*/ 380 w 1920"/>
              <a:gd name="T95" fmla="*/ 1170 h 1910"/>
              <a:gd name="T96" fmla="*/ 580 w 1920"/>
              <a:gd name="T97" fmla="*/ 950 h 1910"/>
              <a:gd name="T98" fmla="*/ 380 w 1920"/>
              <a:gd name="T99" fmla="*/ 1170 h 1910"/>
              <a:gd name="T100" fmla="*/ 900 w 1920"/>
              <a:gd name="T101" fmla="*/ 1170 h 1910"/>
              <a:gd name="T102" fmla="*/ 700 w 1920"/>
              <a:gd name="T103" fmla="*/ 950 h 1910"/>
              <a:gd name="T104" fmla="*/ 1020 w 1920"/>
              <a:gd name="T105" fmla="*/ 1170 h 1910"/>
              <a:gd name="T106" fmla="*/ 1220 w 1920"/>
              <a:gd name="T107" fmla="*/ 950 h 1910"/>
              <a:gd name="T108" fmla="*/ 1020 w 1920"/>
              <a:gd name="T109" fmla="*/ 1170 h 1910"/>
              <a:gd name="T110" fmla="*/ 1540 w 1920"/>
              <a:gd name="T111" fmla="*/ 1170 h 1910"/>
              <a:gd name="T112" fmla="*/ 1340 w 1920"/>
              <a:gd name="T113" fmla="*/ 950 h 1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920" h="1910">
                <a:moveTo>
                  <a:pt x="480" y="710"/>
                </a:moveTo>
                <a:cubicBezTo>
                  <a:pt x="480" y="390"/>
                  <a:pt x="480" y="390"/>
                  <a:pt x="480" y="390"/>
                </a:cubicBezTo>
                <a:cubicBezTo>
                  <a:pt x="480" y="346"/>
                  <a:pt x="516" y="310"/>
                  <a:pt x="560" y="310"/>
                </a:cubicBezTo>
                <a:cubicBezTo>
                  <a:pt x="1040" y="310"/>
                  <a:pt x="1040" y="310"/>
                  <a:pt x="1040" y="310"/>
                </a:cubicBezTo>
                <a:cubicBezTo>
                  <a:pt x="1069" y="310"/>
                  <a:pt x="1095" y="326"/>
                  <a:pt x="1110" y="351"/>
                </a:cubicBezTo>
                <a:cubicBezTo>
                  <a:pt x="727" y="571"/>
                  <a:pt x="727" y="571"/>
                  <a:pt x="727" y="571"/>
                </a:cubicBezTo>
                <a:cubicBezTo>
                  <a:pt x="676" y="601"/>
                  <a:pt x="647" y="655"/>
                  <a:pt x="647" y="710"/>
                </a:cubicBezTo>
                <a:lnTo>
                  <a:pt x="480" y="710"/>
                </a:lnTo>
                <a:close/>
                <a:moveTo>
                  <a:pt x="1920" y="790"/>
                </a:moveTo>
                <a:cubicBezTo>
                  <a:pt x="1920" y="996"/>
                  <a:pt x="1920" y="996"/>
                  <a:pt x="1920" y="996"/>
                </a:cubicBezTo>
                <a:cubicBezTo>
                  <a:pt x="1678" y="1801"/>
                  <a:pt x="1678" y="1801"/>
                  <a:pt x="1678" y="1801"/>
                </a:cubicBezTo>
                <a:cubicBezTo>
                  <a:pt x="1661" y="1858"/>
                  <a:pt x="1625" y="1910"/>
                  <a:pt x="1560" y="1910"/>
                </a:cubicBezTo>
                <a:cubicBezTo>
                  <a:pt x="360" y="1910"/>
                  <a:pt x="360" y="1910"/>
                  <a:pt x="360" y="1910"/>
                </a:cubicBezTo>
                <a:cubicBezTo>
                  <a:pt x="295" y="1910"/>
                  <a:pt x="259" y="1858"/>
                  <a:pt x="242" y="1801"/>
                </a:cubicBezTo>
                <a:cubicBezTo>
                  <a:pt x="0" y="996"/>
                  <a:pt x="0" y="996"/>
                  <a:pt x="0" y="996"/>
                </a:cubicBezTo>
                <a:cubicBezTo>
                  <a:pt x="0" y="790"/>
                  <a:pt x="0" y="790"/>
                  <a:pt x="0" y="790"/>
                </a:cubicBezTo>
                <a:cubicBezTo>
                  <a:pt x="640" y="790"/>
                  <a:pt x="1280" y="790"/>
                  <a:pt x="1920" y="790"/>
                </a:cubicBezTo>
                <a:close/>
                <a:moveTo>
                  <a:pt x="1322" y="321"/>
                </a:moveTo>
                <a:cubicBezTo>
                  <a:pt x="1358" y="300"/>
                  <a:pt x="1404" y="310"/>
                  <a:pt x="1427" y="344"/>
                </a:cubicBezTo>
                <a:cubicBezTo>
                  <a:pt x="1638" y="710"/>
                  <a:pt x="1638" y="710"/>
                  <a:pt x="1638" y="710"/>
                </a:cubicBezTo>
                <a:cubicBezTo>
                  <a:pt x="727" y="710"/>
                  <a:pt x="727" y="710"/>
                  <a:pt x="727" y="710"/>
                </a:cubicBezTo>
                <a:cubicBezTo>
                  <a:pt x="727" y="682"/>
                  <a:pt x="742" y="655"/>
                  <a:pt x="767" y="641"/>
                </a:cubicBezTo>
                <a:cubicBezTo>
                  <a:pt x="952" y="534"/>
                  <a:pt x="1137" y="428"/>
                  <a:pt x="1322" y="321"/>
                </a:cubicBezTo>
                <a:close/>
                <a:moveTo>
                  <a:pt x="1747" y="710"/>
                </a:moveTo>
                <a:cubicBezTo>
                  <a:pt x="1386" y="99"/>
                  <a:pt x="1386" y="99"/>
                  <a:pt x="1386" y="99"/>
                </a:cubicBezTo>
                <a:cubicBezTo>
                  <a:pt x="1369" y="70"/>
                  <a:pt x="1378" y="34"/>
                  <a:pt x="1407" y="16"/>
                </a:cubicBezTo>
                <a:cubicBezTo>
                  <a:pt x="1435" y="0"/>
                  <a:pt x="1472" y="9"/>
                  <a:pt x="1489" y="38"/>
                </a:cubicBezTo>
                <a:cubicBezTo>
                  <a:pt x="1886" y="710"/>
                  <a:pt x="1886" y="710"/>
                  <a:pt x="1886" y="710"/>
                </a:cubicBezTo>
                <a:lnTo>
                  <a:pt x="1747" y="710"/>
                </a:lnTo>
                <a:close/>
                <a:moveTo>
                  <a:pt x="34" y="710"/>
                </a:moveTo>
                <a:cubicBezTo>
                  <a:pt x="431" y="38"/>
                  <a:pt x="431" y="38"/>
                  <a:pt x="431" y="38"/>
                </a:cubicBezTo>
                <a:cubicBezTo>
                  <a:pt x="448" y="9"/>
                  <a:pt x="485" y="0"/>
                  <a:pt x="513" y="16"/>
                </a:cubicBezTo>
                <a:cubicBezTo>
                  <a:pt x="542" y="34"/>
                  <a:pt x="551" y="70"/>
                  <a:pt x="534" y="99"/>
                </a:cubicBezTo>
                <a:cubicBezTo>
                  <a:pt x="173" y="710"/>
                  <a:pt x="173" y="710"/>
                  <a:pt x="173" y="710"/>
                </a:cubicBezTo>
                <a:lnTo>
                  <a:pt x="34" y="710"/>
                </a:lnTo>
                <a:close/>
                <a:moveTo>
                  <a:pt x="1800" y="978"/>
                </a:moveTo>
                <a:cubicBezTo>
                  <a:pt x="1800" y="950"/>
                  <a:pt x="1800" y="950"/>
                  <a:pt x="1800" y="950"/>
                </a:cubicBezTo>
                <a:cubicBezTo>
                  <a:pt x="1660" y="950"/>
                  <a:pt x="1660" y="950"/>
                  <a:pt x="1660" y="950"/>
                </a:cubicBezTo>
                <a:cubicBezTo>
                  <a:pt x="1660" y="1170"/>
                  <a:pt x="1660" y="1170"/>
                  <a:pt x="1660" y="1170"/>
                </a:cubicBezTo>
                <a:cubicBezTo>
                  <a:pt x="1742" y="1170"/>
                  <a:pt x="1742" y="1170"/>
                  <a:pt x="1742" y="1170"/>
                </a:cubicBezTo>
                <a:lnTo>
                  <a:pt x="1800" y="978"/>
                </a:lnTo>
                <a:close/>
                <a:moveTo>
                  <a:pt x="120" y="950"/>
                </a:moveTo>
                <a:cubicBezTo>
                  <a:pt x="120" y="978"/>
                  <a:pt x="120" y="978"/>
                  <a:pt x="120" y="978"/>
                </a:cubicBezTo>
                <a:cubicBezTo>
                  <a:pt x="178" y="1170"/>
                  <a:pt x="178" y="1170"/>
                  <a:pt x="178" y="1170"/>
                </a:cubicBezTo>
                <a:cubicBezTo>
                  <a:pt x="260" y="1170"/>
                  <a:pt x="260" y="1170"/>
                  <a:pt x="260" y="1170"/>
                </a:cubicBezTo>
                <a:cubicBezTo>
                  <a:pt x="260" y="950"/>
                  <a:pt x="260" y="950"/>
                  <a:pt x="260" y="950"/>
                </a:cubicBezTo>
                <a:lnTo>
                  <a:pt x="120" y="950"/>
                </a:lnTo>
                <a:close/>
                <a:moveTo>
                  <a:pt x="214" y="1290"/>
                </a:moveTo>
                <a:cubicBezTo>
                  <a:pt x="260" y="1446"/>
                  <a:pt x="260" y="1446"/>
                  <a:pt x="260" y="1446"/>
                </a:cubicBezTo>
                <a:cubicBezTo>
                  <a:pt x="260" y="1290"/>
                  <a:pt x="260" y="1290"/>
                  <a:pt x="260" y="1290"/>
                </a:cubicBezTo>
                <a:lnTo>
                  <a:pt x="214" y="1290"/>
                </a:lnTo>
                <a:close/>
                <a:moveTo>
                  <a:pt x="380" y="1790"/>
                </a:moveTo>
                <a:cubicBezTo>
                  <a:pt x="580" y="1790"/>
                  <a:pt x="580" y="1790"/>
                  <a:pt x="580" y="1790"/>
                </a:cubicBezTo>
                <a:cubicBezTo>
                  <a:pt x="580" y="1610"/>
                  <a:pt x="580" y="1610"/>
                  <a:pt x="580" y="1610"/>
                </a:cubicBezTo>
                <a:cubicBezTo>
                  <a:pt x="380" y="1610"/>
                  <a:pt x="380" y="1610"/>
                  <a:pt x="380" y="1610"/>
                </a:cubicBezTo>
                <a:lnTo>
                  <a:pt x="380" y="1790"/>
                </a:lnTo>
                <a:close/>
                <a:moveTo>
                  <a:pt x="700" y="1790"/>
                </a:moveTo>
                <a:cubicBezTo>
                  <a:pt x="900" y="1790"/>
                  <a:pt x="900" y="1790"/>
                  <a:pt x="900" y="1790"/>
                </a:cubicBezTo>
                <a:cubicBezTo>
                  <a:pt x="900" y="1610"/>
                  <a:pt x="900" y="1610"/>
                  <a:pt x="900" y="1610"/>
                </a:cubicBezTo>
                <a:cubicBezTo>
                  <a:pt x="700" y="1610"/>
                  <a:pt x="700" y="1610"/>
                  <a:pt x="700" y="1610"/>
                </a:cubicBezTo>
                <a:lnTo>
                  <a:pt x="700" y="1790"/>
                </a:lnTo>
                <a:close/>
                <a:moveTo>
                  <a:pt x="1020" y="1790"/>
                </a:moveTo>
                <a:cubicBezTo>
                  <a:pt x="1220" y="1790"/>
                  <a:pt x="1220" y="1790"/>
                  <a:pt x="1220" y="1790"/>
                </a:cubicBezTo>
                <a:cubicBezTo>
                  <a:pt x="1220" y="1610"/>
                  <a:pt x="1220" y="1610"/>
                  <a:pt x="1220" y="1610"/>
                </a:cubicBezTo>
                <a:cubicBezTo>
                  <a:pt x="1020" y="1610"/>
                  <a:pt x="1020" y="1610"/>
                  <a:pt x="1020" y="1610"/>
                </a:cubicBezTo>
                <a:lnTo>
                  <a:pt x="1020" y="1790"/>
                </a:lnTo>
                <a:close/>
                <a:moveTo>
                  <a:pt x="1340" y="1790"/>
                </a:moveTo>
                <a:cubicBezTo>
                  <a:pt x="1540" y="1790"/>
                  <a:pt x="1540" y="1790"/>
                  <a:pt x="1540" y="1790"/>
                </a:cubicBezTo>
                <a:cubicBezTo>
                  <a:pt x="1540" y="1610"/>
                  <a:pt x="1540" y="1610"/>
                  <a:pt x="1540" y="1610"/>
                </a:cubicBezTo>
                <a:cubicBezTo>
                  <a:pt x="1340" y="1610"/>
                  <a:pt x="1340" y="1610"/>
                  <a:pt x="1340" y="1610"/>
                </a:cubicBezTo>
                <a:lnTo>
                  <a:pt x="1340" y="1790"/>
                </a:lnTo>
                <a:close/>
                <a:moveTo>
                  <a:pt x="1660" y="1446"/>
                </a:moveTo>
                <a:cubicBezTo>
                  <a:pt x="1706" y="1290"/>
                  <a:pt x="1706" y="1290"/>
                  <a:pt x="1706" y="1290"/>
                </a:cubicBezTo>
                <a:cubicBezTo>
                  <a:pt x="1660" y="1290"/>
                  <a:pt x="1660" y="1290"/>
                  <a:pt x="1660" y="1290"/>
                </a:cubicBezTo>
                <a:lnTo>
                  <a:pt x="1660" y="1446"/>
                </a:lnTo>
                <a:close/>
                <a:moveTo>
                  <a:pt x="1540" y="1490"/>
                </a:moveTo>
                <a:cubicBezTo>
                  <a:pt x="1540" y="1290"/>
                  <a:pt x="1540" y="1290"/>
                  <a:pt x="1540" y="1290"/>
                </a:cubicBezTo>
                <a:cubicBezTo>
                  <a:pt x="1340" y="1290"/>
                  <a:pt x="1340" y="1290"/>
                  <a:pt x="1340" y="1290"/>
                </a:cubicBezTo>
                <a:cubicBezTo>
                  <a:pt x="1340" y="1490"/>
                  <a:pt x="1340" y="1490"/>
                  <a:pt x="1340" y="1490"/>
                </a:cubicBezTo>
                <a:lnTo>
                  <a:pt x="1540" y="1490"/>
                </a:lnTo>
                <a:close/>
                <a:moveTo>
                  <a:pt x="1220" y="1490"/>
                </a:moveTo>
                <a:cubicBezTo>
                  <a:pt x="1220" y="1290"/>
                  <a:pt x="1220" y="1290"/>
                  <a:pt x="1220" y="1290"/>
                </a:cubicBezTo>
                <a:cubicBezTo>
                  <a:pt x="1020" y="1290"/>
                  <a:pt x="1020" y="1290"/>
                  <a:pt x="1020" y="1290"/>
                </a:cubicBezTo>
                <a:cubicBezTo>
                  <a:pt x="1020" y="1490"/>
                  <a:pt x="1020" y="1490"/>
                  <a:pt x="1020" y="1490"/>
                </a:cubicBezTo>
                <a:lnTo>
                  <a:pt x="1220" y="1490"/>
                </a:lnTo>
                <a:close/>
                <a:moveTo>
                  <a:pt x="900" y="1490"/>
                </a:moveTo>
                <a:cubicBezTo>
                  <a:pt x="900" y="1290"/>
                  <a:pt x="900" y="1290"/>
                  <a:pt x="900" y="1290"/>
                </a:cubicBezTo>
                <a:cubicBezTo>
                  <a:pt x="700" y="1290"/>
                  <a:pt x="700" y="1290"/>
                  <a:pt x="700" y="1290"/>
                </a:cubicBezTo>
                <a:cubicBezTo>
                  <a:pt x="700" y="1490"/>
                  <a:pt x="700" y="1490"/>
                  <a:pt x="700" y="1490"/>
                </a:cubicBezTo>
                <a:lnTo>
                  <a:pt x="900" y="1490"/>
                </a:lnTo>
                <a:close/>
                <a:moveTo>
                  <a:pt x="580" y="1490"/>
                </a:moveTo>
                <a:cubicBezTo>
                  <a:pt x="580" y="1290"/>
                  <a:pt x="580" y="1290"/>
                  <a:pt x="580" y="1290"/>
                </a:cubicBezTo>
                <a:cubicBezTo>
                  <a:pt x="380" y="1290"/>
                  <a:pt x="380" y="1290"/>
                  <a:pt x="380" y="1290"/>
                </a:cubicBezTo>
                <a:cubicBezTo>
                  <a:pt x="380" y="1490"/>
                  <a:pt x="380" y="1490"/>
                  <a:pt x="380" y="1490"/>
                </a:cubicBezTo>
                <a:lnTo>
                  <a:pt x="580" y="1490"/>
                </a:lnTo>
                <a:close/>
                <a:moveTo>
                  <a:pt x="380" y="1170"/>
                </a:moveTo>
                <a:cubicBezTo>
                  <a:pt x="580" y="1170"/>
                  <a:pt x="580" y="1170"/>
                  <a:pt x="580" y="1170"/>
                </a:cubicBezTo>
                <a:cubicBezTo>
                  <a:pt x="580" y="950"/>
                  <a:pt x="580" y="950"/>
                  <a:pt x="580" y="950"/>
                </a:cubicBezTo>
                <a:cubicBezTo>
                  <a:pt x="380" y="950"/>
                  <a:pt x="380" y="950"/>
                  <a:pt x="380" y="950"/>
                </a:cubicBezTo>
                <a:lnTo>
                  <a:pt x="380" y="1170"/>
                </a:lnTo>
                <a:close/>
                <a:moveTo>
                  <a:pt x="700" y="1170"/>
                </a:moveTo>
                <a:cubicBezTo>
                  <a:pt x="900" y="1170"/>
                  <a:pt x="900" y="1170"/>
                  <a:pt x="900" y="1170"/>
                </a:cubicBezTo>
                <a:cubicBezTo>
                  <a:pt x="900" y="950"/>
                  <a:pt x="900" y="950"/>
                  <a:pt x="900" y="950"/>
                </a:cubicBezTo>
                <a:cubicBezTo>
                  <a:pt x="700" y="950"/>
                  <a:pt x="700" y="950"/>
                  <a:pt x="700" y="950"/>
                </a:cubicBezTo>
                <a:lnTo>
                  <a:pt x="700" y="1170"/>
                </a:lnTo>
                <a:close/>
                <a:moveTo>
                  <a:pt x="1020" y="1170"/>
                </a:moveTo>
                <a:cubicBezTo>
                  <a:pt x="1220" y="1170"/>
                  <a:pt x="1220" y="1170"/>
                  <a:pt x="1220" y="1170"/>
                </a:cubicBezTo>
                <a:cubicBezTo>
                  <a:pt x="1220" y="950"/>
                  <a:pt x="1220" y="950"/>
                  <a:pt x="1220" y="950"/>
                </a:cubicBezTo>
                <a:cubicBezTo>
                  <a:pt x="1020" y="950"/>
                  <a:pt x="1020" y="950"/>
                  <a:pt x="1020" y="950"/>
                </a:cubicBezTo>
                <a:lnTo>
                  <a:pt x="1020" y="1170"/>
                </a:lnTo>
                <a:close/>
                <a:moveTo>
                  <a:pt x="1340" y="1170"/>
                </a:moveTo>
                <a:cubicBezTo>
                  <a:pt x="1540" y="1170"/>
                  <a:pt x="1540" y="1170"/>
                  <a:pt x="1540" y="1170"/>
                </a:cubicBezTo>
                <a:cubicBezTo>
                  <a:pt x="1540" y="950"/>
                  <a:pt x="1540" y="950"/>
                  <a:pt x="1540" y="950"/>
                </a:cubicBezTo>
                <a:cubicBezTo>
                  <a:pt x="1340" y="950"/>
                  <a:pt x="1340" y="950"/>
                  <a:pt x="1340" y="950"/>
                </a:cubicBezTo>
                <a:lnTo>
                  <a:pt x="1340" y="1170"/>
                </a:lnTo>
                <a:close/>
              </a:path>
            </a:pathLst>
          </a:custGeom>
          <a:solidFill>
            <a:schemeClr val="accent3">
              <a:lumMod val="60000"/>
              <a:lumOff val="40000"/>
            </a:schemeClr>
          </a:solidFill>
          <a:ln>
            <a:noFill/>
          </a:ln>
        </p:spPr>
        <p:txBody>
          <a:bodyPr vert="horz" wrap="square" lIns="121920" tIns="60960" rIns="121920" bIns="60960" numCol="1" anchor="t" anchorCtr="0" compatLnSpc="1">
            <a:prstTxWarp prst="textNoShape">
              <a:avLst/>
            </a:prstTxWarp>
          </a:bodyPr>
          <a:lstStyle/>
          <a:p>
            <a:endParaRPr lang="en-US" sz="1333" dirty="0"/>
          </a:p>
        </p:txBody>
      </p:sp>
      <p:pic>
        <p:nvPicPr>
          <p:cNvPr id="6" name="Picture 5">
            <a:extLst>
              <a:ext uri="{FF2B5EF4-FFF2-40B4-BE49-F238E27FC236}">
                <a16:creationId xmlns:a16="http://schemas.microsoft.com/office/drawing/2014/main" xmlns="" id="{26670E73-E39D-4877-A59F-98D7A164BDBF}"/>
              </a:ext>
            </a:extLst>
          </p:cNvPr>
          <p:cNvPicPr>
            <a:picLocks noChangeAspect="1"/>
          </p:cNvPicPr>
          <p:nvPr/>
        </p:nvPicPr>
        <p:blipFill>
          <a:blip r:embed="rId5"/>
          <a:stretch>
            <a:fillRect/>
          </a:stretch>
        </p:blipFill>
        <p:spPr>
          <a:xfrm>
            <a:off x="1674251" y="4351006"/>
            <a:ext cx="3400425" cy="1400175"/>
          </a:xfrm>
          <a:prstGeom prst="rect">
            <a:avLst/>
          </a:prstGeom>
        </p:spPr>
      </p:pic>
      <p:pic>
        <p:nvPicPr>
          <p:cNvPr id="7" name="Picture 6">
            <a:extLst>
              <a:ext uri="{FF2B5EF4-FFF2-40B4-BE49-F238E27FC236}">
                <a16:creationId xmlns:a16="http://schemas.microsoft.com/office/drawing/2014/main" xmlns="" id="{C379CB51-D8A5-4741-8F30-1AC45C6F24D2}"/>
              </a:ext>
            </a:extLst>
          </p:cNvPr>
          <p:cNvPicPr>
            <a:picLocks noChangeAspect="1"/>
          </p:cNvPicPr>
          <p:nvPr/>
        </p:nvPicPr>
        <p:blipFill>
          <a:blip r:embed="rId6"/>
          <a:stretch>
            <a:fillRect/>
          </a:stretch>
        </p:blipFill>
        <p:spPr>
          <a:xfrm>
            <a:off x="6665554" y="4390151"/>
            <a:ext cx="3652490" cy="1377008"/>
          </a:xfrm>
          <a:prstGeom prst="rect">
            <a:avLst/>
          </a:prstGeom>
        </p:spPr>
      </p:pic>
    </p:spTree>
    <p:extLst>
      <p:ext uri="{BB962C8B-B14F-4D97-AF65-F5344CB8AC3E}">
        <p14:creationId xmlns:p14="http://schemas.microsoft.com/office/powerpoint/2010/main" val="31166352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a:extLst>
              <a:ext uri="{FF2B5EF4-FFF2-40B4-BE49-F238E27FC236}">
                <a16:creationId xmlns:a16="http://schemas.microsoft.com/office/drawing/2014/main" xmlns="" id="{29423D88-3FDC-4F7B-B293-55C608685E7A}"/>
              </a:ext>
            </a:extLst>
          </p:cNvPr>
          <p:cNvGraphicFramePr>
            <a:graphicFrameLocks noChangeAspect="1"/>
          </p:cNvGraphicFramePr>
          <p:nvPr>
            <p:extLst>
              <p:ext uri="{D42A27DB-BD31-4B8C-83A1-F6EECF244321}">
                <p14:modId xmlns:p14="http://schemas.microsoft.com/office/powerpoint/2010/main" val="523760980"/>
              </p:ext>
            </p:extLst>
          </p:nvPr>
        </p:nvGraphicFramePr>
        <p:xfrm>
          <a:off x="1320800" y="1570038"/>
          <a:ext cx="10296525" cy="3295650"/>
        </p:xfrm>
        <a:graphic>
          <a:graphicData uri="http://schemas.openxmlformats.org/presentationml/2006/ole">
            <mc:AlternateContent xmlns:mc="http://schemas.openxmlformats.org/markup-compatibility/2006">
              <mc:Choice xmlns:v="urn:schemas-microsoft-com:vml" Requires="v">
                <p:oleObj spid="_x0000_s4477" name="Macro-Enabled Worksheet" r:id="rId17" imgW="10296489" imgH="3295678" progId="Excel.SheetMacroEnabled.12">
                  <p:link updateAutomatic="1"/>
                </p:oleObj>
              </mc:Choice>
              <mc:Fallback>
                <p:oleObj name="Macro-Enabled Worksheet" r:id="rId17" imgW="10296489" imgH="3295678" progId="Excel.SheetMacroEnabled.12">
                  <p:link updateAutomatic="1"/>
                  <p:pic>
                    <p:nvPicPr>
                      <p:cNvPr id="0" name=""/>
                      <p:cNvPicPr/>
                      <p:nvPr/>
                    </p:nvPicPr>
                    <p:blipFill>
                      <a:blip r:embed="rId18"/>
                      <a:stretch>
                        <a:fillRect/>
                      </a:stretch>
                    </p:blipFill>
                    <p:spPr>
                      <a:xfrm>
                        <a:off x="1320800" y="1570038"/>
                        <a:ext cx="10296525" cy="3295650"/>
                      </a:xfrm>
                      <a:prstGeom prst="rect">
                        <a:avLst/>
                      </a:prstGeom>
                    </p:spPr>
                  </p:pic>
                </p:oleObj>
              </mc:Fallback>
            </mc:AlternateContent>
          </a:graphicData>
        </a:graphic>
      </p:graphicFrame>
      <p:graphicFrame>
        <p:nvGraphicFramePr>
          <p:cNvPr id="98" name="Table 97">
            <a:extLst>
              <a:ext uri="{FF2B5EF4-FFF2-40B4-BE49-F238E27FC236}">
                <a16:creationId xmlns:a16="http://schemas.microsoft.com/office/drawing/2014/main" xmlns="" id="{EA2A9BE2-7BE7-4D8D-93F7-004706EC0065}"/>
              </a:ext>
            </a:extLst>
          </p:cNvPr>
          <p:cNvGraphicFramePr>
            <a:graphicFrameLocks noGrp="1"/>
          </p:cNvGraphicFramePr>
          <p:nvPr>
            <p:extLst>
              <p:ext uri="{D42A27DB-BD31-4B8C-83A1-F6EECF244321}">
                <p14:modId xmlns:p14="http://schemas.microsoft.com/office/powerpoint/2010/main" val="1309325455"/>
              </p:ext>
            </p:extLst>
          </p:nvPr>
        </p:nvGraphicFramePr>
        <p:xfrm>
          <a:off x="1253592" y="5113377"/>
          <a:ext cx="10443950" cy="507046"/>
        </p:xfrm>
        <a:graphic>
          <a:graphicData uri="http://schemas.openxmlformats.org/drawingml/2006/table">
            <a:tbl>
              <a:tblPr firstRow="1" bandRow="1">
                <a:tableStyleId>{C115FB49-3FBE-41CF-8DFC-A938FE5134F0}</a:tableStyleId>
              </a:tblPr>
              <a:tblGrid>
                <a:gridCol w="843973">
                  <a:extLst>
                    <a:ext uri="{9D8B030D-6E8A-4147-A177-3AD203B41FA5}">
                      <a16:colId xmlns:a16="http://schemas.microsoft.com/office/drawing/2014/main" xmlns="" val="1161520263"/>
                    </a:ext>
                  </a:extLst>
                </a:gridCol>
                <a:gridCol w="818470">
                  <a:extLst>
                    <a:ext uri="{9D8B030D-6E8A-4147-A177-3AD203B41FA5}">
                      <a16:colId xmlns:a16="http://schemas.microsoft.com/office/drawing/2014/main" xmlns="" val="2942909094"/>
                    </a:ext>
                  </a:extLst>
                </a:gridCol>
                <a:gridCol w="788885">
                  <a:extLst>
                    <a:ext uri="{9D8B030D-6E8A-4147-A177-3AD203B41FA5}">
                      <a16:colId xmlns:a16="http://schemas.microsoft.com/office/drawing/2014/main" xmlns="" val="168446271"/>
                    </a:ext>
                  </a:extLst>
                </a:gridCol>
                <a:gridCol w="798747">
                  <a:extLst>
                    <a:ext uri="{9D8B030D-6E8A-4147-A177-3AD203B41FA5}">
                      <a16:colId xmlns:a16="http://schemas.microsoft.com/office/drawing/2014/main" xmlns="" val="2548592171"/>
                    </a:ext>
                  </a:extLst>
                </a:gridCol>
                <a:gridCol w="841242">
                  <a:extLst>
                    <a:ext uri="{9D8B030D-6E8A-4147-A177-3AD203B41FA5}">
                      <a16:colId xmlns:a16="http://schemas.microsoft.com/office/drawing/2014/main" xmlns="" val="2354112275"/>
                    </a:ext>
                  </a:extLst>
                </a:gridCol>
                <a:gridCol w="729719">
                  <a:extLst>
                    <a:ext uri="{9D8B030D-6E8A-4147-A177-3AD203B41FA5}">
                      <a16:colId xmlns:a16="http://schemas.microsoft.com/office/drawing/2014/main" xmlns="" val="202062618"/>
                    </a:ext>
                  </a:extLst>
                </a:gridCol>
                <a:gridCol w="825280">
                  <a:extLst>
                    <a:ext uri="{9D8B030D-6E8A-4147-A177-3AD203B41FA5}">
                      <a16:colId xmlns:a16="http://schemas.microsoft.com/office/drawing/2014/main" xmlns="" val="3470416852"/>
                    </a:ext>
                  </a:extLst>
                </a:gridCol>
                <a:gridCol w="808608">
                  <a:extLst>
                    <a:ext uri="{9D8B030D-6E8A-4147-A177-3AD203B41FA5}">
                      <a16:colId xmlns:a16="http://schemas.microsoft.com/office/drawing/2014/main" xmlns="" val="1049844064"/>
                    </a:ext>
                  </a:extLst>
                </a:gridCol>
                <a:gridCol w="818469">
                  <a:extLst>
                    <a:ext uri="{9D8B030D-6E8A-4147-A177-3AD203B41FA5}">
                      <a16:colId xmlns:a16="http://schemas.microsoft.com/office/drawing/2014/main" xmlns="" val="2267861239"/>
                    </a:ext>
                  </a:extLst>
                </a:gridCol>
                <a:gridCol w="779026">
                  <a:extLst>
                    <a:ext uri="{9D8B030D-6E8A-4147-A177-3AD203B41FA5}">
                      <a16:colId xmlns:a16="http://schemas.microsoft.com/office/drawing/2014/main" xmlns="" val="1786383599"/>
                    </a:ext>
                  </a:extLst>
                </a:gridCol>
                <a:gridCol w="818469">
                  <a:extLst>
                    <a:ext uri="{9D8B030D-6E8A-4147-A177-3AD203B41FA5}">
                      <a16:colId xmlns:a16="http://schemas.microsoft.com/office/drawing/2014/main" xmlns="" val="680845343"/>
                    </a:ext>
                  </a:extLst>
                </a:gridCol>
                <a:gridCol w="788886">
                  <a:extLst>
                    <a:ext uri="{9D8B030D-6E8A-4147-A177-3AD203B41FA5}">
                      <a16:colId xmlns:a16="http://schemas.microsoft.com/office/drawing/2014/main" xmlns="" val="978564394"/>
                    </a:ext>
                  </a:extLst>
                </a:gridCol>
                <a:gridCol w="784176">
                  <a:extLst>
                    <a:ext uri="{9D8B030D-6E8A-4147-A177-3AD203B41FA5}">
                      <a16:colId xmlns:a16="http://schemas.microsoft.com/office/drawing/2014/main" xmlns="" val="3768638646"/>
                    </a:ext>
                  </a:extLst>
                </a:gridCol>
              </a:tblGrid>
              <a:tr h="5070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000" b="0" dirty="0"/>
                        <a:t>Media &amp; entertainment</a:t>
                      </a:r>
                    </a:p>
                  </a:txBody>
                  <a:tcPr marL="0" marR="0" marT="0" marB="0">
                    <a:lnL>
                      <a:noFill/>
                    </a:lnL>
                    <a:lnR>
                      <a:noFill/>
                    </a:lnR>
                    <a:lnT>
                      <a:noFill/>
                    </a:lnT>
                    <a:lnB w="9525" cmpd="sng">
                      <a:noFill/>
                    </a:lnB>
                    <a:lnTlToBr w="12700" cmpd="sng">
                      <a:noFill/>
                      <a:prstDash val="solid"/>
                    </a:lnTlToBr>
                    <a:lnBlToTr w="12700" cmpd="sng">
                      <a:noFill/>
                      <a:prstDash val="solid"/>
                    </a:lnBlToTr>
                  </a:tcPr>
                </a:tc>
                <a:tc>
                  <a:txBody>
                    <a:bodyPr/>
                    <a:lstStyle/>
                    <a:p>
                      <a:pPr algn="ctr"/>
                      <a:r>
                        <a:rPr lang="nl-NL" sz="1000" b="0" dirty="0"/>
                        <a:t>Computers &amp; accessoires</a:t>
                      </a:r>
                    </a:p>
                  </a:txBody>
                  <a:tcPr marL="0" marR="0" marT="0" marB="0">
                    <a:lnL>
                      <a:noFill/>
                    </a:lnL>
                    <a:lnR>
                      <a:noFill/>
                    </a:lnR>
                    <a:lnT>
                      <a:noFill/>
                    </a:lnT>
                    <a:lnB w="9525" cmpd="sng">
                      <a:noFill/>
                    </a:lnB>
                    <a:lnTlToBr w="12700" cmpd="sng">
                      <a:noFill/>
                      <a:prstDash val="solid"/>
                    </a:lnTlToBr>
                    <a:lnBlToTr w="12700" cmpd="sng">
                      <a:noFill/>
                      <a:prstDash val="solid"/>
                    </a:lnBlToTr>
                  </a:tcPr>
                </a:tc>
                <a:tc>
                  <a:txBody>
                    <a:bodyPr/>
                    <a:lstStyle/>
                    <a:p>
                      <a:pPr algn="ctr"/>
                      <a:r>
                        <a:rPr lang="nl-NL" sz="1000" b="0" dirty="0"/>
                        <a:t>Telecom</a:t>
                      </a:r>
                    </a:p>
                  </a:txBody>
                  <a:tcPr marL="0" marR="0" marT="0" marB="0">
                    <a:lnL>
                      <a:noFill/>
                    </a:lnL>
                    <a:lnR>
                      <a:noFill/>
                    </a:lnR>
                    <a:lnT>
                      <a:noFill/>
                    </a:lnT>
                    <a:lnB w="9525" cmpd="sng">
                      <a:noFill/>
                    </a:lnB>
                    <a:lnTlToBr w="12700" cmpd="sng">
                      <a:noFill/>
                      <a:prstDash val="solid"/>
                    </a:lnTlToBr>
                    <a:lnBlToTr w="12700" cmpd="sng">
                      <a:noFill/>
                      <a:prstDash val="solid"/>
                    </a:lnBlToTr>
                  </a:tcPr>
                </a:tc>
                <a:tc>
                  <a:txBody>
                    <a:bodyPr/>
                    <a:lstStyle/>
                    <a:p>
                      <a:pPr algn="ctr"/>
                      <a:r>
                        <a:rPr lang="nl-NL" sz="1000" b="0" dirty="0" err="1"/>
                        <a:t>Footwear</a:t>
                      </a:r>
                      <a:r>
                        <a:rPr lang="nl-NL" sz="1000" b="0" dirty="0"/>
                        <a:t> &amp; lifestyle</a:t>
                      </a:r>
                    </a:p>
                  </a:txBody>
                  <a:tcPr marL="0" marR="0" marT="0" marB="0">
                    <a:lnL>
                      <a:noFill/>
                    </a:lnL>
                    <a:lnR>
                      <a:noFill/>
                    </a:lnR>
                    <a:lnT>
                      <a:noFill/>
                    </a:lnT>
                    <a:lnB w="9525" cmpd="sng">
                      <a:noFill/>
                    </a:lnB>
                    <a:lnTlToBr w="12700" cmpd="sng">
                      <a:noFill/>
                      <a:prstDash val="solid"/>
                    </a:lnTlToBr>
                    <a:lnBlToTr w="12700" cmpd="sng">
                      <a:noFill/>
                      <a:prstDash val="solid"/>
                    </a:lnBlToTr>
                  </a:tcPr>
                </a:tc>
                <a:tc>
                  <a:txBody>
                    <a:bodyPr/>
                    <a:lstStyle/>
                    <a:p>
                      <a:pPr algn="ctr"/>
                      <a:r>
                        <a:rPr lang="nl-NL" sz="1000" b="0" dirty="0"/>
                        <a:t>Toys</a:t>
                      </a:r>
                    </a:p>
                  </a:txBody>
                  <a:tcPr marL="0" marR="0" marT="0" marB="0">
                    <a:lnL>
                      <a:noFill/>
                    </a:lnL>
                    <a:lnR>
                      <a:noFill/>
                    </a:lnR>
                    <a:lnT>
                      <a:noFill/>
                    </a:lnT>
                    <a:lnB w="9525" cmpd="sng">
                      <a:noFill/>
                    </a:lnB>
                    <a:lnTlToBr w="12700" cmpd="sng">
                      <a:noFill/>
                      <a:prstDash val="solid"/>
                    </a:lnTlToBr>
                    <a:lnBlToTr w="12700" cmpd="sng">
                      <a:noFill/>
                      <a:prstDash val="solid"/>
                    </a:lnBlToTr>
                  </a:tcPr>
                </a:tc>
                <a:tc>
                  <a:txBody>
                    <a:bodyPr/>
                    <a:lstStyle/>
                    <a:p>
                      <a:pPr algn="ctr"/>
                      <a:r>
                        <a:rPr lang="en-US" sz="1000" b="0" dirty="0"/>
                        <a:t>Consumer electronics</a:t>
                      </a:r>
                      <a:endParaRPr lang="nl-NL" sz="1000" b="0" dirty="0"/>
                    </a:p>
                  </a:txBody>
                  <a:tcPr marL="0" marR="0" marT="0" marB="0">
                    <a:lnL>
                      <a:noFill/>
                    </a:lnL>
                    <a:lnR>
                      <a:noFill/>
                    </a:lnR>
                    <a:lnT>
                      <a:noFill/>
                    </a:lnT>
                    <a:lnB w="9525"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000" b="0" dirty="0" err="1"/>
                        <a:t>Clothing</a:t>
                      </a:r>
                      <a:endParaRPr lang="nl-NL" sz="1000" b="0" dirty="0"/>
                    </a:p>
                  </a:txBody>
                  <a:tcPr marL="0" marR="0" marT="0" marB="0">
                    <a:lnL>
                      <a:noFill/>
                    </a:lnL>
                    <a:lnR>
                      <a:noFill/>
                    </a:lnR>
                    <a:lnT>
                      <a:noFill/>
                    </a:lnT>
                    <a:lnB w="9525" cmpd="sng">
                      <a:noFill/>
                    </a:lnB>
                    <a:lnTlToBr w="12700" cmpd="sng">
                      <a:noFill/>
                      <a:prstDash val="solid"/>
                    </a:lnTlToBr>
                    <a:lnBlToTr w="12700" cmpd="sng">
                      <a:noFill/>
                      <a:prstDash val="solid"/>
                    </a:lnBlToTr>
                  </a:tcPr>
                </a:tc>
                <a:tc>
                  <a:txBody>
                    <a:bodyPr/>
                    <a:lstStyle/>
                    <a:p>
                      <a:pPr algn="ctr"/>
                      <a:r>
                        <a:rPr lang="en-US" sz="1000" b="0" dirty="0"/>
                        <a:t>Household electronics</a:t>
                      </a:r>
                      <a:endParaRPr lang="nl-NL" sz="1000" b="0" dirty="0"/>
                    </a:p>
                  </a:txBody>
                  <a:tcPr marL="0" marR="0" marT="0" marB="0">
                    <a:lnL>
                      <a:noFill/>
                    </a:lnL>
                    <a:lnR>
                      <a:noFill/>
                    </a:lnR>
                    <a:lnT>
                      <a:noFill/>
                    </a:lnT>
                    <a:lnB w="9525"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dirty="0"/>
                        <a:t>DIY / Garden</a:t>
                      </a:r>
                      <a:endParaRPr lang="nl-NL" sz="1000" b="0" dirty="0"/>
                    </a:p>
                  </a:txBody>
                  <a:tcPr marL="0" marR="0" marT="0" marB="0">
                    <a:lnL>
                      <a:noFill/>
                    </a:lnL>
                    <a:lnR>
                      <a:noFill/>
                    </a:lnR>
                    <a:lnT>
                      <a:noFill/>
                    </a:lnT>
                    <a:lnB w="9525"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000" b="0" dirty="0" err="1"/>
                        <a:t>Sports</a:t>
                      </a:r>
                      <a:r>
                        <a:rPr lang="nl-NL" sz="1000" b="0" dirty="0"/>
                        <a:t> &amp; </a:t>
                      </a:r>
                      <a:r>
                        <a:rPr lang="nl-NL" sz="1000" b="0" dirty="0" err="1"/>
                        <a:t>recreation</a:t>
                      </a:r>
                      <a:endParaRPr lang="nl-NL" sz="1000" b="0" dirty="0"/>
                    </a:p>
                  </a:txBody>
                  <a:tcPr marL="0" marR="0" marT="0" marB="0">
                    <a:lnL>
                      <a:noFill/>
                    </a:lnL>
                    <a:lnR>
                      <a:noFill/>
                    </a:lnR>
                    <a:lnT>
                      <a:noFill/>
                    </a:lnT>
                    <a:lnB w="9525" cmpd="sng">
                      <a:noFill/>
                    </a:lnB>
                    <a:lnTlToBr w="12700" cmpd="sng">
                      <a:noFill/>
                      <a:prstDash val="solid"/>
                    </a:lnTlToBr>
                    <a:lnBlToTr w="12700" cmpd="sng">
                      <a:noFill/>
                      <a:prstDash val="solid"/>
                    </a:lnBlToTr>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nl-NL" sz="1000" b="0" dirty="0"/>
                        <a:t>Home &amp;</a:t>
                      </a:r>
                    </a:p>
                    <a:p>
                      <a:pPr marL="0" marR="0" lvl="0" indent="0" algn="ctr" defTabSz="914400" rtl="0" eaLnBrk="1" fontAlgn="auto" latinLnBrk="0" hangingPunct="1">
                        <a:lnSpc>
                          <a:spcPct val="100000"/>
                        </a:lnSpc>
                        <a:spcBef>
                          <a:spcPts val="0"/>
                        </a:spcBef>
                        <a:spcAft>
                          <a:spcPts val="0"/>
                        </a:spcAft>
                        <a:buClrTx/>
                        <a:buSzTx/>
                        <a:buFontTx/>
                        <a:buNone/>
                        <a:tabLst/>
                        <a:defRPr/>
                      </a:pPr>
                      <a:r>
                        <a:rPr lang="nl-NL" sz="1000" b="0" dirty="0"/>
                        <a:t>living</a:t>
                      </a:r>
                    </a:p>
                  </a:txBody>
                  <a:tcPr marL="0" marR="0" marT="0" marB="0">
                    <a:lnL>
                      <a:noFill/>
                    </a:lnL>
                    <a:lnR>
                      <a:noFill/>
                    </a:lnR>
                    <a:lnT>
                      <a:noFill/>
                    </a:lnT>
                    <a:lnB w="9525" cmpd="sng">
                      <a:noFill/>
                    </a:lnB>
                    <a:lnTlToBr w="12700" cmpd="sng">
                      <a:noFill/>
                      <a:prstDash val="solid"/>
                    </a:lnTlToBr>
                    <a:lnBlToTr w="12700" cmpd="sng">
                      <a:noFill/>
                      <a:prstDash val="solid"/>
                    </a:lnBlToTr>
                  </a:tcPr>
                </a:tc>
                <a:tc>
                  <a:txBody>
                    <a:bodyPr/>
                    <a:lstStyle/>
                    <a:p>
                      <a:pPr algn="ctr"/>
                      <a:r>
                        <a:rPr lang="nl-NL" sz="1000" b="0" dirty="0"/>
                        <a:t>Health &amp;</a:t>
                      </a:r>
                    </a:p>
                    <a:p>
                      <a:pPr algn="ctr"/>
                      <a:r>
                        <a:rPr lang="nl-NL" sz="1000" b="0" dirty="0"/>
                        <a:t>beauty</a:t>
                      </a:r>
                    </a:p>
                  </a:txBody>
                  <a:tcPr marL="0" marR="0" marT="0" marB="0">
                    <a:lnL>
                      <a:noFill/>
                    </a:lnL>
                    <a:lnR>
                      <a:noFill/>
                    </a:lnR>
                    <a:lnT>
                      <a:noFill/>
                    </a:lnT>
                    <a:lnB w="9525" cmpd="sng">
                      <a:noFill/>
                    </a:lnB>
                    <a:lnTlToBr w="12700" cmpd="sng">
                      <a:noFill/>
                      <a:prstDash val="solid"/>
                    </a:lnTlToBr>
                    <a:lnBlToTr w="12700" cmpd="sng">
                      <a:noFill/>
                      <a:prstDash val="solid"/>
                    </a:lnBlToTr>
                  </a:tcPr>
                </a:tc>
                <a:tc>
                  <a:txBody>
                    <a:bodyPr/>
                    <a:lstStyle/>
                    <a:p>
                      <a:pPr algn="ctr"/>
                      <a:r>
                        <a:rPr lang="nl-NL" sz="1000" b="0" dirty="0"/>
                        <a:t>Food / </a:t>
                      </a:r>
                      <a:r>
                        <a:rPr lang="nl-NL" sz="1000" b="0" dirty="0" err="1"/>
                        <a:t>nearfood</a:t>
                      </a:r>
                      <a:endParaRPr lang="nl-NL" sz="1000" b="0" dirty="0"/>
                    </a:p>
                  </a:txBody>
                  <a:tcPr marL="0" marR="0" marT="0" marB="0">
                    <a:lnL>
                      <a:noFill/>
                    </a:lnL>
                    <a:lnR>
                      <a:noFill/>
                    </a:lnR>
                    <a:lnT>
                      <a:noFill/>
                    </a:lnT>
                    <a:lnB w="9525" cmpd="sng">
                      <a:noFill/>
                    </a:lnB>
                    <a:lnTlToBr w="12700" cmpd="sng">
                      <a:noFill/>
                      <a:prstDash val="solid"/>
                    </a:lnTlToBr>
                    <a:lnBlToTr w="12700" cmpd="sng">
                      <a:noFill/>
                      <a:prstDash val="solid"/>
                    </a:lnBlToTr>
                  </a:tcPr>
                </a:tc>
                <a:extLst>
                  <a:ext uri="{0D108BD9-81ED-4DB2-BD59-A6C34878D82A}">
                    <a16:rowId xmlns:a16="http://schemas.microsoft.com/office/drawing/2014/main" xmlns="" val="565321104"/>
                  </a:ext>
                </a:extLst>
              </a:tr>
            </a:tbl>
          </a:graphicData>
        </a:graphic>
      </p:graphicFrame>
      <p:sp>
        <p:nvSpPr>
          <p:cNvPr id="3" name="Footer Placeholder 2"/>
          <p:cNvSpPr>
            <a:spLocks noGrp="1"/>
          </p:cNvSpPr>
          <p:nvPr>
            <p:ph type="ftr" sz="quarter" idx="15"/>
          </p:nvPr>
        </p:nvSpPr>
        <p:spPr/>
        <p:txBody>
          <a:bodyPr/>
          <a:lstStyle/>
          <a:p>
            <a:r>
              <a:rPr lang="en-US" dirty="0" err="1"/>
              <a:t>ShoppingTomorrow</a:t>
            </a:r>
            <a:r>
              <a:rPr lang="en-US" dirty="0"/>
              <a:t> 2020</a:t>
            </a:r>
          </a:p>
        </p:txBody>
      </p:sp>
      <p:sp>
        <p:nvSpPr>
          <p:cNvPr id="4" name="Slide Number Placeholder 3"/>
          <p:cNvSpPr>
            <a:spLocks noGrp="1"/>
          </p:cNvSpPr>
          <p:nvPr>
            <p:ph type="sldNum" sz="quarter" idx="16"/>
          </p:nvPr>
        </p:nvSpPr>
        <p:spPr/>
        <p:txBody>
          <a:bodyPr/>
          <a:lstStyle/>
          <a:p>
            <a:fld id="{5F3E29E4-0979-4FCA-B4C5-5FC6044C982A}" type="slidenum">
              <a:rPr lang="en-US" smtClean="0"/>
              <a:pPr/>
              <a:t>6</a:t>
            </a:fld>
            <a:endParaRPr lang="en-US" dirty="0"/>
          </a:p>
        </p:txBody>
      </p:sp>
      <p:sp>
        <p:nvSpPr>
          <p:cNvPr id="15" name="Text Placeholder 14"/>
          <p:cNvSpPr>
            <a:spLocks noGrp="1"/>
          </p:cNvSpPr>
          <p:nvPr>
            <p:ph type="body" sz="quarter" idx="17"/>
          </p:nvPr>
        </p:nvSpPr>
        <p:spPr>
          <a:xfrm>
            <a:off x="1075063" y="6307665"/>
            <a:ext cx="8162717" cy="133200"/>
          </a:xfrm>
        </p:spPr>
        <p:txBody>
          <a:bodyPr/>
          <a:lstStyle/>
          <a:p>
            <a:r>
              <a:rPr lang="en-US" sz="900" dirty="0"/>
              <a:t>A03: What share of your total spending in product category X do you expect to spend online in 5 years? </a:t>
            </a:r>
          </a:p>
          <a:p>
            <a:r>
              <a:rPr lang="en-US" sz="900" dirty="0"/>
              <a:t>* Source: </a:t>
            </a:r>
            <a:r>
              <a:rPr lang="en-US" sz="900" dirty="0" err="1"/>
              <a:t>Thuiswinkel</a:t>
            </a:r>
            <a:r>
              <a:rPr lang="en-US" sz="900" dirty="0"/>
              <a:t> </a:t>
            </a:r>
            <a:r>
              <a:rPr lang="en-US" sz="900" dirty="0" err="1"/>
              <a:t>Markt</a:t>
            </a:r>
            <a:r>
              <a:rPr lang="en-US" sz="900" dirty="0"/>
              <a:t> Monitor Q1 2020 </a:t>
            </a:r>
          </a:p>
          <a:p>
            <a:r>
              <a:rPr lang="en-US" sz="900" dirty="0"/>
              <a:t>** Source: GfK </a:t>
            </a:r>
            <a:r>
              <a:rPr lang="en-US" sz="900" dirty="0" err="1"/>
              <a:t>ShoppingTomorrow</a:t>
            </a:r>
            <a:r>
              <a:rPr lang="en-US" sz="900" dirty="0"/>
              <a:t> Research 2020</a:t>
            </a:r>
          </a:p>
        </p:txBody>
      </p:sp>
      <p:sp>
        <p:nvSpPr>
          <p:cNvPr id="14" name="Title 8">
            <a:extLst>
              <a:ext uri="{FF2B5EF4-FFF2-40B4-BE49-F238E27FC236}">
                <a16:creationId xmlns:a16="http://schemas.microsoft.com/office/drawing/2014/main" xmlns="" id="{336CB63B-7A5A-415F-A5B1-6039ADDE6631}"/>
              </a:ext>
            </a:extLst>
          </p:cNvPr>
          <p:cNvSpPr txBox="1">
            <a:spLocks/>
          </p:cNvSpPr>
          <p:nvPr/>
        </p:nvSpPr>
        <p:spPr bwMode="gray">
          <a:xfrm>
            <a:off x="1167319" y="1237578"/>
            <a:ext cx="10525328" cy="391198"/>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en-US" sz="1200" b="1" dirty="0">
                <a:latin typeface="+mj-lt"/>
              </a:rPr>
              <a:t>Actual and expected online share in value in 2025 per product category</a:t>
            </a:r>
          </a:p>
          <a:p>
            <a:pPr algn="ctr"/>
            <a:r>
              <a:rPr lang="en-US" sz="1200" b="1" dirty="0">
                <a:latin typeface="+mj-lt"/>
              </a:rPr>
              <a:t>(% of total </a:t>
            </a:r>
            <a:r>
              <a:rPr lang="en-US" sz="1200" b="1" dirty="0" err="1">
                <a:latin typeface="+mj-lt"/>
              </a:rPr>
              <a:t>spendings</a:t>
            </a:r>
            <a:r>
              <a:rPr lang="en-US" sz="1200" b="1" dirty="0">
                <a:latin typeface="+mj-lt"/>
              </a:rPr>
              <a:t>)</a:t>
            </a:r>
          </a:p>
        </p:txBody>
      </p:sp>
      <p:cxnSp>
        <p:nvCxnSpPr>
          <p:cNvPr id="16" name="Straight Connector 15">
            <a:extLst>
              <a:ext uri="{FF2B5EF4-FFF2-40B4-BE49-F238E27FC236}">
                <a16:creationId xmlns:a16="http://schemas.microsoft.com/office/drawing/2014/main" xmlns="" id="{33F5F090-E00E-4DD8-B328-6CFB70193D9F}"/>
              </a:ext>
            </a:extLst>
          </p:cNvPr>
          <p:cNvCxnSpPr>
            <a:cxnSpLocks/>
          </p:cNvCxnSpPr>
          <p:nvPr/>
        </p:nvCxnSpPr>
        <p:spPr>
          <a:xfrm>
            <a:off x="1167319" y="1607948"/>
            <a:ext cx="10525328"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8" name="Text Placeholder 20">
            <a:extLst>
              <a:ext uri="{FF2B5EF4-FFF2-40B4-BE49-F238E27FC236}">
                <a16:creationId xmlns:a16="http://schemas.microsoft.com/office/drawing/2014/main" xmlns="" id="{D8053BAF-DF3B-4024-930B-1A39CCC01430}"/>
              </a:ext>
            </a:extLst>
          </p:cNvPr>
          <p:cNvSpPr txBox="1">
            <a:spLocks/>
          </p:cNvSpPr>
          <p:nvPr/>
        </p:nvSpPr>
        <p:spPr bwMode="gray">
          <a:xfrm>
            <a:off x="9910354" y="6317189"/>
            <a:ext cx="1924315" cy="141403"/>
          </a:xfrm>
          <a:prstGeom prst="rect">
            <a:avLst/>
          </a:prstGeom>
        </p:spPr>
        <p:txBody>
          <a:bodyPr vert="horz" lIns="0" tIns="0" rIns="0" bIns="36000" rtlCol="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800" kern="1200" baseline="0" noProof="0" smtClean="0">
                <a:solidFill>
                  <a:schemeClr val="bg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spcAft>
                <a:spcPts val="0"/>
              </a:spcAft>
              <a:buFont typeface="Arial" pitchFamily="34" charset="0"/>
              <a:buNone/>
              <a:defRPr lang="de-DE" sz="800" kern="1200" baseline="0" noProof="0" smtClean="0">
                <a:solidFill>
                  <a:schemeClr val="bg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9pPr>
          </a:lstStyle>
          <a:p>
            <a:pPr algn="r"/>
            <a:r>
              <a:rPr lang="en-US" sz="900" dirty="0">
                <a:solidFill>
                  <a:schemeClr val="tx1"/>
                </a:solidFill>
                <a:latin typeface="+mj-lt"/>
              </a:rPr>
              <a:t>Base: all respondents, n=1.026</a:t>
            </a:r>
          </a:p>
        </p:txBody>
      </p:sp>
      <p:sp>
        <p:nvSpPr>
          <p:cNvPr id="101" name="Freeform 106">
            <a:extLst>
              <a:ext uri="{FF2B5EF4-FFF2-40B4-BE49-F238E27FC236}">
                <a16:creationId xmlns:a16="http://schemas.microsoft.com/office/drawing/2014/main" xmlns="" id="{7EA12FF5-FAB7-4875-ABA7-ED8073054FF3}"/>
              </a:ext>
            </a:extLst>
          </p:cNvPr>
          <p:cNvSpPr>
            <a:spLocks noChangeAspect="1"/>
          </p:cNvSpPr>
          <p:nvPr>
            <p:custDataLst>
              <p:tags r:id="rId2"/>
            </p:custDataLst>
          </p:nvPr>
        </p:nvSpPr>
        <p:spPr bwMode="auto">
          <a:xfrm>
            <a:off x="2391829" y="4549120"/>
            <a:ext cx="167122" cy="210124"/>
          </a:xfrm>
          <a:custGeom>
            <a:avLst/>
            <a:gdLst>
              <a:gd name="T0" fmla="*/ 335 w 1680"/>
              <a:gd name="T1" fmla="*/ 632 h 2089"/>
              <a:gd name="T2" fmla="*/ 320 w 1680"/>
              <a:gd name="T3" fmla="*/ 392 h 2089"/>
              <a:gd name="T4" fmla="*/ 324 w 1680"/>
              <a:gd name="T5" fmla="*/ 322 h 2089"/>
              <a:gd name="T6" fmla="*/ 472 w 1680"/>
              <a:gd name="T7" fmla="*/ 87 h 2089"/>
              <a:gd name="T8" fmla="*/ 738 w 1680"/>
              <a:gd name="T9" fmla="*/ 1 h 2089"/>
              <a:gd name="T10" fmla="*/ 953 w 1680"/>
              <a:gd name="T11" fmla="*/ 56 h 2089"/>
              <a:gd name="T12" fmla="*/ 1062 w 1680"/>
              <a:gd name="T13" fmla="*/ 42 h 2089"/>
              <a:gd name="T14" fmla="*/ 1329 w 1680"/>
              <a:gd name="T15" fmla="*/ 239 h 2089"/>
              <a:gd name="T16" fmla="*/ 1360 w 1680"/>
              <a:gd name="T17" fmla="*/ 389 h 2089"/>
              <a:gd name="T18" fmla="*/ 1344 w 1680"/>
              <a:gd name="T19" fmla="*/ 632 h 2089"/>
              <a:gd name="T20" fmla="*/ 1259 w 1680"/>
              <a:gd name="T21" fmla="*/ 871 h 2089"/>
              <a:gd name="T22" fmla="*/ 1120 w 1680"/>
              <a:gd name="T23" fmla="*/ 1145 h 2089"/>
              <a:gd name="T24" fmla="*/ 1132 w 1680"/>
              <a:gd name="T25" fmla="*/ 1253 h 2089"/>
              <a:gd name="T26" fmla="*/ 1178 w 1680"/>
              <a:gd name="T27" fmla="*/ 1334 h 2089"/>
              <a:gd name="T28" fmla="*/ 1305 w 1680"/>
              <a:gd name="T29" fmla="*/ 1388 h 2089"/>
              <a:gd name="T30" fmla="*/ 1541 w 1680"/>
              <a:gd name="T31" fmla="*/ 1496 h 2089"/>
              <a:gd name="T32" fmla="*/ 1642 w 1680"/>
              <a:gd name="T33" fmla="*/ 1651 h 2089"/>
              <a:gd name="T34" fmla="*/ 1680 w 1680"/>
              <a:gd name="T35" fmla="*/ 1841 h 2089"/>
              <a:gd name="T36" fmla="*/ 1438 w 1680"/>
              <a:gd name="T37" fmla="*/ 2026 h 2089"/>
              <a:gd name="T38" fmla="*/ 840 w 1680"/>
              <a:gd name="T39" fmla="*/ 2089 h 2089"/>
              <a:gd name="T40" fmla="*/ 242 w 1680"/>
              <a:gd name="T41" fmla="*/ 2026 h 2089"/>
              <a:gd name="T42" fmla="*/ 0 w 1680"/>
              <a:gd name="T43" fmla="*/ 1841 h 2089"/>
              <a:gd name="T44" fmla="*/ 37 w 1680"/>
              <a:gd name="T45" fmla="*/ 1651 h 2089"/>
              <a:gd name="T46" fmla="*/ 138 w 1680"/>
              <a:gd name="T47" fmla="*/ 1496 h 2089"/>
              <a:gd name="T48" fmla="*/ 374 w 1680"/>
              <a:gd name="T49" fmla="*/ 1388 h 2089"/>
              <a:gd name="T50" fmla="*/ 500 w 1680"/>
              <a:gd name="T51" fmla="*/ 1334 h 2089"/>
              <a:gd name="T52" fmla="*/ 547 w 1680"/>
              <a:gd name="T53" fmla="*/ 1254 h 2089"/>
              <a:gd name="T54" fmla="*/ 560 w 1680"/>
              <a:gd name="T55" fmla="*/ 1145 h 2089"/>
              <a:gd name="T56" fmla="*/ 420 w 1680"/>
              <a:gd name="T57" fmla="*/ 871 h 2089"/>
              <a:gd name="T58" fmla="*/ 335 w 1680"/>
              <a:gd name="T59" fmla="*/ 632 h 2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80" h="2089">
                <a:moveTo>
                  <a:pt x="335" y="632"/>
                </a:moveTo>
                <a:cubicBezTo>
                  <a:pt x="320" y="392"/>
                  <a:pt x="320" y="392"/>
                  <a:pt x="320" y="392"/>
                </a:cubicBezTo>
                <a:cubicBezTo>
                  <a:pt x="318" y="371"/>
                  <a:pt x="321" y="343"/>
                  <a:pt x="324" y="322"/>
                </a:cubicBezTo>
                <a:cubicBezTo>
                  <a:pt x="340" y="222"/>
                  <a:pt x="396" y="142"/>
                  <a:pt x="472" y="87"/>
                </a:cubicBezTo>
                <a:cubicBezTo>
                  <a:pt x="546" y="33"/>
                  <a:pt x="641" y="3"/>
                  <a:pt x="738" y="1"/>
                </a:cubicBezTo>
                <a:cubicBezTo>
                  <a:pt x="819" y="0"/>
                  <a:pt x="884" y="13"/>
                  <a:pt x="953" y="56"/>
                </a:cubicBezTo>
                <a:cubicBezTo>
                  <a:pt x="989" y="42"/>
                  <a:pt x="1026" y="38"/>
                  <a:pt x="1062" y="42"/>
                </a:cubicBezTo>
                <a:cubicBezTo>
                  <a:pt x="1176" y="52"/>
                  <a:pt x="1280" y="138"/>
                  <a:pt x="1329" y="239"/>
                </a:cubicBezTo>
                <a:cubicBezTo>
                  <a:pt x="1352" y="286"/>
                  <a:pt x="1364" y="338"/>
                  <a:pt x="1360" y="389"/>
                </a:cubicBezTo>
                <a:cubicBezTo>
                  <a:pt x="1344" y="632"/>
                  <a:pt x="1344" y="632"/>
                  <a:pt x="1344" y="632"/>
                </a:cubicBezTo>
                <a:cubicBezTo>
                  <a:pt x="1366" y="719"/>
                  <a:pt x="1338" y="822"/>
                  <a:pt x="1259" y="871"/>
                </a:cubicBezTo>
                <a:cubicBezTo>
                  <a:pt x="1232" y="959"/>
                  <a:pt x="1182" y="1076"/>
                  <a:pt x="1120" y="1145"/>
                </a:cubicBezTo>
                <a:cubicBezTo>
                  <a:pt x="1121" y="1178"/>
                  <a:pt x="1124" y="1217"/>
                  <a:pt x="1132" y="1253"/>
                </a:cubicBezTo>
                <a:cubicBezTo>
                  <a:pt x="1140" y="1288"/>
                  <a:pt x="1154" y="1319"/>
                  <a:pt x="1178" y="1334"/>
                </a:cubicBezTo>
                <a:cubicBezTo>
                  <a:pt x="1228" y="1360"/>
                  <a:pt x="1250" y="1371"/>
                  <a:pt x="1305" y="1388"/>
                </a:cubicBezTo>
                <a:cubicBezTo>
                  <a:pt x="1379" y="1410"/>
                  <a:pt x="1490" y="1446"/>
                  <a:pt x="1541" y="1496"/>
                </a:cubicBezTo>
                <a:cubicBezTo>
                  <a:pt x="1585" y="1539"/>
                  <a:pt x="1619" y="1593"/>
                  <a:pt x="1642" y="1651"/>
                </a:cubicBezTo>
                <a:cubicBezTo>
                  <a:pt x="1667" y="1712"/>
                  <a:pt x="1680" y="1778"/>
                  <a:pt x="1680" y="1841"/>
                </a:cubicBezTo>
                <a:cubicBezTo>
                  <a:pt x="1680" y="1931"/>
                  <a:pt x="1578" y="1989"/>
                  <a:pt x="1438" y="2026"/>
                </a:cubicBezTo>
                <a:cubicBezTo>
                  <a:pt x="1252" y="2074"/>
                  <a:pt x="992" y="2089"/>
                  <a:pt x="840" y="2089"/>
                </a:cubicBezTo>
                <a:cubicBezTo>
                  <a:pt x="687" y="2089"/>
                  <a:pt x="428" y="2074"/>
                  <a:pt x="242" y="2026"/>
                </a:cubicBezTo>
                <a:cubicBezTo>
                  <a:pt x="101" y="1989"/>
                  <a:pt x="0" y="1931"/>
                  <a:pt x="0" y="1841"/>
                </a:cubicBezTo>
                <a:cubicBezTo>
                  <a:pt x="0" y="1778"/>
                  <a:pt x="12" y="1712"/>
                  <a:pt x="37" y="1651"/>
                </a:cubicBezTo>
                <a:cubicBezTo>
                  <a:pt x="60" y="1593"/>
                  <a:pt x="94" y="1539"/>
                  <a:pt x="138" y="1496"/>
                </a:cubicBezTo>
                <a:cubicBezTo>
                  <a:pt x="190" y="1446"/>
                  <a:pt x="300" y="1410"/>
                  <a:pt x="374" y="1388"/>
                </a:cubicBezTo>
                <a:cubicBezTo>
                  <a:pt x="425" y="1372"/>
                  <a:pt x="454" y="1361"/>
                  <a:pt x="500" y="1334"/>
                </a:cubicBezTo>
                <a:cubicBezTo>
                  <a:pt x="523" y="1321"/>
                  <a:pt x="538" y="1290"/>
                  <a:pt x="547" y="1254"/>
                </a:cubicBezTo>
                <a:cubicBezTo>
                  <a:pt x="555" y="1216"/>
                  <a:pt x="559" y="1183"/>
                  <a:pt x="560" y="1145"/>
                </a:cubicBezTo>
                <a:cubicBezTo>
                  <a:pt x="498" y="1076"/>
                  <a:pt x="447" y="959"/>
                  <a:pt x="420" y="871"/>
                </a:cubicBezTo>
                <a:cubicBezTo>
                  <a:pt x="342" y="822"/>
                  <a:pt x="313" y="719"/>
                  <a:pt x="335" y="6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1"/>
          </a:p>
        </p:txBody>
      </p:sp>
      <p:grpSp>
        <p:nvGrpSpPr>
          <p:cNvPr id="7" name="Group 6">
            <a:extLst>
              <a:ext uri="{FF2B5EF4-FFF2-40B4-BE49-F238E27FC236}">
                <a16:creationId xmlns:a16="http://schemas.microsoft.com/office/drawing/2014/main" xmlns="" id="{01CB8044-5479-4C3A-8A42-458989BB54F7}"/>
              </a:ext>
            </a:extLst>
          </p:cNvPr>
          <p:cNvGrpSpPr/>
          <p:nvPr/>
        </p:nvGrpSpPr>
        <p:grpSpPr>
          <a:xfrm>
            <a:off x="10361238" y="4488288"/>
            <a:ext cx="174673" cy="322043"/>
            <a:chOff x="9756334" y="4652338"/>
            <a:chExt cx="174673" cy="322043"/>
          </a:xfrm>
        </p:grpSpPr>
        <p:sp>
          <p:nvSpPr>
            <p:cNvPr id="103" name="Freeform 26">
              <a:extLst>
                <a:ext uri="{FF2B5EF4-FFF2-40B4-BE49-F238E27FC236}">
                  <a16:creationId xmlns:a16="http://schemas.microsoft.com/office/drawing/2014/main" xmlns="" id="{9D7F7013-7BD9-4B43-98C0-A8B13E52357B}"/>
                </a:ext>
              </a:extLst>
            </p:cNvPr>
            <p:cNvSpPr>
              <a:spLocks noEditPoints="1"/>
            </p:cNvSpPr>
            <p:nvPr/>
          </p:nvSpPr>
          <p:spPr bwMode="auto">
            <a:xfrm>
              <a:off x="9756334" y="4652338"/>
              <a:ext cx="174673" cy="322043"/>
            </a:xfrm>
            <a:custGeom>
              <a:avLst/>
              <a:gdLst>
                <a:gd name="T0" fmla="*/ 200 w 1120"/>
                <a:gd name="T1" fmla="*/ 480 h 2080"/>
                <a:gd name="T2" fmla="*/ 320 w 1120"/>
                <a:gd name="T3" fmla="*/ 480 h 2080"/>
                <a:gd name="T4" fmla="*/ 320 w 1120"/>
                <a:gd name="T5" fmla="*/ 160 h 2080"/>
                <a:gd name="T6" fmla="*/ 480 w 1120"/>
                <a:gd name="T7" fmla="*/ 0 h 2080"/>
                <a:gd name="T8" fmla="*/ 640 w 1120"/>
                <a:gd name="T9" fmla="*/ 0 h 2080"/>
                <a:gd name="T10" fmla="*/ 800 w 1120"/>
                <a:gd name="T11" fmla="*/ 160 h 2080"/>
                <a:gd name="T12" fmla="*/ 1022 w 1120"/>
                <a:gd name="T13" fmla="*/ 160 h 2080"/>
                <a:gd name="T14" fmla="*/ 1120 w 1120"/>
                <a:gd name="T15" fmla="*/ 258 h 2080"/>
                <a:gd name="T16" fmla="*/ 1120 w 1120"/>
                <a:gd name="T17" fmla="*/ 320 h 2080"/>
                <a:gd name="T18" fmla="*/ 1040 w 1120"/>
                <a:gd name="T19" fmla="*/ 320 h 2080"/>
                <a:gd name="T20" fmla="*/ 1040 w 1120"/>
                <a:gd name="T21" fmla="*/ 258 h 2080"/>
                <a:gd name="T22" fmla="*/ 1022 w 1120"/>
                <a:gd name="T23" fmla="*/ 240 h 2080"/>
                <a:gd name="T24" fmla="*/ 800 w 1120"/>
                <a:gd name="T25" fmla="*/ 240 h 2080"/>
                <a:gd name="T26" fmla="*/ 800 w 1120"/>
                <a:gd name="T27" fmla="*/ 480 h 2080"/>
                <a:gd name="T28" fmla="*/ 920 w 1120"/>
                <a:gd name="T29" fmla="*/ 480 h 2080"/>
                <a:gd name="T30" fmla="*/ 1120 w 1120"/>
                <a:gd name="T31" fmla="*/ 680 h 2080"/>
                <a:gd name="T32" fmla="*/ 1120 w 1120"/>
                <a:gd name="T33" fmla="*/ 2080 h 2080"/>
                <a:gd name="T34" fmla="*/ 0 w 1120"/>
                <a:gd name="T35" fmla="*/ 2080 h 2080"/>
                <a:gd name="T36" fmla="*/ 0 w 1120"/>
                <a:gd name="T37" fmla="*/ 680 h 2080"/>
                <a:gd name="T38" fmla="*/ 200 w 1120"/>
                <a:gd name="T39" fmla="*/ 480 h 2080"/>
                <a:gd name="T40" fmla="*/ 600 w 1120"/>
                <a:gd name="T41" fmla="*/ 560 h 2080"/>
                <a:gd name="T42" fmla="*/ 600 w 1120"/>
                <a:gd name="T43" fmla="*/ 1280 h 2080"/>
                <a:gd name="T44" fmla="*/ 520 w 1120"/>
                <a:gd name="T45" fmla="*/ 1280 h 2080"/>
                <a:gd name="T46" fmla="*/ 520 w 1120"/>
                <a:gd name="T47" fmla="*/ 560 h 2080"/>
                <a:gd name="T48" fmla="*/ 200 w 1120"/>
                <a:gd name="T49" fmla="*/ 560 h 2080"/>
                <a:gd name="T50" fmla="*/ 80 w 1120"/>
                <a:gd name="T51" fmla="*/ 680 h 2080"/>
                <a:gd name="T52" fmla="*/ 80 w 1120"/>
                <a:gd name="T53" fmla="*/ 2000 h 2080"/>
                <a:gd name="T54" fmla="*/ 1040 w 1120"/>
                <a:gd name="T55" fmla="*/ 2000 h 2080"/>
                <a:gd name="T56" fmla="*/ 1040 w 1120"/>
                <a:gd name="T57" fmla="*/ 680 h 2080"/>
                <a:gd name="T58" fmla="*/ 920 w 1120"/>
                <a:gd name="T59" fmla="*/ 560 h 2080"/>
                <a:gd name="T60" fmla="*/ 600 w 1120"/>
                <a:gd name="T61" fmla="*/ 56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120" h="2080">
                  <a:moveTo>
                    <a:pt x="200" y="480"/>
                  </a:moveTo>
                  <a:cubicBezTo>
                    <a:pt x="320" y="480"/>
                    <a:pt x="320" y="480"/>
                    <a:pt x="320" y="480"/>
                  </a:cubicBezTo>
                  <a:cubicBezTo>
                    <a:pt x="320" y="160"/>
                    <a:pt x="320" y="160"/>
                    <a:pt x="320" y="160"/>
                  </a:cubicBezTo>
                  <a:cubicBezTo>
                    <a:pt x="320" y="72"/>
                    <a:pt x="392" y="0"/>
                    <a:pt x="480" y="0"/>
                  </a:cubicBezTo>
                  <a:cubicBezTo>
                    <a:pt x="640" y="0"/>
                    <a:pt x="640" y="0"/>
                    <a:pt x="640" y="0"/>
                  </a:cubicBezTo>
                  <a:cubicBezTo>
                    <a:pt x="728" y="0"/>
                    <a:pt x="800" y="72"/>
                    <a:pt x="800" y="160"/>
                  </a:cubicBezTo>
                  <a:cubicBezTo>
                    <a:pt x="1022" y="160"/>
                    <a:pt x="1022" y="160"/>
                    <a:pt x="1022" y="160"/>
                  </a:cubicBezTo>
                  <a:cubicBezTo>
                    <a:pt x="1076" y="160"/>
                    <a:pt x="1120" y="204"/>
                    <a:pt x="1120" y="258"/>
                  </a:cubicBezTo>
                  <a:cubicBezTo>
                    <a:pt x="1120" y="320"/>
                    <a:pt x="1120" y="320"/>
                    <a:pt x="1120" y="320"/>
                  </a:cubicBezTo>
                  <a:cubicBezTo>
                    <a:pt x="1040" y="320"/>
                    <a:pt x="1040" y="320"/>
                    <a:pt x="1040" y="320"/>
                  </a:cubicBezTo>
                  <a:cubicBezTo>
                    <a:pt x="1040" y="258"/>
                    <a:pt x="1040" y="258"/>
                    <a:pt x="1040" y="258"/>
                  </a:cubicBezTo>
                  <a:cubicBezTo>
                    <a:pt x="1040" y="249"/>
                    <a:pt x="1032" y="240"/>
                    <a:pt x="1022" y="240"/>
                  </a:cubicBezTo>
                  <a:cubicBezTo>
                    <a:pt x="800" y="240"/>
                    <a:pt x="800" y="240"/>
                    <a:pt x="800" y="240"/>
                  </a:cubicBezTo>
                  <a:cubicBezTo>
                    <a:pt x="800" y="480"/>
                    <a:pt x="800" y="480"/>
                    <a:pt x="800" y="480"/>
                  </a:cubicBezTo>
                  <a:cubicBezTo>
                    <a:pt x="920" y="480"/>
                    <a:pt x="920" y="480"/>
                    <a:pt x="920" y="480"/>
                  </a:cubicBezTo>
                  <a:cubicBezTo>
                    <a:pt x="1030" y="480"/>
                    <a:pt x="1120" y="570"/>
                    <a:pt x="1120" y="680"/>
                  </a:cubicBezTo>
                  <a:cubicBezTo>
                    <a:pt x="1120" y="2080"/>
                    <a:pt x="1120" y="2080"/>
                    <a:pt x="1120" y="2080"/>
                  </a:cubicBezTo>
                  <a:cubicBezTo>
                    <a:pt x="0" y="2080"/>
                    <a:pt x="0" y="2080"/>
                    <a:pt x="0" y="2080"/>
                  </a:cubicBezTo>
                  <a:cubicBezTo>
                    <a:pt x="0" y="680"/>
                    <a:pt x="0" y="680"/>
                    <a:pt x="0" y="680"/>
                  </a:cubicBezTo>
                  <a:cubicBezTo>
                    <a:pt x="0" y="570"/>
                    <a:pt x="90" y="480"/>
                    <a:pt x="200" y="480"/>
                  </a:cubicBezTo>
                  <a:close/>
                  <a:moveTo>
                    <a:pt x="600" y="560"/>
                  </a:moveTo>
                  <a:cubicBezTo>
                    <a:pt x="600" y="1280"/>
                    <a:pt x="600" y="1280"/>
                    <a:pt x="600" y="1280"/>
                  </a:cubicBezTo>
                  <a:cubicBezTo>
                    <a:pt x="520" y="1280"/>
                    <a:pt x="520" y="1280"/>
                    <a:pt x="520" y="1280"/>
                  </a:cubicBezTo>
                  <a:cubicBezTo>
                    <a:pt x="520" y="560"/>
                    <a:pt x="520" y="560"/>
                    <a:pt x="520" y="560"/>
                  </a:cubicBezTo>
                  <a:cubicBezTo>
                    <a:pt x="200" y="560"/>
                    <a:pt x="200" y="560"/>
                    <a:pt x="200" y="560"/>
                  </a:cubicBezTo>
                  <a:cubicBezTo>
                    <a:pt x="134" y="560"/>
                    <a:pt x="80" y="614"/>
                    <a:pt x="80" y="680"/>
                  </a:cubicBezTo>
                  <a:cubicBezTo>
                    <a:pt x="80" y="2000"/>
                    <a:pt x="80" y="2000"/>
                    <a:pt x="80" y="2000"/>
                  </a:cubicBezTo>
                  <a:cubicBezTo>
                    <a:pt x="1040" y="2000"/>
                    <a:pt x="1040" y="2000"/>
                    <a:pt x="1040" y="2000"/>
                  </a:cubicBezTo>
                  <a:cubicBezTo>
                    <a:pt x="1040" y="680"/>
                    <a:pt x="1040" y="680"/>
                    <a:pt x="1040" y="680"/>
                  </a:cubicBezTo>
                  <a:cubicBezTo>
                    <a:pt x="1040" y="614"/>
                    <a:pt x="986" y="560"/>
                    <a:pt x="920" y="560"/>
                  </a:cubicBezTo>
                  <a:lnTo>
                    <a:pt x="600" y="560"/>
                  </a:lnTo>
                  <a:close/>
                </a:path>
              </a:pathLst>
            </a:custGeom>
            <a:solidFill>
              <a:schemeClr val="tx1">
                <a:lumMod val="40000"/>
                <a:lumOff val="60000"/>
              </a:schemeClr>
            </a:solid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sp>
          <p:nvSpPr>
            <p:cNvPr id="104" name="Freeform 27">
              <a:extLst>
                <a:ext uri="{FF2B5EF4-FFF2-40B4-BE49-F238E27FC236}">
                  <a16:creationId xmlns:a16="http://schemas.microsoft.com/office/drawing/2014/main" xmlns="" id="{CE995546-6B7B-4447-A7A8-7A51B0A31733}"/>
                </a:ext>
              </a:extLst>
            </p:cNvPr>
            <p:cNvSpPr>
              <a:spLocks/>
            </p:cNvSpPr>
            <p:nvPr/>
          </p:nvSpPr>
          <p:spPr bwMode="auto">
            <a:xfrm>
              <a:off x="9781276" y="4813360"/>
              <a:ext cx="124785" cy="136249"/>
            </a:xfrm>
            <a:custGeom>
              <a:avLst/>
              <a:gdLst>
                <a:gd name="T0" fmla="*/ 662 w 1891"/>
                <a:gd name="T1" fmla="*/ 0 h 2079"/>
                <a:gd name="T2" fmla="*/ 662 w 1891"/>
                <a:gd name="T3" fmla="*/ 756 h 2079"/>
                <a:gd name="T4" fmla="*/ 1229 w 1891"/>
                <a:gd name="T5" fmla="*/ 756 h 2079"/>
                <a:gd name="T6" fmla="*/ 1229 w 1891"/>
                <a:gd name="T7" fmla="*/ 0 h 2079"/>
                <a:gd name="T8" fmla="*/ 1891 w 1891"/>
                <a:gd name="T9" fmla="*/ 0 h 2079"/>
                <a:gd name="T10" fmla="*/ 1891 w 1891"/>
                <a:gd name="T11" fmla="*/ 2079 h 2079"/>
                <a:gd name="T12" fmla="*/ 0 w 1891"/>
                <a:gd name="T13" fmla="*/ 2079 h 2079"/>
                <a:gd name="T14" fmla="*/ 0 w 1891"/>
                <a:gd name="T15" fmla="*/ 0 h 2079"/>
                <a:gd name="T16" fmla="*/ 662 w 1891"/>
                <a:gd name="T17" fmla="*/ 0 h 20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91" h="2079">
                  <a:moveTo>
                    <a:pt x="662" y="0"/>
                  </a:moveTo>
                  <a:lnTo>
                    <a:pt x="662" y="756"/>
                  </a:lnTo>
                  <a:lnTo>
                    <a:pt x="1229" y="756"/>
                  </a:lnTo>
                  <a:lnTo>
                    <a:pt x="1229" y="0"/>
                  </a:lnTo>
                  <a:lnTo>
                    <a:pt x="1891" y="0"/>
                  </a:lnTo>
                  <a:lnTo>
                    <a:pt x="1891" y="2079"/>
                  </a:lnTo>
                  <a:lnTo>
                    <a:pt x="0" y="2079"/>
                  </a:lnTo>
                  <a:lnTo>
                    <a:pt x="0" y="0"/>
                  </a:lnTo>
                  <a:lnTo>
                    <a:pt x="662" y="0"/>
                  </a:lnTo>
                  <a:close/>
                </a:path>
              </a:pathLst>
            </a:custGeom>
            <a:solidFill>
              <a:schemeClr val="tx1">
                <a:lumMod val="40000"/>
                <a:lumOff val="60000"/>
              </a:schemeClr>
            </a:solid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dirty="0"/>
            </a:p>
          </p:txBody>
        </p:sp>
      </p:grpSp>
      <p:sp>
        <p:nvSpPr>
          <p:cNvPr id="105" name="Freeform 26">
            <a:extLst>
              <a:ext uri="{FF2B5EF4-FFF2-40B4-BE49-F238E27FC236}">
                <a16:creationId xmlns:a16="http://schemas.microsoft.com/office/drawing/2014/main" xmlns="" id="{4916E283-1F51-43FA-9915-0D56D5FEB3ED}"/>
              </a:ext>
            </a:extLst>
          </p:cNvPr>
          <p:cNvSpPr>
            <a:spLocks noChangeAspect="1" noEditPoints="1"/>
          </p:cNvSpPr>
          <p:nvPr>
            <p:custDataLst>
              <p:tags r:id="rId3"/>
            </p:custDataLst>
          </p:nvPr>
        </p:nvSpPr>
        <p:spPr bwMode="auto">
          <a:xfrm>
            <a:off x="5540613" y="4553079"/>
            <a:ext cx="264120" cy="215761"/>
          </a:xfrm>
          <a:custGeom>
            <a:avLst/>
            <a:gdLst>
              <a:gd name="T0" fmla="*/ 560 w 2080"/>
              <a:gd name="T1" fmla="*/ 240 h 1680"/>
              <a:gd name="T2" fmla="*/ 640 w 2080"/>
              <a:gd name="T3" fmla="*/ 160 h 1680"/>
              <a:gd name="T4" fmla="*/ 800 w 2080"/>
              <a:gd name="T5" fmla="*/ 0 h 1680"/>
              <a:gd name="T6" fmla="*/ 1280 w 2080"/>
              <a:gd name="T7" fmla="*/ 0 h 1680"/>
              <a:gd name="T8" fmla="*/ 1440 w 2080"/>
              <a:gd name="T9" fmla="*/ 160 h 1680"/>
              <a:gd name="T10" fmla="*/ 1520 w 2080"/>
              <a:gd name="T11" fmla="*/ 240 h 1680"/>
              <a:gd name="T12" fmla="*/ 1920 w 2080"/>
              <a:gd name="T13" fmla="*/ 240 h 1680"/>
              <a:gd name="T14" fmla="*/ 2080 w 2080"/>
              <a:gd name="T15" fmla="*/ 400 h 1680"/>
              <a:gd name="T16" fmla="*/ 2080 w 2080"/>
              <a:gd name="T17" fmla="*/ 1520 h 1680"/>
              <a:gd name="T18" fmla="*/ 1920 w 2080"/>
              <a:gd name="T19" fmla="*/ 1680 h 1680"/>
              <a:gd name="T20" fmla="*/ 160 w 2080"/>
              <a:gd name="T21" fmla="*/ 1680 h 1680"/>
              <a:gd name="T22" fmla="*/ 0 w 2080"/>
              <a:gd name="T23" fmla="*/ 1520 h 1680"/>
              <a:gd name="T24" fmla="*/ 0 w 2080"/>
              <a:gd name="T25" fmla="*/ 400 h 1680"/>
              <a:gd name="T26" fmla="*/ 160 w 2080"/>
              <a:gd name="T27" fmla="*/ 240 h 1680"/>
              <a:gd name="T28" fmla="*/ 560 w 2080"/>
              <a:gd name="T29" fmla="*/ 240 h 1680"/>
              <a:gd name="T30" fmla="*/ 1400 w 2080"/>
              <a:gd name="T31" fmla="*/ 920 h 1680"/>
              <a:gd name="T32" fmla="*/ 1320 w 2080"/>
              <a:gd name="T33" fmla="*/ 920 h 1680"/>
              <a:gd name="T34" fmla="*/ 1040 w 2080"/>
              <a:gd name="T35" fmla="*/ 1200 h 1680"/>
              <a:gd name="T36" fmla="*/ 1040 w 2080"/>
              <a:gd name="T37" fmla="*/ 1280 h 1680"/>
              <a:gd name="T38" fmla="*/ 1400 w 2080"/>
              <a:gd name="T39" fmla="*/ 920 h 1680"/>
              <a:gd name="T40" fmla="*/ 800 w 2080"/>
              <a:gd name="T41" fmla="*/ 160 h 1680"/>
              <a:gd name="T42" fmla="*/ 800 w 2080"/>
              <a:gd name="T43" fmla="*/ 240 h 1680"/>
              <a:gd name="T44" fmla="*/ 1280 w 2080"/>
              <a:gd name="T45" fmla="*/ 240 h 1680"/>
              <a:gd name="T46" fmla="*/ 1280 w 2080"/>
              <a:gd name="T47" fmla="*/ 160 h 1680"/>
              <a:gd name="T48" fmla="*/ 800 w 2080"/>
              <a:gd name="T49" fmla="*/ 160 h 1680"/>
              <a:gd name="T50" fmla="*/ 1760 w 2080"/>
              <a:gd name="T51" fmla="*/ 440 h 1680"/>
              <a:gd name="T52" fmla="*/ 1640 w 2080"/>
              <a:gd name="T53" fmla="*/ 560 h 1680"/>
              <a:gd name="T54" fmla="*/ 1760 w 2080"/>
              <a:gd name="T55" fmla="*/ 680 h 1680"/>
              <a:gd name="T56" fmla="*/ 1880 w 2080"/>
              <a:gd name="T57" fmla="*/ 560 h 1680"/>
              <a:gd name="T58" fmla="*/ 1760 w 2080"/>
              <a:gd name="T59" fmla="*/ 440 h 1680"/>
              <a:gd name="T60" fmla="*/ 1040 w 2080"/>
              <a:gd name="T61" fmla="*/ 400 h 1680"/>
              <a:gd name="T62" fmla="*/ 520 w 2080"/>
              <a:gd name="T63" fmla="*/ 920 h 1680"/>
              <a:gd name="T64" fmla="*/ 1040 w 2080"/>
              <a:gd name="T65" fmla="*/ 1440 h 1680"/>
              <a:gd name="T66" fmla="*/ 1560 w 2080"/>
              <a:gd name="T67" fmla="*/ 920 h 1680"/>
              <a:gd name="T68" fmla="*/ 1040 w 2080"/>
              <a:gd name="T69" fmla="*/ 400 h 1680"/>
              <a:gd name="T70" fmla="*/ 1040 w 2080"/>
              <a:gd name="T71" fmla="*/ 480 h 1680"/>
              <a:gd name="T72" fmla="*/ 1480 w 2080"/>
              <a:gd name="T73" fmla="*/ 920 h 1680"/>
              <a:gd name="T74" fmla="*/ 1040 w 2080"/>
              <a:gd name="T75" fmla="*/ 1360 h 1680"/>
              <a:gd name="T76" fmla="*/ 600 w 2080"/>
              <a:gd name="T77" fmla="*/ 920 h 1680"/>
              <a:gd name="T78" fmla="*/ 1040 w 2080"/>
              <a:gd name="T79" fmla="*/ 480 h 16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080" h="1680">
                <a:moveTo>
                  <a:pt x="560" y="240"/>
                </a:moveTo>
                <a:cubicBezTo>
                  <a:pt x="604" y="240"/>
                  <a:pt x="640" y="204"/>
                  <a:pt x="640" y="160"/>
                </a:cubicBezTo>
                <a:cubicBezTo>
                  <a:pt x="640" y="72"/>
                  <a:pt x="712" y="0"/>
                  <a:pt x="800" y="0"/>
                </a:cubicBezTo>
                <a:cubicBezTo>
                  <a:pt x="1280" y="0"/>
                  <a:pt x="1280" y="0"/>
                  <a:pt x="1280" y="0"/>
                </a:cubicBezTo>
                <a:cubicBezTo>
                  <a:pt x="1368" y="0"/>
                  <a:pt x="1440" y="72"/>
                  <a:pt x="1440" y="160"/>
                </a:cubicBezTo>
                <a:cubicBezTo>
                  <a:pt x="1440" y="204"/>
                  <a:pt x="1476" y="240"/>
                  <a:pt x="1520" y="240"/>
                </a:cubicBezTo>
                <a:cubicBezTo>
                  <a:pt x="1920" y="240"/>
                  <a:pt x="1920" y="240"/>
                  <a:pt x="1920" y="240"/>
                </a:cubicBezTo>
                <a:cubicBezTo>
                  <a:pt x="2008" y="240"/>
                  <a:pt x="2080" y="312"/>
                  <a:pt x="2080" y="400"/>
                </a:cubicBezTo>
                <a:cubicBezTo>
                  <a:pt x="2080" y="1520"/>
                  <a:pt x="2080" y="1520"/>
                  <a:pt x="2080" y="1520"/>
                </a:cubicBezTo>
                <a:cubicBezTo>
                  <a:pt x="2080" y="1608"/>
                  <a:pt x="2008" y="1680"/>
                  <a:pt x="1920" y="1680"/>
                </a:cubicBezTo>
                <a:cubicBezTo>
                  <a:pt x="160" y="1680"/>
                  <a:pt x="160" y="1680"/>
                  <a:pt x="160" y="1680"/>
                </a:cubicBezTo>
                <a:cubicBezTo>
                  <a:pt x="72" y="1680"/>
                  <a:pt x="0" y="1608"/>
                  <a:pt x="0" y="1520"/>
                </a:cubicBezTo>
                <a:cubicBezTo>
                  <a:pt x="0" y="400"/>
                  <a:pt x="0" y="400"/>
                  <a:pt x="0" y="400"/>
                </a:cubicBezTo>
                <a:cubicBezTo>
                  <a:pt x="0" y="312"/>
                  <a:pt x="72" y="240"/>
                  <a:pt x="160" y="240"/>
                </a:cubicBezTo>
                <a:lnTo>
                  <a:pt x="560" y="240"/>
                </a:lnTo>
                <a:close/>
                <a:moveTo>
                  <a:pt x="1400" y="920"/>
                </a:moveTo>
                <a:cubicBezTo>
                  <a:pt x="1320" y="920"/>
                  <a:pt x="1320" y="920"/>
                  <a:pt x="1320" y="920"/>
                </a:cubicBezTo>
                <a:cubicBezTo>
                  <a:pt x="1320" y="1075"/>
                  <a:pt x="1195" y="1200"/>
                  <a:pt x="1040" y="1200"/>
                </a:cubicBezTo>
                <a:cubicBezTo>
                  <a:pt x="1040" y="1280"/>
                  <a:pt x="1040" y="1280"/>
                  <a:pt x="1040" y="1280"/>
                </a:cubicBezTo>
                <a:cubicBezTo>
                  <a:pt x="1239" y="1280"/>
                  <a:pt x="1400" y="1119"/>
                  <a:pt x="1400" y="920"/>
                </a:cubicBezTo>
                <a:close/>
                <a:moveTo>
                  <a:pt x="800" y="160"/>
                </a:moveTo>
                <a:cubicBezTo>
                  <a:pt x="800" y="240"/>
                  <a:pt x="800" y="240"/>
                  <a:pt x="800" y="240"/>
                </a:cubicBezTo>
                <a:cubicBezTo>
                  <a:pt x="1280" y="240"/>
                  <a:pt x="1280" y="240"/>
                  <a:pt x="1280" y="240"/>
                </a:cubicBezTo>
                <a:cubicBezTo>
                  <a:pt x="1280" y="160"/>
                  <a:pt x="1280" y="160"/>
                  <a:pt x="1280" y="160"/>
                </a:cubicBezTo>
                <a:lnTo>
                  <a:pt x="800" y="160"/>
                </a:lnTo>
                <a:close/>
                <a:moveTo>
                  <a:pt x="1760" y="440"/>
                </a:moveTo>
                <a:cubicBezTo>
                  <a:pt x="1694" y="440"/>
                  <a:pt x="1640" y="494"/>
                  <a:pt x="1640" y="560"/>
                </a:cubicBezTo>
                <a:cubicBezTo>
                  <a:pt x="1640" y="626"/>
                  <a:pt x="1694" y="680"/>
                  <a:pt x="1760" y="680"/>
                </a:cubicBezTo>
                <a:cubicBezTo>
                  <a:pt x="1826" y="680"/>
                  <a:pt x="1880" y="626"/>
                  <a:pt x="1880" y="560"/>
                </a:cubicBezTo>
                <a:cubicBezTo>
                  <a:pt x="1880" y="494"/>
                  <a:pt x="1826" y="440"/>
                  <a:pt x="1760" y="440"/>
                </a:cubicBezTo>
                <a:close/>
                <a:moveTo>
                  <a:pt x="1040" y="400"/>
                </a:moveTo>
                <a:cubicBezTo>
                  <a:pt x="753" y="400"/>
                  <a:pt x="520" y="633"/>
                  <a:pt x="520" y="920"/>
                </a:cubicBezTo>
                <a:cubicBezTo>
                  <a:pt x="520" y="1207"/>
                  <a:pt x="753" y="1440"/>
                  <a:pt x="1040" y="1440"/>
                </a:cubicBezTo>
                <a:cubicBezTo>
                  <a:pt x="1327" y="1440"/>
                  <a:pt x="1560" y="1207"/>
                  <a:pt x="1560" y="920"/>
                </a:cubicBezTo>
                <a:cubicBezTo>
                  <a:pt x="1560" y="633"/>
                  <a:pt x="1327" y="400"/>
                  <a:pt x="1040" y="400"/>
                </a:cubicBezTo>
                <a:close/>
                <a:moveTo>
                  <a:pt x="1040" y="480"/>
                </a:moveTo>
                <a:cubicBezTo>
                  <a:pt x="1283" y="480"/>
                  <a:pt x="1480" y="677"/>
                  <a:pt x="1480" y="920"/>
                </a:cubicBezTo>
                <a:cubicBezTo>
                  <a:pt x="1480" y="1163"/>
                  <a:pt x="1283" y="1360"/>
                  <a:pt x="1040" y="1360"/>
                </a:cubicBezTo>
                <a:cubicBezTo>
                  <a:pt x="797" y="1360"/>
                  <a:pt x="600" y="1163"/>
                  <a:pt x="600" y="920"/>
                </a:cubicBezTo>
                <a:cubicBezTo>
                  <a:pt x="600" y="677"/>
                  <a:pt x="797" y="480"/>
                  <a:pt x="1040" y="480"/>
                </a:cubicBezTo>
                <a:close/>
              </a:path>
            </a:pathLst>
          </a:custGeom>
          <a:solidFill>
            <a:schemeClr val="tx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10" name="Freeform 106">
            <a:extLst>
              <a:ext uri="{FF2B5EF4-FFF2-40B4-BE49-F238E27FC236}">
                <a16:creationId xmlns:a16="http://schemas.microsoft.com/office/drawing/2014/main" xmlns="" id="{54E10201-1AC9-4C7F-BB48-72C8B227767A}"/>
              </a:ext>
            </a:extLst>
          </p:cNvPr>
          <p:cNvSpPr>
            <a:spLocks noChangeAspect="1"/>
          </p:cNvSpPr>
          <p:nvPr>
            <p:custDataLst>
              <p:tags r:id="rId4"/>
            </p:custDataLst>
          </p:nvPr>
        </p:nvSpPr>
        <p:spPr bwMode="auto">
          <a:xfrm>
            <a:off x="2394115" y="4555096"/>
            <a:ext cx="167122" cy="210124"/>
          </a:xfrm>
          <a:custGeom>
            <a:avLst/>
            <a:gdLst>
              <a:gd name="T0" fmla="*/ 335 w 1680"/>
              <a:gd name="T1" fmla="*/ 632 h 2089"/>
              <a:gd name="T2" fmla="*/ 320 w 1680"/>
              <a:gd name="T3" fmla="*/ 392 h 2089"/>
              <a:gd name="T4" fmla="*/ 324 w 1680"/>
              <a:gd name="T5" fmla="*/ 322 h 2089"/>
              <a:gd name="T6" fmla="*/ 472 w 1680"/>
              <a:gd name="T7" fmla="*/ 87 h 2089"/>
              <a:gd name="T8" fmla="*/ 738 w 1680"/>
              <a:gd name="T9" fmla="*/ 1 h 2089"/>
              <a:gd name="T10" fmla="*/ 953 w 1680"/>
              <a:gd name="T11" fmla="*/ 56 h 2089"/>
              <a:gd name="T12" fmla="*/ 1062 w 1680"/>
              <a:gd name="T13" fmla="*/ 42 h 2089"/>
              <a:gd name="T14" fmla="*/ 1329 w 1680"/>
              <a:gd name="T15" fmla="*/ 239 h 2089"/>
              <a:gd name="T16" fmla="*/ 1360 w 1680"/>
              <a:gd name="T17" fmla="*/ 389 h 2089"/>
              <a:gd name="T18" fmla="*/ 1344 w 1680"/>
              <a:gd name="T19" fmla="*/ 632 h 2089"/>
              <a:gd name="T20" fmla="*/ 1259 w 1680"/>
              <a:gd name="T21" fmla="*/ 871 h 2089"/>
              <a:gd name="T22" fmla="*/ 1120 w 1680"/>
              <a:gd name="T23" fmla="*/ 1145 h 2089"/>
              <a:gd name="T24" fmla="*/ 1132 w 1680"/>
              <a:gd name="T25" fmla="*/ 1253 h 2089"/>
              <a:gd name="T26" fmla="*/ 1178 w 1680"/>
              <a:gd name="T27" fmla="*/ 1334 h 2089"/>
              <a:gd name="T28" fmla="*/ 1305 w 1680"/>
              <a:gd name="T29" fmla="*/ 1388 h 2089"/>
              <a:gd name="T30" fmla="*/ 1541 w 1680"/>
              <a:gd name="T31" fmla="*/ 1496 h 2089"/>
              <a:gd name="T32" fmla="*/ 1642 w 1680"/>
              <a:gd name="T33" fmla="*/ 1651 h 2089"/>
              <a:gd name="T34" fmla="*/ 1680 w 1680"/>
              <a:gd name="T35" fmla="*/ 1841 h 2089"/>
              <a:gd name="T36" fmla="*/ 1438 w 1680"/>
              <a:gd name="T37" fmla="*/ 2026 h 2089"/>
              <a:gd name="T38" fmla="*/ 840 w 1680"/>
              <a:gd name="T39" fmla="*/ 2089 h 2089"/>
              <a:gd name="T40" fmla="*/ 242 w 1680"/>
              <a:gd name="T41" fmla="*/ 2026 h 2089"/>
              <a:gd name="T42" fmla="*/ 0 w 1680"/>
              <a:gd name="T43" fmla="*/ 1841 h 2089"/>
              <a:gd name="T44" fmla="*/ 37 w 1680"/>
              <a:gd name="T45" fmla="*/ 1651 h 2089"/>
              <a:gd name="T46" fmla="*/ 138 w 1680"/>
              <a:gd name="T47" fmla="*/ 1496 h 2089"/>
              <a:gd name="T48" fmla="*/ 374 w 1680"/>
              <a:gd name="T49" fmla="*/ 1388 h 2089"/>
              <a:gd name="T50" fmla="*/ 500 w 1680"/>
              <a:gd name="T51" fmla="*/ 1334 h 2089"/>
              <a:gd name="T52" fmla="*/ 547 w 1680"/>
              <a:gd name="T53" fmla="*/ 1254 h 2089"/>
              <a:gd name="T54" fmla="*/ 560 w 1680"/>
              <a:gd name="T55" fmla="*/ 1145 h 2089"/>
              <a:gd name="T56" fmla="*/ 420 w 1680"/>
              <a:gd name="T57" fmla="*/ 871 h 2089"/>
              <a:gd name="T58" fmla="*/ 335 w 1680"/>
              <a:gd name="T59" fmla="*/ 632 h 2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80" h="2089">
                <a:moveTo>
                  <a:pt x="335" y="632"/>
                </a:moveTo>
                <a:cubicBezTo>
                  <a:pt x="320" y="392"/>
                  <a:pt x="320" y="392"/>
                  <a:pt x="320" y="392"/>
                </a:cubicBezTo>
                <a:cubicBezTo>
                  <a:pt x="318" y="371"/>
                  <a:pt x="321" y="343"/>
                  <a:pt x="324" y="322"/>
                </a:cubicBezTo>
                <a:cubicBezTo>
                  <a:pt x="340" y="222"/>
                  <a:pt x="396" y="142"/>
                  <a:pt x="472" y="87"/>
                </a:cubicBezTo>
                <a:cubicBezTo>
                  <a:pt x="546" y="33"/>
                  <a:pt x="641" y="3"/>
                  <a:pt x="738" y="1"/>
                </a:cubicBezTo>
                <a:cubicBezTo>
                  <a:pt x="819" y="0"/>
                  <a:pt x="884" y="13"/>
                  <a:pt x="953" y="56"/>
                </a:cubicBezTo>
                <a:cubicBezTo>
                  <a:pt x="989" y="42"/>
                  <a:pt x="1026" y="38"/>
                  <a:pt x="1062" y="42"/>
                </a:cubicBezTo>
                <a:cubicBezTo>
                  <a:pt x="1176" y="52"/>
                  <a:pt x="1280" y="138"/>
                  <a:pt x="1329" y="239"/>
                </a:cubicBezTo>
                <a:cubicBezTo>
                  <a:pt x="1352" y="286"/>
                  <a:pt x="1364" y="338"/>
                  <a:pt x="1360" y="389"/>
                </a:cubicBezTo>
                <a:cubicBezTo>
                  <a:pt x="1344" y="632"/>
                  <a:pt x="1344" y="632"/>
                  <a:pt x="1344" y="632"/>
                </a:cubicBezTo>
                <a:cubicBezTo>
                  <a:pt x="1366" y="719"/>
                  <a:pt x="1338" y="822"/>
                  <a:pt x="1259" y="871"/>
                </a:cubicBezTo>
                <a:cubicBezTo>
                  <a:pt x="1232" y="959"/>
                  <a:pt x="1182" y="1076"/>
                  <a:pt x="1120" y="1145"/>
                </a:cubicBezTo>
                <a:cubicBezTo>
                  <a:pt x="1121" y="1178"/>
                  <a:pt x="1124" y="1217"/>
                  <a:pt x="1132" y="1253"/>
                </a:cubicBezTo>
                <a:cubicBezTo>
                  <a:pt x="1140" y="1288"/>
                  <a:pt x="1154" y="1319"/>
                  <a:pt x="1178" y="1334"/>
                </a:cubicBezTo>
                <a:cubicBezTo>
                  <a:pt x="1228" y="1360"/>
                  <a:pt x="1250" y="1371"/>
                  <a:pt x="1305" y="1388"/>
                </a:cubicBezTo>
                <a:cubicBezTo>
                  <a:pt x="1379" y="1410"/>
                  <a:pt x="1490" y="1446"/>
                  <a:pt x="1541" y="1496"/>
                </a:cubicBezTo>
                <a:cubicBezTo>
                  <a:pt x="1585" y="1539"/>
                  <a:pt x="1619" y="1593"/>
                  <a:pt x="1642" y="1651"/>
                </a:cubicBezTo>
                <a:cubicBezTo>
                  <a:pt x="1667" y="1712"/>
                  <a:pt x="1680" y="1778"/>
                  <a:pt x="1680" y="1841"/>
                </a:cubicBezTo>
                <a:cubicBezTo>
                  <a:pt x="1680" y="1931"/>
                  <a:pt x="1578" y="1989"/>
                  <a:pt x="1438" y="2026"/>
                </a:cubicBezTo>
                <a:cubicBezTo>
                  <a:pt x="1252" y="2074"/>
                  <a:pt x="992" y="2089"/>
                  <a:pt x="840" y="2089"/>
                </a:cubicBezTo>
                <a:cubicBezTo>
                  <a:pt x="687" y="2089"/>
                  <a:pt x="428" y="2074"/>
                  <a:pt x="242" y="2026"/>
                </a:cubicBezTo>
                <a:cubicBezTo>
                  <a:pt x="101" y="1989"/>
                  <a:pt x="0" y="1931"/>
                  <a:pt x="0" y="1841"/>
                </a:cubicBezTo>
                <a:cubicBezTo>
                  <a:pt x="0" y="1778"/>
                  <a:pt x="12" y="1712"/>
                  <a:pt x="37" y="1651"/>
                </a:cubicBezTo>
                <a:cubicBezTo>
                  <a:pt x="60" y="1593"/>
                  <a:pt x="94" y="1539"/>
                  <a:pt x="138" y="1496"/>
                </a:cubicBezTo>
                <a:cubicBezTo>
                  <a:pt x="190" y="1446"/>
                  <a:pt x="300" y="1410"/>
                  <a:pt x="374" y="1388"/>
                </a:cubicBezTo>
                <a:cubicBezTo>
                  <a:pt x="425" y="1372"/>
                  <a:pt x="454" y="1361"/>
                  <a:pt x="500" y="1334"/>
                </a:cubicBezTo>
                <a:cubicBezTo>
                  <a:pt x="523" y="1321"/>
                  <a:pt x="538" y="1290"/>
                  <a:pt x="547" y="1254"/>
                </a:cubicBezTo>
                <a:cubicBezTo>
                  <a:pt x="555" y="1216"/>
                  <a:pt x="559" y="1183"/>
                  <a:pt x="560" y="1145"/>
                </a:cubicBezTo>
                <a:cubicBezTo>
                  <a:pt x="498" y="1076"/>
                  <a:pt x="447" y="959"/>
                  <a:pt x="420" y="871"/>
                </a:cubicBezTo>
                <a:cubicBezTo>
                  <a:pt x="342" y="822"/>
                  <a:pt x="313" y="719"/>
                  <a:pt x="335" y="6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1"/>
          </a:p>
        </p:txBody>
      </p:sp>
      <p:sp>
        <p:nvSpPr>
          <p:cNvPr id="133" name="Freeform 106">
            <a:extLst>
              <a:ext uri="{FF2B5EF4-FFF2-40B4-BE49-F238E27FC236}">
                <a16:creationId xmlns:a16="http://schemas.microsoft.com/office/drawing/2014/main" xmlns="" id="{A46465C3-A7CF-4CFE-861A-A021253B08CD}"/>
              </a:ext>
            </a:extLst>
          </p:cNvPr>
          <p:cNvSpPr>
            <a:spLocks noChangeAspect="1"/>
          </p:cNvSpPr>
          <p:nvPr>
            <p:custDataLst>
              <p:tags r:id="rId5"/>
            </p:custDataLst>
          </p:nvPr>
        </p:nvSpPr>
        <p:spPr bwMode="auto">
          <a:xfrm>
            <a:off x="503404" y="2722310"/>
            <a:ext cx="167122" cy="210124"/>
          </a:xfrm>
          <a:custGeom>
            <a:avLst/>
            <a:gdLst>
              <a:gd name="T0" fmla="*/ 335 w 1680"/>
              <a:gd name="T1" fmla="*/ 632 h 2089"/>
              <a:gd name="T2" fmla="*/ 320 w 1680"/>
              <a:gd name="T3" fmla="*/ 392 h 2089"/>
              <a:gd name="T4" fmla="*/ 324 w 1680"/>
              <a:gd name="T5" fmla="*/ 322 h 2089"/>
              <a:gd name="T6" fmla="*/ 472 w 1680"/>
              <a:gd name="T7" fmla="*/ 87 h 2089"/>
              <a:gd name="T8" fmla="*/ 738 w 1680"/>
              <a:gd name="T9" fmla="*/ 1 h 2089"/>
              <a:gd name="T10" fmla="*/ 953 w 1680"/>
              <a:gd name="T11" fmla="*/ 56 h 2089"/>
              <a:gd name="T12" fmla="*/ 1062 w 1680"/>
              <a:gd name="T13" fmla="*/ 42 h 2089"/>
              <a:gd name="T14" fmla="*/ 1329 w 1680"/>
              <a:gd name="T15" fmla="*/ 239 h 2089"/>
              <a:gd name="T16" fmla="*/ 1360 w 1680"/>
              <a:gd name="T17" fmla="*/ 389 h 2089"/>
              <a:gd name="T18" fmla="*/ 1344 w 1680"/>
              <a:gd name="T19" fmla="*/ 632 h 2089"/>
              <a:gd name="T20" fmla="*/ 1259 w 1680"/>
              <a:gd name="T21" fmla="*/ 871 h 2089"/>
              <a:gd name="T22" fmla="*/ 1120 w 1680"/>
              <a:gd name="T23" fmla="*/ 1145 h 2089"/>
              <a:gd name="T24" fmla="*/ 1132 w 1680"/>
              <a:gd name="T25" fmla="*/ 1253 h 2089"/>
              <a:gd name="T26" fmla="*/ 1178 w 1680"/>
              <a:gd name="T27" fmla="*/ 1334 h 2089"/>
              <a:gd name="T28" fmla="*/ 1305 w 1680"/>
              <a:gd name="T29" fmla="*/ 1388 h 2089"/>
              <a:gd name="T30" fmla="*/ 1541 w 1680"/>
              <a:gd name="T31" fmla="*/ 1496 h 2089"/>
              <a:gd name="T32" fmla="*/ 1642 w 1680"/>
              <a:gd name="T33" fmla="*/ 1651 h 2089"/>
              <a:gd name="T34" fmla="*/ 1680 w 1680"/>
              <a:gd name="T35" fmla="*/ 1841 h 2089"/>
              <a:gd name="T36" fmla="*/ 1438 w 1680"/>
              <a:gd name="T37" fmla="*/ 2026 h 2089"/>
              <a:gd name="T38" fmla="*/ 840 w 1680"/>
              <a:gd name="T39" fmla="*/ 2089 h 2089"/>
              <a:gd name="T40" fmla="*/ 242 w 1680"/>
              <a:gd name="T41" fmla="*/ 2026 h 2089"/>
              <a:gd name="T42" fmla="*/ 0 w 1680"/>
              <a:gd name="T43" fmla="*/ 1841 h 2089"/>
              <a:gd name="T44" fmla="*/ 37 w 1680"/>
              <a:gd name="T45" fmla="*/ 1651 h 2089"/>
              <a:gd name="T46" fmla="*/ 138 w 1680"/>
              <a:gd name="T47" fmla="*/ 1496 h 2089"/>
              <a:gd name="T48" fmla="*/ 374 w 1680"/>
              <a:gd name="T49" fmla="*/ 1388 h 2089"/>
              <a:gd name="T50" fmla="*/ 500 w 1680"/>
              <a:gd name="T51" fmla="*/ 1334 h 2089"/>
              <a:gd name="T52" fmla="*/ 547 w 1680"/>
              <a:gd name="T53" fmla="*/ 1254 h 2089"/>
              <a:gd name="T54" fmla="*/ 560 w 1680"/>
              <a:gd name="T55" fmla="*/ 1145 h 2089"/>
              <a:gd name="T56" fmla="*/ 420 w 1680"/>
              <a:gd name="T57" fmla="*/ 871 h 2089"/>
              <a:gd name="T58" fmla="*/ 335 w 1680"/>
              <a:gd name="T59" fmla="*/ 632 h 2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80" h="2089">
                <a:moveTo>
                  <a:pt x="335" y="632"/>
                </a:moveTo>
                <a:cubicBezTo>
                  <a:pt x="320" y="392"/>
                  <a:pt x="320" y="392"/>
                  <a:pt x="320" y="392"/>
                </a:cubicBezTo>
                <a:cubicBezTo>
                  <a:pt x="318" y="371"/>
                  <a:pt x="321" y="343"/>
                  <a:pt x="324" y="322"/>
                </a:cubicBezTo>
                <a:cubicBezTo>
                  <a:pt x="340" y="222"/>
                  <a:pt x="396" y="142"/>
                  <a:pt x="472" y="87"/>
                </a:cubicBezTo>
                <a:cubicBezTo>
                  <a:pt x="546" y="33"/>
                  <a:pt x="641" y="3"/>
                  <a:pt x="738" y="1"/>
                </a:cubicBezTo>
                <a:cubicBezTo>
                  <a:pt x="819" y="0"/>
                  <a:pt x="884" y="13"/>
                  <a:pt x="953" y="56"/>
                </a:cubicBezTo>
                <a:cubicBezTo>
                  <a:pt x="989" y="42"/>
                  <a:pt x="1026" y="38"/>
                  <a:pt x="1062" y="42"/>
                </a:cubicBezTo>
                <a:cubicBezTo>
                  <a:pt x="1176" y="52"/>
                  <a:pt x="1280" y="138"/>
                  <a:pt x="1329" y="239"/>
                </a:cubicBezTo>
                <a:cubicBezTo>
                  <a:pt x="1352" y="286"/>
                  <a:pt x="1364" y="338"/>
                  <a:pt x="1360" y="389"/>
                </a:cubicBezTo>
                <a:cubicBezTo>
                  <a:pt x="1344" y="632"/>
                  <a:pt x="1344" y="632"/>
                  <a:pt x="1344" y="632"/>
                </a:cubicBezTo>
                <a:cubicBezTo>
                  <a:pt x="1366" y="719"/>
                  <a:pt x="1338" y="822"/>
                  <a:pt x="1259" y="871"/>
                </a:cubicBezTo>
                <a:cubicBezTo>
                  <a:pt x="1232" y="959"/>
                  <a:pt x="1182" y="1076"/>
                  <a:pt x="1120" y="1145"/>
                </a:cubicBezTo>
                <a:cubicBezTo>
                  <a:pt x="1121" y="1178"/>
                  <a:pt x="1124" y="1217"/>
                  <a:pt x="1132" y="1253"/>
                </a:cubicBezTo>
                <a:cubicBezTo>
                  <a:pt x="1140" y="1288"/>
                  <a:pt x="1154" y="1319"/>
                  <a:pt x="1178" y="1334"/>
                </a:cubicBezTo>
                <a:cubicBezTo>
                  <a:pt x="1228" y="1360"/>
                  <a:pt x="1250" y="1371"/>
                  <a:pt x="1305" y="1388"/>
                </a:cubicBezTo>
                <a:cubicBezTo>
                  <a:pt x="1379" y="1410"/>
                  <a:pt x="1490" y="1446"/>
                  <a:pt x="1541" y="1496"/>
                </a:cubicBezTo>
                <a:cubicBezTo>
                  <a:pt x="1585" y="1539"/>
                  <a:pt x="1619" y="1593"/>
                  <a:pt x="1642" y="1651"/>
                </a:cubicBezTo>
                <a:cubicBezTo>
                  <a:pt x="1667" y="1712"/>
                  <a:pt x="1680" y="1778"/>
                  <a:pt x="1680" y="1841"/>
                </a:cubicBezTo>
                <a:cubicBezTo>
                  <a:pt x="1680" y="1931"/>
                  <a:pt x="1578" y="1989"/>
                  <a:pt x="1438" y="2026"/>
                </a:cubicBezTo>
                <a:cubicBezTo>
                  <a:pt x="1252" y="2074"/>
                  <a:pt x="992" y="2089"/>
                  <a:pt x="840" y="2089"/>
                </a:cubicBezTo>
                <a:cubicBezTo>
                  <a:pt x="687" y="2089"/>
                  <a:pt x="428" y="2074"/>
                  <a:pt x="242" y="2026"/>
                </a:cubicBezTo>
                <a:cubicBezTo>
                  <a:pt x="101" y="1989"/>
                  <a:pt x="0" y="1931"/>
                  <a:pt x="0" y="1841"/>
                </a:cubicBezTo>
                <a:cubicBezTo>
                  <a:pt x="0" y="1778"/>
                  <a:pt x="12" y="1712"/>
                  <a:pt x="37" y="1651"/>
                </a:cubicBezTo>
                <a:cubicBezTo>
                  <a:pt x="60" y="1593"/>
                  <a:pt x="94" y="1539"/>
                  <a:pt x="138" y="1496"/>
                </a:cubicBezTo>
                <a:cubicBezTo>
                  <a:pt x="190" y="1446"/>
                  <a:pt x="300" y="1410"/>
                  <a:pt x="374" y="1388"/>
                </a:cubicBezTo>
                <a:cubicBezTo>
                  <a:pt x="425" y="1372"/>
                  <a:pt x="454" y="1361"/>
                  <a:pt x="500" y="1334"/>
                </a:cubicBezTo>
                <a:cubicBezTo>
                  <a:pt x="523" y="1321"/>
                  <a:pt x="538" y="1290"/>
                  <a:pt x="547" y="1254"/>
                </a:cubicBezTo>
                <a:cubicBezTo>
                  <a:pt x="555" y="1216"/>
                  <a:pt x="559" y="1183"/>
                  <a:pt x="560" y="1145"/>
                </a:cubicBezTo>
                <a:cubicBezTo>
                  <a:pt x="498" y="1076"/>
                  <a:pt x="447" y="959"/>
                  <a:pt x="420" y="871"/>
                </a:cubicBezTo>
                <a:cubicBezTo>
                  <a:pt x="342" y="822"/>
                  <a:pt x="313" y="719"/>
                  <a:pt x="335" y="6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1"/>
          </a:p>
        </p:txBody>
      </p:sp>
      <p:grpSp>
        <p:nvGrpSpPr>
          <p:cNvPr id="9" name="Group 8">
            <a:extLst>
              <a:ext uri="{FF2B5EF4-FFF2-40B4-BE49-F238E27FC236}">
                <a16:creationId xmlns:a16="http://schemas.microsoft.com/office/drawing/2014/main" xmlns="" id="{A127699D-ECC3-44CB-9BD8-F540FB849A40}"/>
              </a:ext>
            </a:extLst>
          </p:cNvPr>
          <p:cNvGrpSpPr/>
          <p:nvPr/>
        </p:nvGrpSpPr>
        <p:grpSpPr>
          <a:xfrm>
            <a:off x="1505602" y="4538844"/>
            <a:ext cx="351640" cy="341971"/>
            <a:chOff x="419843" y="3824317"/>
            <a:chExt cx="351640" cy="341971"/>
          </a:xfrm>
        </p:grpSpPr>
        <p:sp>
          <p:nvSpPr>
            <p:cNvPr id="134" name="Freeform 32">
              <a:extLst>
                <a:ext uri="{FF2B5EF4-FFF2-40B4-BE49-F238E27FC236}">
                  <a16:creationId xmlns:a16="http://schemas.microsoft.com/office/drawing/2014/main" xmlns="" id="{FA85223F-74C5-4F47-BE75-5F46C8E786CF}"/>
                </a:ext>
              </a:extLst>
            </p:cNvPr>
            <p:cNvSpPr>
              <a:spLocks noChangeAspect="1" noEditPoints="1"/>
            </p:cNvSpPr>
            <p:nvPr>
              <p:custDataLst>
                <p:tags r:id="rId13"/>
              </p:custDataLst>
            </p:nvPr>
          </p:nvSpPr>
          <p:spPr bwMode="auto">
            <a:xfrm>
              <a:off x="419843" y="3824317"/>
              <a:ext cx="351640" cy="341971"/>
            </a:xfrm>
            <a:custGeom>
              <a:avLst/>
              <a:gdLst>
                <a:gd name="T0" fmla="*/ 2552 w 4914"/>
                <a:gd name="T1" fmla="*/ 3780 h 4725"/>
                <a:gd name="T2" fmla="*/ 2552 w 4914"/>
                <a:gd name="T3" fmla="*/ 4536 h 4725"/>
                <a:gd name="T4" fmla="*/ 3591 w 4914"/>
                <a:gd name="T5" fmla="*/ 4536 h 4725"/>
                <a:gd name="T6" fmla="*/ 3591 w 4914"/>
                <a:gd name="T7" fmla="*/ 4725 h 4725"/>
                <a:gd name="T8" fmla="*/ 1323 w 4914"/>
                <a:gd name="T9" fmla="*/ 4725 h 4725"/>
                <a:gd name="T10" fmla="*/ 1323 w 4914"/>
                <a:gd name="T11" fmla="*/ 4536 h 4725"/>
                <a:gd name="T12" fmla="*/ 2363 w 4914"/>
                <a:gd name="T13" fmla="*/ 4536 h 4725"/>
                <a:gd name="T14" fmla="*/ 2363 w 4914"/>
                <a:gd name="T15" fmla="*/ 3780 h 4725"/>
                <a:gd name="T16" fmla="*/ 2552 w 4914"/>
                <a:gd name="T17" fmla="*/ 3780 h 4725"/>
                <a:gd name="T18" fmla="*/ 4914 w 4914"/>
                <a:gd name="T19" fmla="*/ 0 h 4725"/>
                <a:gd name="T20" fmla="*/ 4914 w 4914"/>
                <a:gd name="T21" fmla="*/ 3591 h 4725"/>
                <a:gd name="T22" fmla="*/ 0 w 4914"/>
                <a:gd name="T23" fmla="*/ 3591 h 4725"/>
                <a:gd name="T24" fmla="*/ 0 w 4914"/>
                <a:gd name="T25" fmla="*/ 0 h 4725"/>
                <a:gd name="T26" fmla="*/ 4914 w 4914"/>
                <a:gd name="T27" fmla="*/ 0 h 4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4914" h="4725">
                  <a:moveTo>
                    <a:pt x="2552" y="3780"/>
                  </a:moveTo>
                  <a:lnTo>
                    <a:pt x="2552" y="4536"/>
                  </a:lnTo>
                  <a:lnTo>
                    <a:pt x="3591" y="4536"/>
                  </a:lnTo>
                  <a:lnTo>
                    <a:pt x="3591" y="4725"/>
                  </a:lnTo>
                  <a:lnTo>
                    <a:pt x="1323" y="4725"/>
                  </a:lnTo>
                  <a:lnTo>
                    <a:pt x="1323" y="4536"/>
                  </a:lnTo>
                  <a:lnTo>
                    <a:pt x="2363" y="4536"/>
                  </a:lnTo>
                  <a:lnTo>
                    <a:pt x="2363" y="3780"/>
                  </a:lnTo>
                  <a:lnTo>
                    <a:pt x="2552" y="3780"/>
                  </a:lnTo>
                  <a:close/>
                  <a:moveTo>
                    <a:pt x="4914" y="0"/>
                  </a:moveTo>
                  <a:lnTo>
                    <a:pt x="4914" y="3591"/>
                  </a:lnTo>
                  <a:lnTo>
                    <a:pt x="0" y="3591"/>
                  </a:lnTo>
                  <a:lnTo>
                    <a:pt x="0" y="0"/>
                  </a:lnTo>
                  <a:lnTo>
                    <a:pt x="4914" y="0"/>
                  </a:lnTo>
                  <a:close/>
                </a:path>
              </a:pathLst>
            </a:custGeom>
            <a:solidFill>
              <a:schemeClr val="tx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000" dirty="0"/>
            </a:p>
          </p:txBody>
        </p:sp>
        <p:sp>
          <p:nvSpPr>
            <p:cNvPr id="135" name="Freeform 106">
              <a:extLst>
                <a:ext uri="{FF2B5EF4-FFF2-40B4-BE49-F238E27FC236}">
                  <a16:creationId xmlns:a16="http://schemas.microsoft.com/office/drawing/2014/main" xmlns="" id="{442053A7-FBDC-4DC9-BDF9-F11397CA0C42}"/>
                </a:ext>
              </a:extLst>
            </p:cNvPr>
            <p:cNvSpPr>
              <a:spLocks noChangeAspect="1"/>
            </p:cNvSpPr>
            <p:nvPr>
              <p:custDataLst>
                <p:tags r:id="rId14"/>
              </p:custDataLst>
            </p:nvPr>
          </p:nvSpPr>
          <p:spPr bwMode="auto">
            <a:xfrm>
              <a:off x="512102" y="3847786"/>
              <a:ext cx="167122" cy="210124"/>
            </a:xfrm>
            <a:custGeom>
              <a:avLst/>
              <a:gdLst>
                <a:gd name="T0" fmla="*/ 335 w 1680"/>
                <a:gd name="T1" fmla="*/ 632 h 2089"/>
                <a:gd name="T2" fmla="*/ 320 w 1680"/>
                <a:gd name="T3" fmla="*/ 392 h 2089"/>
                <a:gd name="T4" fmla="*/ 324 w 1680"/>
                <a:gd name="T5" fmla="*/ 322 h 2089"/>
                <a:gd name="T6" fmla="*/ 472 w 1680"/>
                <a:gd name="T7" fmla="*/ 87 h 2089"/>
                <a:gd name="T8" fmla="*/ 738 w 1680"/>
                <a:gd name="T9" fmla="*/ 1 h 2089"/>
                <a:gd name="T10" fmla="*/ 953 w 1680"/>
                <a:gd name="T11" fmla="*/ 56 h 2089"/>
                <a:gd name="T12" fmla="*/ 1062 w 1680"/>
                <a:gd name="T13" fmla="*/ 42 h 2089"/>
                <a:gd name="T14" fmla="*/ 1329 w 1680"/>
                <a:gd name="T15" fmla="*/ 239 h 2089"/>
                <a:gd name="T16" fmla="*/ 1360 w 1680"/>
                <a:gd name="T17" fmla="*/ 389 h 2089"/>
                <a:gd name="T18" fmla="*/ 1344 w 1680"/>
                <a:gd name="T19" fmla="*/ 632 h 2089"/>
                <a:gd name="T20" fmla="*/ 1259 w 1680"/>
                <a:gd name="T21" fmla="*/ 871 h 2089"/>
                <a:gd name="T22" fmla="*/ 1120 w 1680"/>
                <a:gd name="T23" fmla="*/ 1145 h 2089"/>
                <a:gd name="T24" fmla="*/ 1132 w 1680"/>
                <a:gd name="T25" fmla="*/ 1253 h 2089"/>
                <a:gd name="T26" fmla="*/ 1178 w 1680"/>
                <a:gd name="T27" fmla="*/ 1334 h 2089"/>
                <a:gd name="T28" fmla="*/ 1305 w 1680"/>
                <a:gd name="T29" fmla="*/ 1388 h 2089"/>
                <a:gd name="T30" fmla="*/ 1541 w 1680"/>
                <a:gd name="T31" fmla="*/ 1496 h 2089"/>
                <a:gd name="T32" fmla="*/ 1642 w 1680"/>
                <a:gd name="T33" fmla="*/ 1651 h 2089"/>
                <a:gd name="T34" fmla="*/ 1680 w 1680"/>
                <a:gd name="T35" fmla="*/ 1841 h 2089"/>
                <a:gd name="T36" fmla="*/ 1438 w 1680"/>
                <a:gd name="T37" fmla="*/ 2026 h 2089"/>
                <a:gd name="T38" fmla="*/ 840 w 1680"/>
                <a:gd name="T39" fmla="*/ 2089 h 2089"/>
                <a:gd name="T40" fmla="*/ 242 w 1680"/>
                <a:gd name="T41" fmla="*/ 2026 h 2089"/>
                <a:gd name="T42" fmla="*/ 0 w 1680"/>
                <a:gd name="T43" fmla="*/ 1841 h 2089"/>
                <a:gd name="T44" fmla="*/ 37 w 1680"/>
                <a:gd name="T45" fmla="*/ 1651 h 2089"/>
                <a:gd name="T46" fmla="*/ 138 w 1680"/>
                <a:gd name="T47" fmla="*/ 1496 h 2089"/>
                <a:gd name="T48" fmla="*/ 374 w 1680"/>
                <a:gd name="T49" fmla="*/ 1388 h 2089"/>
                <a:gd name="T50" fmla="*/ 500 w 1680"/>
                <a:gd name="T51" fmla="*/ 1334 h 2089"/>
                <a:gd name="T52" fmla="*/ 547 w 1680"/>
                <a:gd name="T53" fmla="*/ 1254 h 2089"/>
                <a:gd name="T54" fmla="*/ 560 w 1680"/>
                <a:gd name="T55" fmla="*/ 1145 h 2089"/>
                <a:gd name="T56" fmla="*/ 420 w 1680"/>
                <a:gd name="T57" fmla="*/ 871 h 2089"/>
                <a:gd name="T58" fmla="*/ 335 w 1680"/>
                <a:gd name="T59" fmla="*/ 632 h 20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680" h="2089">
                  <a:moveTo>
                    <a:pt x="335" y="632"/>
                  </a:moveTo>
                  <a:cubicBezTo>
                    <a:pt x="320" y="392"/>
                    <a:pt x="320" y="392"/>
                    <a:pt x="320" y="392"/>
                  </a:cubicBezTo>
                  <a:cubicBezTo>
                    <a:pt x="318" y="371"/>
                    <a:pt x="321" y="343"/>
                    <a:pt x="324" y="322"/>
                  </a:cubicBezTo>
                  <a:cubicBezTo>
                    <a:pt x="340" y="222"/>
                    <a:pt x="396" y="142"/>
                    <a:pt x="472" y="87"/>
                  </a:cubicBezTo>
                  <a:cubicBezTo>
                    <a:pt x="546" y="33"/>
                    <a:pt x="641" y="3"/>
                    <a:pt x="738" y="1"/>
                  </a:cubicBezTo>
                  <a:cubicBezTo>
                    <a:pt x="819" y="0"/>
                    <a:pt x="884" y="13"/>
                    <a:pt x="953" y="56"/>
                  </a:cubicBezTo>
                  <a:cubicBezTo>
                    <a:pt x="989" y="42"/>
                    <a:pt x="1026" y="38"/>
                    <a:pt x="1062" y="42"/>
                  </a:cubicBezTo>
                  <a:cubicBezTo>
                    <a:pt x="1176" y="52"/>
                    <a:pt x="1280" y="138"/>
                    <a:pt x="1329" y="239"/>
                  </a:cubicBezTo>
                  <a:cubicBezTo>
                    <a:pt x="1352" y="286"/>
                    <a:pt x="1364" y="338"/>
                    <a:pt x="1360" y="389"/>
                  </a:cubicBezTo>
                  <a:cubicBezTo>
                    <a:pt x="1344" y="632"/>
                    <a:pt x="1344" y="632"/>
                    <a:pt x="1344" y="632"/>
                  </a:cubicBezTo>
                  <a:cubicBezTo>
                    <a:pt x="1366" y="719"/>
                    <a:pt x="1338" y="822"/>
                    <a:pt x="1259" y="871"/>
                  </a:cubicBezTo>
                  <a:cubicBezTo>
                    <a:pt x="1232" y="959"/>
                    <a:pt x="1182" y="1076"/>
                    <a:pt x="1120" y="1145"/>
                  </a:cubicBezTo>
                  <a:cubicBezTo>
                    <a:pt x="1121" y="1178"/>
                    <a:pt x="1124" y="1217"/>
                    <a:pt x="1132" y="1253"/>
                  </a:cubicBezTo>
                  <a:cubicBezTo>
                    <a:pt x="1140" y="1288"/>
                    <a:pt x="1154" y="1319"/>
                    <a:pt x="1178" y="1334"/>
                  </a:cubicBezTo>
                  <a:cubicBezTo>
                    <a:pt x="1228" y="1360"/>
                    <a:pt x="1250" y="1371"/>
                    <a:pt x="1305" y="1388"/>
                  </a:cubicBezTo>
                  <a:cubicBezTo>
                    <a:pt x="1379" y="1410"/>
                    <a:pt x="1490" y="1446"/>
                    <a:pt x="1541" y="1496"/>
                  </a:cubicBezTo>
                  <a:cubicBezTo>
                    <a:pt x="1585" y="1539"/>
                    <a:pt x="1619" y="1593"/>
                    <a:pt x="1642" y="1651"/>
                  </a:cubicBezTo>
                  <a:cubicBezTo>
                    <a:pt x="1667" y="1712"/>
                    <a:pt x="1680" y="1778"/>
                    <a:pt x="1680" y="1841"/>
                  </a:cubicBezTo>
                  <a:cubicBezTo>
                    <a:pt x="1680" y="1931"/>
                    <a:pt x="1578" y="1989"/>
                    <a:pt x="1438" y="2026"/>
                  </a:cubicBezTo>
                  <a:cubicBezTo>
                    <a:pt x="1252" y="2074"/>
                    <a:pt x="992" y="2089"/>
                    <a:pt x="840" y="2089"/>
                  </a:cubicBezTo>
                  <a:cubicBezTo>
                    <a:pt x="687" y="2089"/>
                    <a:pt x="428" y="2074"/>
                    <a:pt x="242" y="2026"/>
                  </a:cubicBezTo>
                  <a:cubicBezTo>
                    <a:pt x="101" y="1989"/>
                    <a:pt x="0" y="1931"/>
                    <a:pt x="0" y="1841"/>
                  </a:cubicBezTo>
                  <a:cubicBezTo>
                    <a:pt x="0" y="1778"/>
                    <a:pt x="12" y="1712"/>
                    <a:pt x="37" y="1651"/>
                  </a:cubicBezTo>
                  <a:cubicBezTo>
                    <a:pt x="60" y="1593"/>
                    <a:pt x="94" y="1539"/>
                    <a:pt x="138" y="1496"/>
                  </a:cubicBezTo>
                  <a:cubicBezTo>
                    <a:pt x="190" y="1446"/>
                    <a:pt x="300" y="1410"/>
                    <a:pt x="374" y="1388"/>
                  </a:cubicBezTo>
                  <a:cubicBezTo>
                    <a:pt x="425" y="1372"/>
                    <a:pt x="454" y="1361"/>
                    <a:pt x="500" y="1334"/>
                  </a:cubicBezTo>
                  <a:cubicBezTo>
                    <a:pt x="523" y="1321"/>
                    <a:pt x="538" y="1290"/>
                    <a:pt x="547" y="1254"/>
                  </a:cubicBezTo>
                  <a:cubicBezTo>
                    <a:pt x="555" y="1216"/>
                    <a:pt x="559" y="1183"/>
                    <a:pt x="560" y="1145"/>
                  </a:cubicBezTo>
                  <a:cubicBezTo>
                    <a:pt x="498" y="1076"/>
                    <a:pt x="447" y="959"/>
                    <a:pt x="420" y="871"/>
                  </a:cubicBezTo>
                  <a:cubicBezTo>
                    <a:pt x="342" y="822"/>
                    <a:pt x="313" y="719"/>
                    <a:pt x="335" y="632"/>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US" noProof="1"/>
            </a:p>
          </p:txBody>
        </p:sp>
      </p:grpSp>
      <p:sp>
        <p:nvSpPr>
          <p:cNvPr id="136" name="Freeform 32">
            <a:extLst>
              <a:ext uri="{FF2B5EF4-FFF2-40B4-BE49-F238E27FC236}">
                <a16:creationId xmlns:a16="http://schemas.microsoft.com/office/drawing/2014/main" xmlns="" id="{4FA94274-444A-4CE8-AF50-D3EEF3E0D756}"/>
              </a:ext>
            </a:extLst>
          </p:cNvPr>
          <p:cNvSpPr>
            <a:spLocks noChangeAspect="1" noEditPoints="1"/>
          </p:cNvSpPr>
          <p:nvPr>
            <p:custDataLst>
              <p:tags r:id="rId6"/>
            </p:custDataLst>
          </p:nvPr>
        </p:nvSpPr>
        <p:spPr bwMode="auto">
          <a:xfrm>
            <a:off x="2321252" y="4538844"/>
            <a:ext cx="308275" cy="332862"/>
          </a:xfrm>
          <a:custGeom>
            <a:avLst/>
            <a:gdLst>
              <a:gd name="T0" fmla="*/ 236 w 1948"/>
              <a:gd name="T1" fmla="*/ 1580 h 2080"/>
              <a:gd name="T2" fmla="*/ 1608 w 1948"/>
              <a:gd name="T3" fmla="*/ 1520 h 2080"/>
              <a:gd name="T4" fmla="*/ 1933 w 1948"/>
              <a:gd name="T5" fmla="*/ 1960 h 2080"/>
              <a:gd name="T6" fmla="*/ 1864 w 1948"/>
              <a:gd name="T7" fmla="*/ 2080 h 2080"/>
              <a:gd name="T8" fmla="*/ 14 w 1948"/>
              <a:gd name="T9" fmla="*/ 2040 h 2080"/>
              <a:gd name="T10" fmla="*/ 1014 w 1948"/>
              <a:gd name="T11" fmla="*/ 1200 h 2080"/>
              <a:gd name="T12" fmla="*/ 1374 w 1948"/>
              <a:gd name="T13" fmla="*/ 1360 h 2080"/>
              <a:gd name="T14" fmla="*/ 574 w 1948"/>
              <a:gd name="T15" fmla="*/ 1440 h 2080"/>
              <a:gd name="T16" fmla="*/ 934 w 1948"/>
              <a:gd name="T17" fmla="*/ 1360 h 2080"/>
              <a:gd name="T18" fmla="*/ 94 w 1948"/>
              <a:gd name="T19" fmla="*/ 1200 h 2080"/>
              <a:gd name="T20" fmla="*/ 1854 w 1948"/>
              <a:gd name="T21" fmla="*/ 0 h 2080"/>
              <a:gd name="T22" fmla="*/ 1014 w 1948"/>
              <a:gd name="T23" fmla="*/ 1200 h 2080"/>
              <a:gd name="T24" fmla="*/ 294 w 1948"/>
              <a:gd name="T25" fmla="*/ 1920 h 2080"/>
              <a:gd name="T26" fmla="*/ 494 w 1948"/>
              <a:gd name="T27" fmla="*/ 1840 h 2080"/>
              <a:gd name="T28" fmla="*/ 1454 w 1948"/>
              <a:gd name="T29" fmla="*/ 1840 h 2080"/>
              <a:gd name="T30" fmla="*/ 1654 w 1948"/>
              <a:gd name="T31" fmla="*/ 1920 h 2080"/>
              <a:gd name="T32" fmla="*/ 1454 w 1948"/>
              <a:gd name="T33" fmla="*/ 1840 h 2080"/>
              <a:gd name="T34" fmla="*/ 374 w 1948"/>
              <a:gd name="T35" fmla="*/ 1760 h 2080"/>
              <a:gd name="T36" fmla="*/ 534 w 1948"/>
              <a:gd name="T37" fmla="*/ 1680 h 2080"/>
              <a:gd name="T38" fmla="*/ 614 w 1948"/>
              <a:gd name="T39" fmla="*/ 1680 h 2080"/>
              <a:gd name="T40" fmla="*/ 694 w 1948"/>
              <a:gd name="T41" fmla="*/ 1760 h 2080"/>
              <a:gd name="T42" fmla="*/ 614 w 1948"/>
              <a:gd name="T43" fmla="*/ 1680 h 2080"/>
              <a:gd name="T44" fmla="*/ 774 w 1948"/>
              <a:gd name="T45" fmla="*/ 1760 h 2080"/>
              <a:gd name="T46" fmla="*/ 854 w 1948"/>
              <a:gd name="T47" fmla="*/ 1680 h 2080"/>
              <a:gd name="T48" fmla="*/ 934 w 1948"/>
              <a:gd name="T49" fmla="*/ 1680 h 2080"/>
              <a:gd name="T50" fmla="*/ 1014 w 1948"/>
              <a:gd name="T51" fmla="*/ 1760 h 2080"/>
              <a:gd name="T52" fmla="*/ 934 w 1948"/>
              <a:gd name="T53" fmla="*/ 1680 h 2080"/>
              <a:gd name="T54" fmla="*/ 1094 w 1948"/>
              <a:gd name="T55" fmla="*/ 1760 h 2080"/>
              <a:gd name="T56" fmla="*/ 1174 w 1948"/>
              <a:gd name="T57" fmla="*/ 1680 h 2080"/>
              <a:gd name="T58" fmla="*/ 1254 w 1948"/>
              <a:gd name="T59" fmla="*/ 1680 h 2080"/>
              <a:gd name="T60" fmla="*/ 1334 w 1948"/>
              <a:gd name="T61" fmla="*/ 1760 h 2080"/>
              <a:gd name="T62" fmla="*/ 1254 w 1948"/>
              <a:gd name="T63" fmla="*/ 1680 h 2080"/>
              <a:gd name="T64" fmla="*/ 1414 w 1948"/>
              <a:gd name="T65" fmla="*/ 1760 h 2080"/>
              <a:gd name="T66" fmla="*/ 1574 w 1948"/>
              <a:gd name="T67" fmla="*/ 1680 h 2080"/>
              <a:gd name="T68" fmla="*/ 574 w 1948"/>
              <a:gd name="T69" fmla="*/ 1840 h 2080"/>
              <a:gd name="T70" fmla="*/ 1374 w 1948"/>
              <a:gd name="T71" fmla="*/ 1920 h 2080"/>
              <a:gd name="T72" fmla="*/ 574 w 1948"/>
              <a:gd name="T73" fmla="*/ 184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948" h="2080">
                <a:moveTo>
                  <a:pt x="14" y="1960"/>
                </a:moveTo>
                <a:cubicBezTo>
                  <a:pt x="236" y="1580"/>
                  <a:pt x="236" y="1580"/>
                  <a:pt x="236" y="1580"/>
                </a:cubicBezTo>
                <a:cubicBezTo>
                  <a:pt x="258" y="1543"/>
                  <a:pt x="296" y="1520"/>
                  <a:pt x="340" y="1520"/>
                </a:cubicBezTo>
                <a:cubicBezTo>
                  <a:pt x="1608" y="1520"/>
                  <a:pt x="1608" y="1520"/>
                  <a:pt x="1608" y="1520"/>
                </a:cubicBezTo>
                <a:cubicBezTo>
                  <a:pt x="1651" y="1520"/>
                  <a:pt x="1690" y="1543"/>
                  <a:pt x="1711" y="1580"/>
                </a:cubicBezTo>
                <a:cubicBezTo>
                  <a:pt x="1933" y="1960"/>
                  <a:pt x="1933" y="1960"/>
                  <a:pt x="1933" y="1960"/>
                </a:cubicBezTo>
                <a:cubicBezTo>
                  <a:pt x="1948" y="1985"/>
                  <a:pt x="1948" y="2015"/>
                  <a:pt x="1933" y="2040"/>
                </a:cubicBezTo>
                <a:cubicBezTo>
                  <a:pt x="1919" y="2065"/>
                  <a:pt x="1893" y="2080"/>
                  <a:pt x="1864" y="2080"/>
                </a:cubicBezTo>
                <a:cubicBezTo>
                  <a:pt x="83" y="2080"/>
                  <a:pt x="83" y="2080"/>
                  <a:pt x="83" y="2080"/>
                </a:cubicBezTo>
                <a:cubicBezTo>
                  <a:pt x="54" y="2080"/>
                  <a:pt x="28" y="2065"/>
                  <a:pt x="14" y="2040"/>
                </a:cubicBezTo>
                <a:cubicBezTo>
                  <a:pt x="0" y="2015"/>
                  <a:pt x="0" y="1985"/>
                  <a:pt x="14" y="1960"/>
                </a:cubicBezTo>
                <a:close/>
                <a:moveTo>
                  <a:pt x="1014" y="1200"/>
                </a:moveTo>
                <a:cubicBezTo>
                  <a:pt x="1014" y="1360"/>
                  <a:pt x="1014" y="1360"/>
                  <a:pt x="1014" y="1360"/>
                </a:cubicBezTo>
                <a:cubicBezTo>
                  <a:pt x="1374" y="1360"/>
                  <a:pt x="1374" y="1360"/>
                  <a:pt x="1374" y="1360"/>
                </a:cubicBezTo>
                <a:cubicBezTo>
                  <a:pt x="1374" y="1440"/>
                  <a:pt x="1374" y="1440"/>
                  <a:pt x="1374" y="1440"/>
                </a:cubicBezTo>
                <a:cubicBezTo>
                  <a:pt x="574" y="1440"/>
                  <a:pt x="574" y="1440"/>
                  <a:pt x="574" y="1440"/>
                </a:cubicBezTo>
                <a:cubicBezTo>
                  <a:pt x="574" y="1360"/>
                  <a:pt x="574" y="1360"/>
                  <a:pt x="574" y="1360"/>
                </a:cubicBezTo>
                <a:cubicBezTo>
                  <a:pt x="934" y="1360"/>
                  <a:pt x="934" y="1360"/>
                  <a:pt x="934" y="1360"/>
                </a:cubicBezTo>
                <a:cubicBezTo>
                  <a:pt x="934" y="1200"/>
                  <a:pt x="934" y="1200"/>
                  <a:pt x="934" y="1200"/>
                </a:cubicBezTo>
                <a:cubicBezTo>
                  <a:pt x="94" y="1200"/>
                  <a:pt x="94" y="1200"/>
                  <a:pt x="94" y="1200"/>
                </a:cubicBezTo>
                <a:cubicBezTo>
                  <a:pt x="94" y="0"/>
                  <a:pt x="94" y="0"/>
                  <a:pt x="94" y="0"/>
                </a:cubicBezTo>
                <a:cubicBezTo>
                  <a:pt x="1854" y="0"/>
                  <a:pt x="1854" y="0"/>
                  <a:pt x="1854" y="0"/>
                </a:cubicBezTo>
                <a:cubicBezTo>
                  <a:pt x="1854" y="1200"/>
                  <a:pt x="1854" y="1200"/>
                  <a:pt x="1854" y="1200"/>
                </a:cubicBezTo>
                <a:lnTo>
                  <a:pt x="1014" y="1200"/>
                </a:lnTo>
                <a:close/>
                <a:moveTo>
                  <a:pt x="294" y="1840"/>
                </a:moveTo>
                <a:cubicBezTo>
                  <a:pt x="294" y="1920"/>
                  <a:pt x="294" y="1920"/>
                  <a:pt x="294" y="1920"/>
                </a:cubicBezTo>
                <a:cubicBezTo>
                  <a:pt x="494" y="1920"/>
                  <a:pt x="494" y="1920"/>
                  <a:pt x="494" y="1920"/>
                </a:cubicBezTo>
                <a:cubicBezTo>
                  <a:pt x="494" y="1840"/>
                  <a:pt x="494" y="1840"/>
                  <a:pt x="494" y="1840"/>
                </a:cubicBezTo>
                <a:lnTo>
                  <a:pt x="294" y="1840"/>
                </a:lnTo>
                <a:close/>
                <a:moveTo>
                  <a:pt x="1454" y="1840"/>
                </a:moveTo>
                <a:cubicBezTo>
                  <a:pt x="1454" y="1920"/>
                  <a:pt x="1454" y="1920"/>
                  <a:pt x="1454" y="1920"/>
                </a:cubicBezTo>
                <a:cubicBezTo>
                  <a:pt x="1654" y="1920"/>
                  <a:pt x="1654" y="1920"/>
                  <a:pt x="1654" y="1920"/>
                </a:cubicBezTo>
                <a:cubicBezTo>
                  <a:pt x="1654" y="1840"/>
                  <a:pt x="1654" y="1840"/>
                  <a:pt x="1654" y="1840"/>
                </a:cubicBezTo>
                <a:lnTo>
                  <a:pt x="1454" y="1840"/>
                </a:lnTo>
                <a:close/>
                <a:moveTo>
                  <a:pt x="374" y="1680"/>
                </a:moveTo>
                <a:cubicBezTo>
                  <a:pt x="374" y="1760"/>
                  <a:pt x="374" y="1760"/>
                  <a:pt x="374" y="1760"/>
                </a:cubicBezTo>
                <a:cubicBezTo>
                  <a:pt x="534" y="1760"/>
                  <a:pt x="534" y="1760"/>
                  <a:pt x="534" y="1760"/>
                </a:cubicBezTo>
                <a:cubicBezTo>
                  <a:pt x="534" y="1680"/>
                  <a:pt x="534" y="1680"/>
                  <a:pt x="534" y="1680"/>
                </a:cubicBezTo>
                <a:lnTo>
                  <a:pt x="374" y="1680"/>
                </a:lnTo>
                <a:close/>
                <a:moveTo>
                  <a:pt x="614" y="1680"/>
                </a:moveTo>
                <a:cubicBezTo>
                  <a:pt x="614" y="1760"/>
                  <a:pt x="614" y="1760"/>
                  <a:pt x="614" y="1760"/>
                </a:cubicBezTo>
                <a:cubicBezTo>
                  <a:pt x="694" y="1760"/>
                  <a:pt x="694" y="1760"/>
                  <a:pt x="694" y="1760"/>
                </a:cubicBezTo>
                <a:cubicBezTo>
                  <a:pt x="694" y="1680"/>
                  <a:pt x="694" y="1680"/>
                  <a:pt x="694" y="1680"/>
                </a:cubicBezTo>
                <a:lnTo>
                  <a:pt x="614" y="1680"/>
                </a:lnTo>
                <a:close/>
                <a:moveTo>
                  <a:pt x="774" y="1680"/>
                </a:moveTo>
                <a:cubicBezTo>
                  <a:pt x="774" y="1760"/>
                  <a:pt x="774" y="1760"/>
                  <a:pt x="774" y="1760"/>
                </a:cubicBezTo>
                <a:cubicBezTo>
                  <a:pt x="854" y="1760"/>
                  <a:pt x="854" y="1760"/>
                  <a:pt x="854" y="1760"/>
                </a:cubicBezTo>
                <a:cubicBezTo>
                  <a:pt x="854" y="1680"/>
                  <a:pt x="854" y="1680"/>
                  <a:pt x="854" y="1680"/>
                </a:cubicBezTo>
                <a:lnTo>
                  <a:pt x="774" y="1680"/>
                </a:lnTo>
                <a:close/>
                <a:moveTo>
                  <a:pt x="934" y="1680"/>
                </a:moveTo>
                <a:cubicBezTo>
                  <a:pt x="934" y="1760"/>
                  <a:pt x="934" y="1760"/>
                  <a:pt x="934" y="1760"/>
                </a:cubicBezTo>
                <a:cubicBezTo>
                  <a:pt x="1014" y="1760"/>
                  <a:pt x="1014" y="1760"/>
                  <a:pt x="1014" y="1760"/>
                </a:cubicBezTo>
                <a:cubicBezTo>
                  <a:pt x="1014" y="1680"/>
                  <a:pt x="1014" y="1680"/>
                  <a:pt x="1014" y="1680"/>
                </a:cubicBezTo>
                <a:lnTo>
                  <a:pt x="934" y="1680"/>
                </a:lnTo>
                <a:close/>
                <a:moveTo>
                  <a:pt x="1094" y="1680"/>
                </a:moveTo>
                <a:cubicBezTo>
                  <a:pt x="1094" y="1760"/>
                  <a:pt x="1094" y="1760"/>
                  <a:pt x="1094" y="1760"/>
                </a:cubicBezTo>
                <a:cubicBezTo>
                  <a:pt x="1174" y="1760"/>
                  <a:pt x="1174" y="1760"/>
                  <a:pt x="1174" y="1760"/>
                </a:cubicBezTo>
                <a:cubicBezTo>
                  <a:pt x="1174" y="1680"/>
                  <a:pt x="1174" y="1680"/>
                  <a:pt x="1174" y="1680"/>
                </a:cubicBezTo>
                <a:lnTo>
                  <a:pt x="1094" y="1680"/>
                </a:lnTo>
                <a:close/>
                <a:moveTo>
                  <a:pt x="1254" y="1680"/>
                </a:moveTo>
                <a:cubicBezTo>
                  <a:pt x="1254" y="1760"/>
                  <a:pt x="1254" y="1760"/>
                  <a:pt x="1254" y="1760"/>
                </a:cubicBezTo>
                <a:cubicBezTo>
                  <a:pt x="1334" y="1760"/>
                  <a:pt x="1334" y="1760"/>
                  <a:pt x="1334" y="1760"/>
                </a:cubicBezTo>
                <a:cubicBezTo>
                  <a:pt x="1334" y="1680"/>
                  <a:pt x="1334" y="1680"/>
                  <a:pt x="1334" y="1680"/>
                </a:cubicBezTo>
                <a:lnTo>
                  <a:pt x="1254" y="1680"/>
                </a:lnTo>
                <a:close/>
                <a:moveTo>
                  <a:pt x="1414" y="1680"/>
                </a:moveTo>
                <a:cubicBezTo>
                  <a:pt x="1414" y="1760"/>
                  <a:pt x="1414" y="1760"/>
                  <a:pt x="1414" y="1760"/>
                </a:cubicBezTo>
                <a:cubicBezTo>
                  <a:pt x="1574" y="1760"/>
                  <a:pt x="1574" y="1760"/>
                  <a:pt x="1574" y="1760"/>
                </a:cubicBezTo>
                <a:cubicBezTo>
                  <a:pt x="1574" y="1680"/>
                  <a:pt x="1574" y="1680"/>
                  <a:pt x="1574" y="1680"/>
                </a:cubicBezTo>
                <a:lnTo>
                  <a:pt x="1414" y="1680"/>
                </a:lnTo>
                <a:close/>
                <a:moveTo>
                  <a:pt x="574" y="1840"/>
                </a:moveTo>
                <a:cubicBezTo>
                  <a:pt x="574" y="1920"/>
                  <a:pt x="574" y="1920"/>
                  <a:pt x="574" y="1920"/>
                </a:cubicBezTo>
                <a:cubicBezTo>
                  <a:pt x="1374" y="1920"/>
                  <a:pt x="1374" y="1920"/>
                  <a:pt x="1374" y="1920"/>
                </a:cubicBezTo>
                <a:cubicBezTo>
                  <a:pt x="1374" y="1840"/>
                  <a:pt x="1374" y="1840"/>
                  <a:pt x="1374" y="1840"/>
                </a:cubicBezTo>
                <a:lnTo>
                  <a:pt x="574" y="1840"/>
                </a:lnTo>
                <a:close/>
              </a:path>
            </a:pathLst>
          </a:custGeom>
          <a:solidFill>
            <a:schemeClr val="tx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000" noProof="1"/>
          </a:p>
        </p:txBody>
      </p:sp>
      <p:sp>
        <p:nvSpPr>
          <p:cNvPr id="137" name="Freeform 45">
            <a:extLst>
              <a:ext uri="{FF2B5EF4-FFF2-40B4-BE49-F238E27FC236}">
                <a16:creationId xmlns:a16="http://schemas.microsoft.com/office/drawing/2014/main" xmlns="" id="{D91856FC-D7A6-42F6-96C7-93DD5FDE5362}"/>
              </a:ext>
            </a:extLst>
          </p:cNvPr>
          <p:cNvSpPr>
            <a:spLocks noChangeAspect="1" noEditPoints="1"/>
          </p:cNvSpPr>
          <p:nvPr>
            <p:custDataLst>
              <p:tags r:id="rId7"/>
            </p:custDataLst>
          </p:nvPr>
        </p:nvSpPr>
        <p:spPr bwMode="auto">
          <a:xfrm>
            <a:off x="3151542" y="4532241"/>
            <a:ext cx="219786" cy="327233"/>
          </a:xfrm>
          <a:custGeom>
            <a:avLst/>
            <a:gdLst>
              <a:gd name="T0" fmla="*/ 600 w 1440"/>
              <a:gd name="T1" fmla="*/ 240 h 2120"/>
              <a:gd name="T2" fmla="*/ 840 w 1440"/>
              <a:gd name="T3" fmla="*/ 240 h 2120"/>
              <a:gd name="T4" fmla="*/ 880 w 1440"/>
              <a:gd name="T5" fmla="*/ 200 h 2120"/>
              <a:gd name="T6" fmla="*/ 840 w 1440"/>
              <a:gd name="T7" fmla="*/ 160 h 2120"/>
              <a:gd name="T8" fmla="*/ 600 w 1440"/>
              <a:gd name="T9" fmla="*/ 160 h 2120"/>
              <a:gd name="T10" fmla="*/ 560 w 1440"/>
              <a:gd name="T11" fmla="*/ 200 h 2120"/>
              <a:gd name="T12" fmla="*/ 600 w 1440"/>
              <a:gd name="T13" fmla="*/ 240 h 2120"/>
              <a:gd name="T14" fmla="*/ 721 w 1440"/>
              <a:gd name="T15" fmla="*/ 1759 h 2120"/>
              <a:gd name="T16" fmla="*/ 601 w 1440"/>
              <a:gd name="T17" fmla="*/ 1879 h 2120"/>
              <a:gd name="T18" fmla="*/ 721 w 1440"/>
              <a:gd name="T19" fmla="*/ 1999 h 2120"/>
              <a:gd name="T20" fmla="*/ 841 w 1440"/>
              <a:gd name="T21" fmla="*/ 1879 h 2120"/>
              <a:gd name="T22" fmla="*/ 721 w 1440"/>
              <a:gd name="T23" fmla="*/ 1759 h 2120"/>
              <a:gd name="T24" fmla="*/ 200 w 1440"/>
              <a:gd name="T25" fmla="*/ 0 h 2120"/>
              <a:gd name="T26" fmla="*/ 1240 w 1440"/>
              <a:gd name="T27" fmla="*/ 0 h 2120"/>
              <a:gd name="T28" fmla="*/ 1440 w 1440"/>
              <a:gd name="T29" fmla="*/ 200 h 2120"/>
              <a:gd name="T30" fmla="*/ 1440 w 1440"/>
              <a:gd name="T31" fmla="*/ 1920 h 2120"/>
              <a:gd name="T32" fmla="*/ 1240 w 1440"/>
              <a:gd name="T33" fmla="*/ 2120 h 2120"/>
              <a:gd name="T34" fmla="*/ 200 w 1440"/>
              <a:gd name="T35" fmla="*/ 2120 h 2120"/>
              <a:gd name="T36" fmla="*/ 0 w 1440"/>
              <a:gd name="T37" fmla="*/ 1920 h 2120"/>
              <a:gd name="T38" fmla="*/ 0 w 1440"/>
              <a:gd name="T39" fmla="*/ 200 h 2120"/>
              <a:gd name="T40" fmla="*/ 200 w 1440"/>
              <a:gd name="T41" fmla="*/ 0 h 2120"/>
              <a:gd name="T42" fmla="*/ 200 w 1440"/>
              <a:gd name="T43" fmla="*/ 360 h 2120"/>
              <a:gd name="T44" fmla="*/ 200 w 1440"/>
              <a:gd name="T45" fmla="*/ 1680 h 2120"/>
              <a:gd name="T46" fmla="*/ 1240 w 1440"/>
              <a:gd name="T47" fmla="*/ 1680 h 2120"/>
              <a:gd name="T48" fmla="*/ 1240 w 1440"/>
              <a:gd name="T49" fmla="*/ 360 h 2120"/>
              <a:gd name="T50" fmla="*/ 200 w 1440"/>
              <a:gd name="T51" fmla="*/ 360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0" h="2120">
                <a:moveTo>
                  <a:pt x="600" y="240"/>
                </a:moveTo>
                <a:cubicBezTo>
                  <a:pt x="840" y="240"/>
                  <a:pt x="840" y="240"/>
                  <a:pt x="840" y="240"/>
                </a:cubicBezTo>
                <a:cubicBezTo>
                  <a:pt x="862" y="240"/>
                  <a:pt x="880" y="222"/>
                  <a:pt x="880" y="200"/>
                </a:cubicBezTo>
                <a:cubicBezTo>
                  <a:pt x="880" y="178"/>
                  <a:pt x="862" y="160"/>
                  <a:pt x="840" y="160"/>
                </a:cubicBezTo>
                <a:cubicBezTo>
                  <a:pt x="600" y="160"/>
                  <a:pt x="600" y="160"/>
                  <a:pt x="600" y="160"/>
                </a:cubicBezTo>
                <a:cubicBezTo>
                  <a:pt x="578" y="160"/>
                  <a:pt x="560" y="178"/>
                  <a:pt x="560" y="200"/>
                </a:cubicBezTo>
                <a:cubicBezTo>
                  <a:pt x="560" y="222"/>
                  <a:pt x="578" y="240"/>
                  <a:pt x="600" y="240"/>
                </a:cubicBezTo>
                <a:close/>
                <a:moveTo>
                  <a:pt x="721" y="1759"/>
                </a:moveTo>
                <a:cubicBezTo>
                  <a:pt x="655" y="1759"/>
                  <a:pt x="601" y="1813"/>
                  <a:pt x="601" y="1879"/>
                </a:cubicBezTo>
                <a:cubicBezTo>
                  <a:pt x="601" y="1945"/>
                  <a:pt x="655" y="1999"/>
                  <a:pt x="721" y="1999"/>
                </a:cubicBezTo>
                <a:cubicBezTo>
                  <a:pt x="787" y="1999"/>
                  <a:pt x="841" y="1945"/>
                  <a:pt x="841" y="1879"/>
                </a:cubicBezTo>
                <a:cubicBezTo>
                  <a:pt x="841" y="1813"/>
                  <a:pt x="787" y="1759"/>
                  <a:pt x="721" y="1759"/>
                </a:cubicBezTo>
                <a:close/>
                <a:moveTo>
                  <a:pt x="200" y="0"/>
                </a:moveTo>
                <a:cubicBezTo>
                  <a:pt x="1240" y="0"/>
                  <a:pt x="1240" y="0"/>
                  <a:pt x="1240" y="0"/>
                </a:cubicBezTo>
                <a:cubicBezTo>
                  <a:pt x="1350" y="0"/>
                  <a:pt x="1440" y="90"/>
                  <a:pt x="1440" y="200"/>
                </a:cubicBezTo>
                <a:cubicBezTo>
                  <a:pt x="1440" y="1920"/>
                  <a:pt x="1440" y="1920"/>
                  <a:pt x="1440" y="1920"/>
                </a:cubicBezTo>
                <a:cubicBezTo>
                  <a:pt x="1440" y="2030"/>
                  <a:pt x="1350" y="2120"/>
                  <a:pt x="1240" y="2120"/>
                </a:cubicBezTo>
                <a:cubicBezTo>
                  <a:pt x="200" y="2120"/>
                  <a:pt x="200" y="2120"/>
                  <a:pt x="200" y="2120"/>
                </a:cubicBezTo>
                <a:cubicBezTo>
                  <a:pt x="90" y="2120"/>
                  <a:pt x="0" y="2030"/>
                  <a:pt x="0" y="1920"/>
                </a:cubicBezTo>
                <a:cubicBezTo>
                  <a:pt x="0" y="200"/>
                  <a:pt x="0" y="200"/>
                  <a:pt x="0" y="200"/>
                </a:cubicBezTo>
                <a:cubicBezTo>
                  <a:pt x="0" y="90"/>
                  <a:pt x="90" y="0"/>
                  <a:pt x="200" y="0"/>
                </a:cubicBezTo>
                <a:close/>
                <a:moveTo>
                  <a:pt x="200" y="360"/>
                </a:moveTo>
                <a:cubicBezTo>
                  <a:pt x="200" y="1680"/>
                  <a:pt x="200" y="1680"/>
                  <a:pt x="200" y="1680"/>
                </a:cubicBezTo>
                <a:cubicBezTo>
                  <a:pt x="1240" y="1680"/>
                  <a:pt x="1240" y="1680"/>
                  <a:pt x="1240" y="1680"/>
                </a:cubicBezTo>
                <a:cubicBezTo>
                  <a:pt x="1240" y="360"/>
                  <a:pt x="1240" y="360"/>
                  <a:pt x="1240" y="360"/>
                </a:cubicBezTo>
                <a:lnTo>
                  <a:pt x="200" y="360"/>
                </a:lnTo>
                <a:close/>
              </a:path>
            </a:pathLst>
          </a:custGeom>
          <a:solidFill>
            <a:schemeClr val="tx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000" noProof="1"/>
          </a:p>
        </p:txBody>
      </p:sp>
      <p:grpSp>
        <p:nvGrpSpPr>
          <p:cNvPr id="10" name="Group 9">
            <a:extLst>
              <a:ext uri="{FF2B5EF4-FFF2-40B4-BE49-F238E27FC236}">
                <a16:creationId xmlns:a16="http://schemas.microsoft.com/office/drawing/2014/main" xmlns="" id="{BB09AD17-570B-4727-B389-CB5BACA62165}"/>
              </a:ext>
            </a:extLst>
          </p:cNvPr>
          <p:cNvGrpSpPr/>
          <p:nvPr/>
        </p:nvGrpSpPr>
        <p:grpSpPr>
          <a:xfrm>
            <a:off x="3881673" y="4609487"/>
            <a:ext cx="366093" cy="123022"/>
            <a:chOff x="420051" y="4092282"/>
            <a:chExt cx="366093" cy="123022"/>
          </a:xfrm>
        </p:grpSpPr>
        <p:sp>
          <p:nvSpPr>
            <p:cNvPr id="138" name="Freeform 86">
              <a:extLst>
                <a:ext uri="{FF2B5EF4-FFF2-40B4-BE49-F238E27FC236}">
                  <a16:creationId xmlns:a16="http://schemas.microsoft.com/office/drawing/2014/main" xmlns="" id="{67F832AC-A741-4FAA-AF40-DDA3CF42D8A5}"/>
                </a:ext>
              </a:extLst>
            </p:cNvPr>
            <p:cNvSpPr>
              <a:spLocks/>
            </p:cNvSpPr>
            <p:nvPr/>
          </p:nvSpPr>
          <p:spPr bwMode="auto">
            <a:xfrm>
              <a:off x="429021" y="4092282"/>
              <a:ext cx="357123" cy="96847"/>
            </a:xfrm>
            <a:custGeom>
              <a:avLst/>
              <a:gdLst>
                <a:gd name="T0" fmla="*/ 1622 w 2224"/>
                <a:gd name="T1" fmla="*/ 227 h 606"/>
                <a:gd name="T2" fmla="*/ 1592 w 2224"/>
                <a:gd name="T3" fmla="*/ 287 h 606"/>
                <a:gd name="T4" fmla="*/ 1577 w 2224"/>
                <a:gd name="T5" fmla="*/ 296 h 606"/>
                <a:gd name="T6" fmla="*/ 1569 w 2224"/>
                <a:gd name="T7" fmla="*/ 294 h 606"/>
                <a:gd name="T8" fmla="*/ 1562 w 2224"/>
                <a:gd name="T9" fmla="*/ 273 h 606"/>
                <a:gd name="T10" fmla="*/ 1590 w 2224"/>
                <a:gd name="T11" fmla="*/ 218 h 606"/>
                <a:gd name="T12" fmla="*/ 1582 w 2224"/>
                <a:gd name="T13" fmla="*/ 215 h 606"/>
                <a:gd name="T14" fmla="*/ 1527 w 2224"/>
                <a:gd name="T15" fmla="*/ 196 h 606"/>
                <a:gd name="T16" fmla="*/ 1499 w 2224"/>
                <a:gd name="T17" fmla="*/ 251 h 606"/>
                <a:gd name="T18" fmla="*/ 1485 w 2224"/>
                <a:gd name="T19" fmla="*/ 260 h 606"/>
                <a:gd name="T20" fmla="*/ 1477 w 2224"/>
                <a:gd name="T21" fmla="*/ 258 h 606"/>
                <a:gd name="T22" fmla="*/ 1470 w 2224"/>
                <a:gd name="T23" fmla="*/ 237 h 606"/>
                <a:gd name="T24" fmla="*/ 1496 w 2224"/>
                <a:gd name="T25" fmla="*/ 185 h 606"/>
                <a:gd name="T26" fmla="*/ 1434 w 2224"/>
                <a:gd name="T27" fmla="*/ 159 h 606"/>
                <a:gd name="T28" fmla="*/ 1406 w 2224"/>
                <a:gd name="T29" fmla="*/ 214 h 606"/>
                <a:gd name="T30" fmla="*/ 1391 w 2224"/>
                <a:gd name="T31" fmla="*/ 223 h 606"/>
                <a:gd name="T32" fmla="*/ 1384 w 2224"/>
                <a:gd name="T33" fmla="*/ 221 h 606"/>
                <a:gd name="T34" fmla="*/ 1377 w 2224"/>
                <a:gd name="T35" fmla="*/ 200 h 606"/>
                <a:gd name="T36" fmla="*/ 1403 w 2224"/>
                <a:gd name="T37" fmla="*/ 147 h 606"/>
                <a:gd name="T38" fmla="*/ 1342 w 2224"/>
                <a:gd name="T39" fmla="*/ 120 h 606"/>
                <a:gd name="T40" fmla="*/ 1313 w 2224"/>
                <a:gd name="T41" fmla="*/ 178 h 606"/>
                <a:gd name="T42" fmla="*/ 1298 w 2224"/>
                <a:gd name="T43" fmla="*/ 187 h 606"/>
                <a:gd name="T44" fmla="*/ 1291 w 2224"/>
                <a:gd name="T45" fmla="*/ 185 h 606"/>
                <a:gd name="T46" fmla="*/ 1283 w 2224"/>
                <a:gd name="T47" fmla="*/ 164 h 606"/>
                <a:gd name="T48" fmla="*/ 1312 w 2224"/>
                <a:gd name="T49" fmla="*/ 107 h 606"/>
                <a:gd name="T50" fmla="*/ 1251 w 2224"/>
                <a:gd name="T51" fmla="*/ 80 h 606"/>
                <a:gd name="T52" fmla="*/ 1221 w 2224"/>
                <a:gd name="T53" fmla="*/ 142 h 606"/>
                <a:gd name="T54" fmla="*/ 1206 w 2224"/>
                <a:gd name="T55" fmla="*/ 151 h 606"/>
                <a:gd name="T56" fmla="*/ 1198 w 2224"/>
                <a:gd name="T57" fmla="*/ 149 h 606"/>
                <a:gd name="T58" fmla="*/ 1191 w 2224"/>
                <a:gd name="T59" fmla="*/ 128 h 606"/>
                <a:gd name="T60" fmla="*/ 1222 w 2224"/>
                <a:gd name="T61" fmla="*/ 68 h 606"/>
                <a:gd name="T62" fmla="*/ 1161 w 2224"/>
                <a:gd name="T63" fmla="*/ 41 h 606"/>
                <a:gd name="T64" fmla="*/ 1128 w 2224"/>
                <a:gd name="T65" fmla="*/ 106 h 606"/>
                <a:gd name="T66" fmla="*/ 1114 w 2224"/>
                <a:gd name="T67" fmla="*/ 115 h 606"/>
                <a:gd name="T68" fmla="*/ 1106 w 2224"/>
                <a:gd name="T69" fmla="*/ 113 h 606"/>
                <a:gd name="T70" fmla="*/ 1099 w 2224"/>
                <a:gd name="T71" fmla="*/ 92 h 606"/>
                <a:gd name="T72" fmla="*/ 1130 w 2224"/>
                <a:gd name="T73" fmla="*/ 29 h 606"/>
                <a:gd name="T74" fmla="*/ 1056 w 2224"/>
                <a:gd name="T75" fmla="*/ 0 h 606"/>
                <a:gd name="T76" fmla="*/ 533 w 2224"/>
                <a:gd name="T77" fmla="*/ 212 h 606"/>
                <a:gd name="T78" fmla="*/ 133 w 2224"/>
                <a:gd name="T79" fmla="*/ 97 h 606"/>
                <a:gd name="T80" fmla="*/ 115 w 2224"/>
                <a:gd name="T81" fmla="*/ 127 h 606"/>
                <a:gd name="T82" fmla="*/ 26 w 2224"/>
                <a:gd name="T83" fmla="*/ 571 h 606"/>
                <a:gd name="T84" fmla="*/ 1159 w 2224"/>
                <a:gd name="T85" fmla="*/ 606 h 606"/>
                <a:gd name="T86" fmla="*/ 2224 w 2224"/>
                <a:gd name="T87" fmla="*/ 488 h 606"/>
                <a:gd name="T88" fmla="*/ 1622 w 2224"/>
                <a:gd name="T89" fmla="*/ 227 h 6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24" h="606">
                  <a:moveTo>
                    <a:pt x="1622" y="227"/>
                  </a:moveTo>
                  <a:cubicBezTo>
                    <a:pt x="1592" y="287"/>
                    <a:pt x="1592" y="287"/>
                    <a:pt x="1592" y="287"/>
                  </a:cubicBezTo>
                  <a:cubicBezTo>
                    <a:pt x="1589" y="293"/>
                    <a:pt x="1583" y="296"/>
                    <a:pt x="1577" y="296"/>
                  </a:cubicBezTo>
                  <a:cubicBezTo>
                    <a:pt x="1574" y="296"/>
                    <a:pt x="1572" y="295"/>
                    <a:pt x="1569" y="294"/>
                  </a:cubicBezTo>
                  <a:cubicBezTo>
                    <a:pt x="1561" y="291"/>
                    <a:pt x="1558" y="281"/>
                    <a:pt x="1562" y="273"/>
                  </a:cubicBezTo>
                  <a:cubicBezTo>
                    <a:pt x="1590" y="218"/>
                    <a:pt x="1590" y="218"/>
                    <a:pt x="1590" y="218"/>
                  </a:cubicBezTo>
                  <a:cubicBezTo>
                    <a:pt x="1587" y="217"/>
                    <a:pt x="1584" y="216"/>
                    <a:pt x="1582" y="215"/>
                  </a:cubicBezTo>
                  <a:cubicBezTo>
                    <a:pt x="1565" y="209"/>
                    <a:pt x="1546" y="203"/>
                    <a:pt x="1527" y="196"/>
                  </a:cubicBezTo>
                  <a:cubicBezTo>
                    <a:pt x="1499" y="251"/>
                    <a:pt x="1499" y="251"/>
                    <a:pt x="1499" y="251"/>
                  </a:cubicBezTo>
                  <a:cubicBezTo>
                    <a:pt x="1497" y="257"/>
                    <a:pt x="1491" y="260"/>
                    <a:pt x="1485" y="260"/>
                  </a:cubicBezTo>
                  <a:cubicBezTo>
                    <a:pt x="1482" y="260"/>
                    <a:pt x="1480" y="259"/>
                    <a:pt x="1477" y="258"/>
                  </a:cubicBezTo>
                  <a:cubicBezTo>
                    <a:pt x="1469" y="255"/>
                    <a:pt x="1466" y="245"/>
                    <a:pt x="1470" y="237"/>
                  </a:cubicBezTo>
                  <a:cubicBezTo>
                    <a:pt x="1496" y="185"/>
                    <a:pt x="1496" y="185"/>
                    <a:pt x="1496" y="185"/>
                  </a:cubicBezTo>
                  <a:cubicBezTo>
                    <a:pt x="1475" y="176"/>
                    <a:pt x="1455" y="168"/>
                    <a:pt x="1434" y="159"/>
                  </a:cubicBezTo>
                  <a:cubicBezTo>
                    <a:pt x="1406" y="214"/>
                    <a:pt x="1406" y="214"/>
                    <a:pt x="1406" y="214"/>
                  </a:cubicBezTo>
                  <a:cubicBezTo>
                    <a:pt x="1403" y="220"/>
                    <a:pt x="1398" y="223"/>
                    <a:pt x="1391" y="223"/>
                  </a:cubicBezTo>
                  <a:cubicBezTo>
                    <a:pt x="1389" y="223"/>
                    <a:pt x="1387" y="222"/>
                    <a:pt x="1384" y="221"/>
                  </a:cubicBezTo>
                  <a:cubicBezTo>
                    <a:pt x="1376" y="218"/>
                    <a:pt x="1373" y="208"/>
                    <a:pt x="1377" y="200"/>
                  </a:cubicBezTo>
                  <a:cubicBezTo>
                    <a:pt x="1403" y="147"/>
                    <a:pt x="1403" y="147"/>
                    <a:pt x="1403" y="147"/>
                  </a:cubicBezTo>
                  <a:cubicBezTo>
                    <a:pt x="1383" y="138"/>
                    <a:pt x="1363" y="129"/>
                    <a:pt x="1342" y="120"/>
                  </a:cubicBezTo>
                  <a:cubicBezTo>
                    <a:pt x="1313" y="178"/>
                    <a:pt x="1313" y="178"/>
                    <a:pt x="1313" y="178"/>
                  </a:cubicBezTo>
                  <a:cubicBezTo>
                    <a:pt x="1310" y="184"/>
                    <a:pt x="1305" y="187"/>
                    <a:pt x="1298" y="187"/>
                  </a:cubicBezTo>
                  <a:cubicBezTo>
                    <a:pt x="1295" y="187"/>
                    <a:pt x="1294" y="186"/>
                    <a:pt x="1291" y="185"/>
                  </a:cubicBezTo>
                  <a:cubicBezTo>
                    <a:pt x="1282" y="182"/>
                    <a:pt x="1280" y="172"/>
                    <a:pt x="1283" y="164"/>
                  </a:cubicBezTo>
                  <a:cubicBezTo>
                    <a:pt x="1312" y="107"/>
                    <a:pt x="1312" y="107"/>
                    <a:pt x="1312" y="107"/>
                  </a:cubicBezTo>
                  <a:cubicBezTo>
                    <a:pt x="1292" y="98"/>
                    <a:pt x="1271" y="89"/>
                    <a:pt x="1251" y="80"/>
                  </a:cubicBezTo>
                  <a:cubicBezTo>
                    <a:pt x="1221" y="142"/>
                    <a:pt x="1221" y="142"/>
                    <a:pt x="1221" y="142"/>
                  </a:cubicBezTo>
                  <a:cubicBezTo>
                    <a:pt x="1218" y="148"/>
                    <a:pt x="1212" y="151"/>
                    <a:pt x="1206" y="151"/>
                  </a:cubicBezTo>
                  <a:cubicBezTo>
                    <a:pt x="1203" y="151"/>
                    <a:pt x="1201" y="150"/>
                    <a:pt x="1198" y="149"/>
                  </a:cubicBezTo>
                  <a:cubicBezTo>
                    <a:pt x="1190" y="146"/>
                    <a:pt x="1187" y="136"/>
                    <a:pt x="1191" y="128"/>
                  </a:cubicBezTo>
                  <a:cubicBezTo>
                    <a:pt x="1222" y="68"/>
                    <a:pt x="1222" y="68"/>
                    <a:pt x="1222" y="68"/>
                  </a:cubicBezTo>
                  <a:cubicBezTo>
                    <a:pt x="1201" y="59"/>
                    <a:pt x="1181" y="50"/>
                    <a:pt x="1161" y="41"/>
                  </a:cubicBezTo>
                  <a:cubicBezTo>
                    <a:pt x="1128" y="106"/>
                    <a:pt x="1128" y="106"/>
                    <a:pt x="1128" y="106"/>
                  </a:cubicBezTo>
                  <a:cubicBezTo>
                    <a:pt x="1126" y="112"/>
                    <a:pt x="1120" y="115"/>
                    <a:pt x="1114" y="115"/>
                  </a:cubicBezTo>
                  <a:cubicBezTo>
                    <a:pt x="1111" y="115"/>
                    <a:pt x="1109" y="114"/>
                    <a:pt x="1106" y="113"/>
                  </a:cubicBezTo>
                  <a:cubicBezTo>
                    <a:pt x="1098" y="110"/>
                    <a:pt x="1095" y="100"/>
                    <a:pt x="1099" y="92"/>
                  </a:cubicBezTo>
                  <a:cubicBezTo>
                    <a:pt x="1130" y="29"/>
                    <a:pt x="1130" y="29"/>
                    <a:pt x="1130" y="29"/>
                  </a:cubicBezTo>
                  <a:cubicBezTo>
                    <a:pt x="1105" y="19"/>
                    <a:pt x="1080" y="9"/>
                    <a:pt x="1056" y="0"/>
                  </a:cubicBezTo>
                  <a:cubicBezTo>
                    <a:pt x="921" y="131"/>
                    <a:pt x="736" y="212"/>
                    <a:pt x="533" y="212"/>
                  </a:cubicBezTo>
                  <a:cubicBezTo>
                    <a:pt x="386" y="212"/>
                    <a:pt x="249" y="170"/>
                    <a:pt x="133" y="97"/>
                  </a:cubicBezTo>
                  <a:cubicBezTo>
                    <a:pt x="126" y="106"/>
                    <a:pt x="120" y="116"/>
                    <a:pt x="115" y="127"/>
                  </a:cubicBezTo>
                  <a:cubicBezTo>
                    <a:pt x="73" y="221"/>
                    <a:pt x="0" y="398"/>
                    <a:pt x="26" y="571"/>
                  </a:cubicBezTo>
                  <a:cubicBezTo>
                    <a:pt x="30" y="596"/>
                    <a:pt x="739" y="606"/>
                    <a:pt x="1159" y="606"/>
                  </a:cubicBezTo>
                  <a:cubicBezTo>
                    <a:pt x="1888" y="606"/>
                    <a:pt x="2224" y="537"/>
                    <a:pt x="2224" y="488"/>
                  </a:cubicBezTo>
                  <a:cubicBezTo>
                    <a:pt x="2224" y="382"/>
                    <a:pt x="1935" y="324"/>
                    <a:pt x="1622" y="227"/>
                  </a:cubicBezTo>
                  <a:close/>
                </a:path>
              </a:pathLst>
            </a:cu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39" name="Freeform 85">
              <a:extLst>
                <a:ext uri="{FF2B5EF4-FFF2-40B4-BE49-F238E27FC236}">
                  <a16:creationId xmlns:a16="http://schemas.microsoft.com/office/drawing/2014/main" xmlns="" id="{E4F2162E-726E-44C2-B616-68C8DA2EC464}"/>
                </a:ext>
              </a:extLst>
            </p:cNvPr>
            <p:cNvSpPr>
              <a:spLocks/>
            </p:cNvSpPr>
            <p:nvPr/>
          </p:nvSpPr>
          <p:spPr bwMode="auto">
            <a:xfrm>
              <a:off x="420051" y="4170807"/>
              <a:ext cx="359759" cy="44497"/>
            </a:xfrm>
            <a:custGeom>
              <a:avLst/>
              <a:gdLst>
                <a:gd name="T0" fmla="*/ 2228 w 2244"/>
                <a:gd name="T1" fmla="*/ 0 h 278"/>
                <a:gd name="T2" fmla="*/ 1171 w 2244"/>
                <a:gd name="T3" fmla="*/ 119 h 278"/>
                <a:gd name="T4" fmla="*/ 7 w 2244"/>
                <a:gd name="T5" fmla="*/ 83 h 278"/>
                <a:gd name="T6" fmla="*/ 11 w 2244"/>
                <a:gd name="T7" fmla="*/ 225 h 278"/>
                <a:gd name="T8" fmla="*/ 1202 w 2244"/>
                <a:gd name="T9" fmla="*/ 278 h 278"/>
                <a:gd name="T10" fmla="*/ 2238 w 2244"/>
                <a:gd name="T11" fmla="*/ 145 h 278"/>
                <a:gd name="T12" fmla="*/ 2228 w 2244"/>
                <a:gd name="T13" fmla="*/ 0 h 278"/>
              </a:gdLst>
              <a:ahLst/>
              <a:cxnLst>
                <a:cxn ang="0">
                  <a:pos x="T0" y="T1"/>
                </a:cxn>
                <a:cxn ang="0">
                  <a:pos x="T2" y="T3"/>
                </a:cxn>
                <a:cxn ang="0">
                  <a:pos x="T4" y="T5"/>
                </a:cxn>
                <a:cxn ang="0">
                  <a:pos x="T6" y="T7"/>
                </a:cxn>
                <a:cxn ang="0">
                  <a:pos x="T8" y="T9"/>
                </a:cxn>
                <a:cxn ang="0">
                  <a:pos x="T10" y="T11"/>
                </a:cxn>
                <a:cxn ang="0">
                  <a:pos x="T12" y="T13"/>
                </a:cxn>
              </a:cxnLst>
              <a:rect l="0" t="0" r="r" b="b"/>
              <a:pathLst>
                <a:path w="2244" h="278">
                  <a:moveTo>
                    <a:pt x="2228" y="0"/>
                  </a:moveTo>
                  <a:cubicBezTo>
                    <a:pt x="2218" y="45"/>
                    <a:pt x="1944" y="117"/>
                    <a:pt x="1171" y="119"/>
                  </a:cubicBezTo>
                  <a:cubicBezTo>
                    <a:pt x="820" y="121"/>
                    <a:pt x="142" y="114"/>
                    <a:pt x="7" y="83"/>
                  </a:cubicBezTo>
                  <a:cubicBezTo>
                    <a:pt x="0" y="143"/>
                    <a:pt x="4" y="198"/>
                    <a:pt x="11" y="225"/>
                  </a:cubicBezTo>
                  <a:cubicBezTo>
                    <a:pt x="22" y="262"/>
                    <a:pt x="598" y="278"/>
                    <a:pt x="1202" y="278"/>
                  </a:cubicBezTo>
                  <a:cubicBezTo>
                    <a:pt x="1809" y="278"/>
                    <a:pt x="2226" y="214"/>
                    <a:pt x="2238" y="145"/>
                  </a:cubicBezTo>
                  <a:cubicBezTo>
                    <a:pt x="2243" y="117"/>
                    <a:pt x="2244" y="35"/>
                    <a:pt x="2228" y="0"/>
                  </a:cubicBezTo>
                  <a:close/>
                </a:path>
              </a:pathLst>
            </a:cu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sp>
        <p:nvSpPr>
          <p:cNvPr id="140" name="Freeform 31">
            <a:extLst>
              <a:ext uri="{FF2B5EF4-FFF2-40B4-BE49-F238E27FC236}">
                <a16:creationId xmlns:a16="http://schemas.microsoft.com/office/drawing/2014/main" xmlns="" id="{8064DA46-F67E-44EB-83A7-A5A868B3D054}"/>
              </a:ext>
            </a:extLst>
          </p:cNvPr>
          <p:cNvSpPr>
            <a:spLocks noChangeAspect="1" noEditPoints="1"/>
          </p:cNvSpPr>
          <p:nvPr>
            <p:custDataLst>
              <p:tags r:id="rId8"/>
            </p:custDataLst>
          </p:nvPr>
        </p:nvSpPr>
        <p:spPr bwMode="auto">
          <a:xfrm>
            <a:off x="4721289" y="4532464"/>
            <a:ext cx="292078" cy="323783"/>
          </a:xfrm>
          <a:custGeom>
            <a:avLst/>
            <a:gdLst>
              <a:gd name="T0" fmla="*/ 520 w 2080"/>
              <a:gd name="T1" fmla="*/ 600 h 2280"/>
              <a:gd name="T2" fmla="*/ 320 w 2080"/>
              <a:gd name="T3" fmla="*/ 280 h 2280"/>
              <a:gd name="T4" fmla="*/ 798 w 2080"/>
              <a:gd name="T5" fmla="*/ 82 h 2280"/>
              <a:gd name="T6" fmla="*/ 1040 w 2080"/>
              <a:gd name="T7" fmla="*/ 80 h 2280"/>
              <a:gd name="T8" fmla="*/ 1282 w 2080"/>
              <a:gd name="T9" fmla="*/ 82 h 2280"/>
              <a:gd name="T10" fmla="*/ 1760 w 2080"/>
              <a:gd name="T11" fmla="*/ 280 h 2280"/>
              <a:gd name="T12" fmla="*/ 1560 w 2080"/>
              <a:gd name="T13" fmla="*/ 600 h 2280"/>
              <a:gd name="T14" fmla="*/ 1380 w 2080"/>
              <a:gd name="T15" fmla="*/ 882 h 2280"/>
              <a:gd name="T16" fmla="*/ 1178 w 2080"/>
              <a:gd name="T17" fmla="*/ 626 h 2280"/>
              <a:gd name="T18" fmla="*/ 1040 w 2080"/>
              <a:gd name="T19" fmla="*/ 542 h 2280"/>
              <a:gd name="T20" fmla="*/ 901 w 2080"/>
              <a:gd name="T21" fmla="*/ 626 h 2280"/>
              <a:gd name="T22" fmla="*/ 700 w 2080"/>
              <a:gd name="T23" fmla="*/ 882 h 2280"/>
              <a:gd name="T24" fmla="*/ 431 w 2080"/>
              <a:gd name="T25" fmla="*/ 1490 h 2280"/>
              <a:gd name="T26" fmla="*/ 803 w 2080"/>
              <a:gd name="T27" fmla="*/ 1625 h 2280"/>
              <a:gd name="T28" fmla="*/ 769 w 2080"/>
              <a:gd name="T29" fmla="*/ 2214 h 2280"/>
              <a:gd name="T30" fmla="*/ 296 w 2080"/>
              <a:gd name="T31" fmla="*/ 1862 h 2280"/>
              <a:gd name="T32" fmla="*/ 1649 w 2080"/>
              <a:gd name="T33" fmla="*/ 1490 h 2280"/>
              <a:gd name="T34" fmla="*/ 1277 w 2080"/>
              <a:gd name="T35" fmla="*/ 1625 h 2280"/>
              <a:gd name="T36" fmla="*/ 1311 w 2080"/>
              <a:gd name="T37" fmla="*/ 2214 h 2280"/>
              <a:gd name="T38" fmla="*/ 1784 w 2080"/>
              <a:gd name="T39" fmla="*/ 1862 h 2280"/>
              <a:gd name="T40" fmla="*/ 1423 w 2080"/>
              <a:gd name="T41" fmla="*/ 1399 h 2280"/>
              <a:gd name="T42" fmla="*/ 1374 w 2080"/>
              <a:gd name="T43" fmla="*/ 1420 h 2280"/>
              <a:gd name="T44" fmla="*/ 1103 w 2080"/>
              <a:gd name="T45" fmla="*/ 1809 h 2280"/>
              <a:gd name="T46" fmla="*/ 955 w 2080"/>
              <a:gd name="T47" fmla="*/ 2152 h 2280"/>
              <a:gd name="T48" fmla="*/ 876 w 2080"/>
              <a:gd name="T49" fmla="*/ 1591 h 2280"/>
              <a:gd name="T50" fmla="*/ 764 w 2080"/>
              <a:gd name="T51" fmla="*/ 1338 h 2280"/>
              <a:gd name="T52" fmla="*/ 397 w 2080"/>
              <a:gd name="T53" fmla="*/ 1417 h 2280"/>
              <a:gd name="T54" fmla="*/ 0 w 2080"/>
              <a:gd name="T55" fmla="*/ 1440 h 2280"/>
              <a:gd name="T56" fmla="*/ 537 w 2080"/>
              <a:gd name="T57" fmla="*/ 927 h 2280"/>
              <a:gd name="T58" fmla="*/ 1543 w 2080"/>
              <a:gd name="T59" fmla="*/ 927 h 2280"/>
              <a:gd name="T60" fmla="*/ 2080 w 2080"/>
              <a:gd name="T61" fmla="*/ 1440 h 2280"/>
              <a:gd name="T62" fmla="*/ 1683 w 2080"/>
              <a:gd name="T63" fmla="*/ 1417 h 2280"/>
              <a:gd name="T64" fmla="*/ 1240 w 2080"/>
              <a:gd name="T65" fmla="*/ 400 h 2280"/>
              <a:gd name="T66" fmla="*/ 1240 w 2080"/>
              <a:gd name="T67" fmla="*/ 560 h 2280"/>
              <a:gd name="T68" fmla="*/ 1240 w 2080"/>
              <a:gd name="T69" fmla="*/ 400 h 2280"/>
              <a:gd name="T70" fmla="*/ 760 w 2080"/>
              <a:gd name="T71" fmla="*/ 480 h 2280"/>
              <a:gd name="T72" fmla="*/ 920 w 2080"/>
              <a:gd name="T73" fmla="*/ 480 h 2280"/>
              <a:gd name="T74" fmla="*/ 1227 w 2080"/>
              <a:gd name="T75" fmla="*/ 743 h 2280"/>
              <a:gd name="T76" fmla="*/ 1131 w 2080"/>
              <a:gd name="T77" fmla="*/ 718 h 2280"/>
              <a:gd name="T78" fmla="*/ 1080 w 2080"/>
              <a:gd name="T79" fmla="*/ 825 h 2280"/>
              <a:gd name="T80" fmla="*/ 1148 w 2080"/>
              <a:gd name="T81" fmla="*/ 950 h 2280"/>
              <a:gd name="T82" fmla="*/ 1040 w 2080"/>
              <a:gd name="T83" fmla="*/ 898 h 2280"/>
              <a:gd name="T84" fmla="*/ 932 w 2080"/>
              <a:gd name="T85" fmla="*/ 950 h 2280"/>
              <a:gd name="T86" fmla="*/ 1000 w 2080"/>
              <a:gd name="T87" fmla="*/ 825 h 2280"/>
              <a:gd name="T88" fmla="*/ 948 w 2080"/>
              <a:gd name="T89" fmla="*/ 718 h 2280"/>
              <a:gd name="T90" fmla="*/ 853 w 2080"/>
              <a:gd name="T91" fmla="*/ 743 h 2280"/>
              <a:gd name="T92" fmla="*/ 853 w 2080"/>
              <a:gd name="T93" fmla="*/ 1020 h 2280"/>
              <a:gd name="T94" fmla="*/ 1227 w 2080"/>
              <a:gd name="T95" fmla="*/ 1020 h 2280"/>
              <a:gd name="T96" fmla="*/ 1227 w 2080"/>
              <a:gd name="T97" fmla="*/ 743 h 2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80" h="2280">
                <a:moveTo>
                  <a:pt x="756" y="1035"/>
                </a:moveTo>
                <a:cubicBezTo>
                  <a:pt x="609" y="939"/>
                  <a:pt x="520" y="776"/>
                  <a:pt x="520" y="600"/>
                </a:cubicBezTo>
                <a:cubicBezTo>
                  <a:pt x="520" y="583"/>
                  <a:pt x="521" y="566"/>
                  <a:pt x="522" y="549"/>
                </a:cubicBezTo>
                <a:cubicBezTo>
                  <a:pt x="403" y="515"/>
                  <a:pt x="320" y="405"/>
                  <a:pt x="320" y="280"/>
                </a:cubicBezTo>
                <a:cubicBezTo>
                  <a:pt x="320" y="125"/>
                  <a:pt x="445" y="0"/>
                  <a:pt x="600" y="0"/>
                </a:cubicBezTo>
                <a:cubicBezTo>
                  <a:pt x="677" y="0"/>
                  <a:pt x="747" y="31"/>
                  <a:pt x="798" y="82"/>
                </a:cubicBezTo>
                <a:cubicBezTo>
                  <a:pt x="810" y="95"/>
                  <a:pt x="822" y="108"/>
                  <a:pt x="832" y="123"/>
                </a:cubicBezTo>
                <a:cubicBezTo>
                  <a:pt x="896" y="96"/>
                  <a:pt x="966" y="80"/>
                  <a:pt x="1040" y="80"/>
                </a:cubicBezTo>
                <a:cubicBezTo>
                  <a:pt x="1114" y="80"/>
                  <a:pt x="1184" y="96"/>
                  <a:pt x="1248" y="123"/>
                </a:cubicBezTo>
                <a:cubicBezTo>
                  <a:pt x="1258" y="108"/>
                  <a:pt x="1270" y="95"/>
                  <a:pt x="1282" y="82"/>
                </a:cubicBezTo>
                <a:cubicBezTo>
                  <a:pt x="1333" y="31"/>
                  <a:pt x="1403" y="0"/>
                  <a:pt x="1480" y="0"/>
                </a:cubicBezTo>
                <a:cubicBezTo>
                  <a:pt x="1635" y="0"/>
                  <a:pt x="1760" y="125"/>
                  <a:pt x="1760" y="280"/>
                </a:cubicBezTo>
                <a:cubicBezTo>
                  <a:pt x="1760" y="405"/>
                  <a:pt x="1677" y="515"/>
                  <a:pt x="1558" y="549"/>
                </a:cubicBezTo>
                <a:cubicBezTo>
                  <a:pt x="1559" y="566"/>
                  <a:pt x="1560" y="583"/>
                  <a:pt x="1560" y="600"/>
                </a:cubicBezTo>
                <a:cubicBezTo>
                  <a:pt x="1560" y="776"/>
                  <a:pt x="1471" y="939"/>
                  <a:pt x="1324" y="1035"/>
                </a:cubicBezTo>
                <a:cubicBezTo>
                  <a:pt x="1360" y="991"/>
                  <a:pt x="1380" y="939"/>
                  <a:pt x="1380" y="882"/>
                </a:cubicBezTo>
                <a:cubicBezTo>
                  <a:pt x="1380" y="803"/>
                  <a:pt x="1341" y="732"/>
                  <a:pt x="1277" y="681"/>
                </a:cubicBezTo>
                <a:cubicBezTo>
                  <a:pt x="1248" y="658"/>
                  <a:pt x="1215" y="639"/>
                  <a:pt x="1178" y="626"/>
                </a:cubicBezTo>
                <a:cubicBezTo>
                  <a:pt x="1173" y="601"/>
                  <a:pt x="1156" y="580"/>
                  <a:pt x="1131" y="566"/>
                </a:cubicBezTo>
                <a:cubicBezTo>
                  <a:pt x="1107" y="551"/>
                  <a:pt x="1074" y="542"/>
                  <a:pt x="1040" y="542"/>
                </a:cubicBezTo>
                <a:cubicBezTo>
                  <a:pt x="1005" y="542"/>
                  <a:pt x="972" y="551"/>
                  <a:pt x="948" y="566"/>
                </a:cubicBezTo>
                <a:cubicBezTo>
                  <a:pt x="923" y="580"/>
                  <a:pt x="906" y="602"/>
                  <a:pt x="901" y="626"/>
                </a:cubicBezTo>
                <a:cubicBezTo>
                  <a:pt x="864" y="640"/>
                  <a:pt x="831" y="658"/>
                  <a:pt x="803" y="681"/>
                </a:cubicBezTo>
                <a:cubicBezTo>
                  <a:pt x="739" y="732"/>
                  <a:pt x="700" y="803"/>
                  <a:pt x="700" y="882"/>
                </a:cubicBezTo>
                <a:cubicBezTo>
                  <a:pt x="700" y="939"/>
                  <a:pt x="720" y="991"/>
                  <a:pt x="756" y="1035"/>
                </a:cubicBezTo>
                <a:close/>
                <a:moveTo>
                  <a:pt x="431" y="1490"/>
                </a:moveTo>
                <a:cubicBezTo>
                  <a:pt x="501" y="1457"/>
                  <a:pt x="578" y="1456"/>
                  <a:pt x="645" y="1480"/>
                </a:cubicBezTo>
                <a:cubicBezTo>
                  <a:pt x="712" y="1505"/>
                  <a:pt x="770" y="1555"/>
                  <a:pt x="803" y="1625"/>
                </a:cubicBezTo>
                <a:cubicBezTo>
                  <a:pt x="904" y="1842"/>
                  <a:pt x="904" y="1842"/>
                  <a:pt x="904" y="1842"/>
                </a:cubicBezTo>
                <a:cubicBezTo>
                  <a:pt x="970" y="1982"/>
                  <a:pt x="908" y="2150"/>
                  <a:pt x="769" y="2214"/>
                </a:cubicBezTo>
                <a:cubicBezTo>
                  <a:pt x="630" y="2280"/>
                  <a:pt x="462" y="2219"/>
                  <a:pt x="397" y="2079"/>
                </a:cubicBezTo>
                <a:cubicBezTo>
                  <a:pt x="296" y="1862"/>
                  <a:pt x="296" y="1862"/>
                  <a:pt x="296" y="1862"/>
                </a:cubicBezTo>
                <a:cubicBezTo>
                  <a:pt x="230" y="1722"/>
                  <a:pt x="292" y="1554"/>
                  <a:pt x="431" y="1490"/>
                </a:cubicBezTo>
                <a:close/>
                <a:moveTo>
                  <a:pt x="1649" y="1490"/>
                </a:moveTo>
                <a:cubicBezTo>
                  <a:pt x="1579" y="1457"/>
                  <a:pt x="1502" y="1456"/>
                  <a:pt x="1435" y="1480"/>
                </a:cubicBezTo>
                <a:cubicBezTo>
                  <a:pt x="1368" y="1505"/>
                  <a:pt x="1310" y="1555"/>
                  <a:pt x="1277" y="1625"/>
                </a:cubicBezTo>
                <a:cubicBezTo>
                  <a:pt x="1176" y="1842"/>
                  <a:pt x="1176" y="1842"/>
                  <a:pt x="1176" y="1842"/>
                </a:cubicBezTo>
                <a:cubicBezTo>
                  <a:pt x="1110" y="1982"/>
                  <a:pt x="1172" y="2150"/>
                  <a:pt x="1311" y="2214"/>
                </a:cubicBezTo>
                <a:cubicBezTo>
                  <a:pt x="1450" y="2280"/>
                  <a:pt x="1618" y="2219"/>
                  <a:pt x="1683" y="2079"/>
                </a:cubicBezTo>
                <a:cubicBezTo>
                  <a:pt x="1784" y="1862"/>
                  <a:pt x="1784" y="1862"/>
                  <a:pt x="1784" y="1862"/>
                </a:cubicBezTo>
                <a:cubicBezTo>
                  <a:pt x="1850" y="1722"/>
                  <a:pt x="1788" y="1554"/>
                  <a:pt x="1649" y="1490"/>
                </a:cubicBezTo>
                <a:close/>
                <a:moveTo>
                  <a:pt x="1423" y="1399"/>
                </a:moveTo>
                <a:cubicBezTo>
                  <a:pt x="1389" y="1375"/>
                  <a:pt x="1353" y="1355"/>
                  <a:pt x="1315" y="1338"/>
                </a:cubicBezTo>
                <a:cubicBezTo>
                  <a:pt x="1338" y="1362"/>
                  <a:pt x="1358" y="1390"/>
                  <a:pt x="1374" y="1420"/>
                </a:cubicBezTo>
                <a:cubicBezTo>
                  <a:pt x="1302" y="1454"/>
                  <a:pt x="1241" y="1513"/>
                  <a:pt x="1204" y="1591"/>
                </a:cubicBezTo>
                <a:cubicBezTo>
                  <a:pt x="1103" y="1809"/>
                  <a:pt x="1103" y="1809"/>
                  <a:pt x="1103" y="1809"/>
                </a:cubicBezTo>
                <a:cubicBezTo>
                  <a:pt x="1051" y="1920"/>
                  <a:pt x="1060" y="2049"/>
                  <a:pt x="1125" y="2152"/>
                </a:cubicBezTo>
                <a:cubicBezTo>
                  <a:pt x="1069" y="2162"/>
                  <a:pt x="1011" y="2162"/>
                  <a:pt x="955" y="2152"/>
                </a:cubicBezTo>
                <a:cubicBezTo>
                  <a:pt x="1020" y="2049"/>
                  <a:pt x="1029" y="1920"/>
                  <a:pt x="977" y="1809"/>
                </a:cubicBezTo>
                <a:cubicBezTo>
                  <a:pt x="876" y="1591"/>
                  <a:pt x="876" y="1591"/>
                  <a:pt x="876" y="1591"/>
                </a:cubicBezTo>
                <a:cubicBezTo>
                  <a:pt x="839" y="1513"/>
                  <a:pt x="778" y="1454"/>
                  <a:pt x="706" y="1420"/>
                </a:cubicBezTo>
                <a:cubicBezTo>
                  <a:pt x="722" y="1390"/>
                  <a:pt x="742" y="1362"/>
                  <a:pt x="764" y="1338"/>
                </a:cubicBezTo>
                <a:cubicBezTo>
                  <a:pt x="726" y="1356"/>
                  <a:pt x="690" y="1376"/>
                  <a:pt x="656" y="1400"/>
                </a:cubicBezTo>
                <a:cubicBezTo>
                  <a:pt x="573" y="1374"/>
                  <a:pt x="481" y="1378"/>
                  <a:pt x="397" y="1417"/>
                </a:cubicBezTo>
                <a:cubicBezTo>
                  <a:pt x="294" y="1465"/>
                  <a:pt x="221" y="1559"/>
                  <a:pt x="197" y="1670"/>
                </a:cubicBezTo>
                <a:cubicBezTo>
                  <a:pt x="86" y="1653"/>
                  <a:pt x="0" y="1556"/>
                  <a:pt x="0" y="1440"/>
                </a:cubicBezTo>
                <a:cubicBezTo>
                  <a:pt x="0" y="1286"/>
                  <a:pt x="91" y="1160"/>
                  <a:pt x="219" y="1069"/>
                </a:cubicBezTo>
                <a:cubicBezTo>
                  <a:pt x="312" y="1002"/>
                  <a:pt x="425" y="954"/>
                  <a:pt x="537" y="927"/>
                </a:cubicBezTo>
                <a:cubicBezTo>
                  <a:pt x="648" y="1098"/>
                  <a:pt x="837" y="1200"/>
                  <a:pt x="1040" y="1200"/>
                </a:cubicBezTo>
                <a:cubicBezTo>
                  <a:pt x="1244" y="1200"/>
                  <a:pt x="1432" y="1097"/>
                  <a:pt x="1543" y="927"/>
                </a:cubicBezTo>
                <a:cubicBezTo>
                  <a:pt x="1655" y="954"/>
                  <a:pt x="1768" y="1002"/>
                  <a:pt x="1861" y="1069"/>
                </a:cubicBezTo>
                <a:cubicBezTo>
                  <a:pt x="1989" y="1160"/>
                  <a:pt x="2080" y="1286"/>
                  <a:pt x="2080" y="1440"/>
                </a:cubicBezTo>
                <a:cubicBezTo>
                  <a:pt x="2080" y="1556"/>
                  <a:pt x="1994" y="1653"/>
                  <a:pt x="1883" y="1670"/>
                </a:cubicBezTo>
                <a:cubicBezTo>
                  <a:pt x="1859" y="1559"/>
                  <a:pt x="1786" y="1465"/>
                  <a:pt x="1683" y="1417"/>
                </a:cubicBezTo>
                <a:cubicBezTo>
                  <a:pt x="1598" y="1378"/>
                  <a:pt x="1506" y="1374"/>
                  <a:pt x="1423" y="1399"/>
                </a:cubicBezTo>
                <a:close/>
                <a:moveTo>
                  <a:pt x="1240" y="400"/>
                </a:moveTo>
                <a:cubicBezTo>
                  <a:pt x="1196" y="400"/>
                  <a:pt x="1160" y="436"/>
                  <a:pt x="1160" y="480"/>
                </a:cubicBezTo>
                <a:cubicBezTo>
                  <a:pt x="1160" y="524"/>
                  <a:pt x="1196" y="560"/>
                  <a:pt x="1240" y="560"/>
                </a:cubicBezTo>
                <a:cubicBezTo>
                  <a:pt x="1284" y="560"/>
                  <a:pt x="1320" y="524"/>
                  <a:pt x="1320" y="480"/>
                </a:cubicBezTo>
                <a:cubicBezTo>
                  <a:pt x="1320" y="436"/>
                  <a:pt x="1284" y="400"/>
                  <a:pt x="1240" y="400"/>
                </a:cubicBezTo>
                <a:close/>
                <a:moveTo>
                  <a:pt x="840" y="400"/>
                </a:moveTo>
                <a:cubicBezTo>
                  <a:pt x="796" y="400"/>
                  <a:pt x="760" y="436"/>
                  <a:pt x="760" y="480"/>
                </a:cubicBezTo>
                <a:cubicBezTo>
                  <a:pt x="760" y="524"/>
                  <a:pt x="796" y="560"/>
                  <a:pt x="840" y="560"/>
                </a:cubicBezTo>
                <a:cubicBezTo>
                  <a:pt x="884" y="560"/>
                  <a:pt x="920" y="524"/>
                  <a:pt x="920" y="480"/>
                </a:cubicBezTo>
                <a:cubicBezTo>
                  <a:pt x="920" y="436"/>
                  <a:pt x="884" y="400"/>
                  <a:pt x="840" y="400"/>
                </a:cubicBezTo>
                <a:close/>
                <a:moveTo>
                  <a:pt x="1227" y="743"/>
                </a:moveTo>
                <a:cubicBezTo>
                  <a:pt x="1206" y="726"/>
                  <a:pt x="1181" y="712"/>
                  <a:pt x="1153" y="702"/>
                </a:cubicBezTo>
                <a:cubicBezTo>
                  <a:pt x="1146" y="708"/>
                  <a:pt x="1139" y="713"/>
                  <a:pt x="1131" y="718"/>
                </a:cubicBezTo>
                <a:cubicBezTo>
                  <a:pt x="1116" y="727"/>
                  <a:pt x="1099" y="733"/>
                  <a:pt x="1080" y="737"/>
                </a:cubicBezTo>
                <a:cubicBezTo>
                  <a:pt x="1080" y="825"/>
                  <a:pt x="1080" y="825"/>
                  <a:pt x="1080" y="825"/>
                </a:cubicBezTo>
                <a:cubicBezTo>
                  <a:pt x="1148" y="894"/>
                  <a:pt x="1148" y="894"/>
                  <a:pt x="1148" y="894"/>
                </a:cubicBezTo>
                <a:cubicBezTo>
                  <a:pt x="1164" y="909"/>
                  <a:pt x="1164" y="934"/>
                  <a:pt x="1148" y="950"/>
                </a:cubicBezTo>
                <a:cubicBezTo>
                  <a:pt x="1133" y="966"/>
                  <a:pt x="1107" y="966"/>
                  <a:pt x="1092" y="950"/>
                </a:cubicBezTo>
                <a:cubicBezTo>
                  <a:pt x="1040" y="898"/>
                  <a:pt x="1040" y="898"/>
                  <a:pt x="1040" y="898"/>
                </a:cubicBezTo>
                <a:cubicBezTo>
                  <a:pt x="988" y="950"/>
                  <a:pt x="988" y="950"/>
                  <a:pt x="988" y="950"/>
                </a:cubicBezTo>
                <a:cubicBezTo>
                  <a:pt x="973" y="966"/>
                  <a:pt x="947" y="966"/>
                  <a:pt x="932" y="950"/>
                </a:cubicBezTo>
                <a:cubicBezTo>
                  <a:pt x="916" y="934"/>
                  <a:pt x="916" y="909"/>
                  <a:pt x="932" y="894"/>
                </a:cubicBezTo>
                <a:cubicBezTo>
                  <a:pt x="1000" y="825"/>
                  <a:pt x="1000" y="825"/>
                  <a:pt x="1000" y="825"/>
                </a:cubicBezTo>
                <a:cubicBezTo>
                  <a:pt x="1000" y="738"/>
                  <a:pt x="1000" y="738"/>
                  <a:pt x="1000" y="738"/>
                </a:cubicBezTo>
                <a:cubicBezTo>
                  <a:pt x="981" y="734"/>
                  <a:pt x="963" y="727"/>
                  <a:pt x="948" y="718"/>
                </a:cubicBezTo>
                <a:cubicBezTo>
                  <a:pt x="940" y="713"/>
                  <a:pt x="933" y="708"/>
                  <a:pt x="927" y="702"/>
                </a:cubicBezTo>
                <a:cubicBezTo>
                  <a:pt x="899" y="712"/>
                  <a:pt x="874" y="726"/>
                  <a:pt x="853" y="743"/>
                </a:cubicBezTo>
                <a:cubicBezTo>
                  <a:pt x="808" y="779"/>
                  <a:pt x="780" y="828"/>
                  <a:pt x="780" y="882"/>
                </a:cubicBezTo>
                <a:cubicBezTo>
                  <a:pt x="780" y="936"/>
                  <a:pt x="808" y="984"/>
                  <a:pt x="853" y="1020"/>
                </a:cubicBezTo>
                <a:cubicBezTo>
                  <a:pt x="900" y="1058"/>
                  <a:pt x="966" y="1082"/>
                  <a:pt x="1040" y="1082"/>
                </a:cubicBezTo>
                <a:cubicBezTo>
                  <a:pt x="1114" y="1082"/>
                  <a:pt x="1180" y="1058"/>
                  <a:pt x="1227" y="1020"/>
                </a:cubicBezTo>
                <a:cubicBezTo>
                  <a:pt x="1272" y="984"/>
                  <a:pt x="1300" y="936"/>
                  <a:pt x="1300" y="882"/>
                </a:cubicBezTo>
                <a:cubicBezTo>
                  <a:pt x="1300" y="828"/>
                  <a:pt x="1272" y="779"/>
                  <a:pt x="1227" y="743"/>
                </a:cubicBezTo>
                <a:close/>
              </a:path>
            </a:pathLst>
          </a:custGeom>
          <a:solidFill>
            <a:schemeClr val="tx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000" dirty="0"/>
          </a:p>
        </p:txBody>
      </p:sp>
      <p:sp>
        <p:nvSpPr>
          <p:cNvPr id="141" name="Freeform 89">
            <a:extLst>
              <a:ext uri="{FF2B5EF4-FFF2-40B4-BE49-F238E27FC236}">
                <a16:creationId xmlns:a16="http://schemas.microsoft.com/office/drawing/2014/main" xmlns="" id="{51E7EDED-1861-48EC-91AE-4DC10D1FDE89}"/>
              </a:ext>
            </a:extLst>
          </p:cNvPr>
          <p:cNvSpPr>
            <a:spLocks noChangeAspect="1" noEditPoints="1"/>
          </p:cNvSpPr>
          <p:nvPr>
            <p:custDataLst>
              <p:tags r:id="rId9"/>
            </p:custDataLst>
          </p:nvPr>
        </p:nvSpPr>
        <p:spPr bwMode="auto">
          <a:xfrm>
            <a:off x="6288933" y="4516997"/>
            <a:ext cx="360906" cy="277093"/>
          </a:xfrm>
          <a:custGeom>
            <a:avLst/>
            <a:gdLst>
              <a:gd name="T0" fmla="*/ 125 w 2160"/>
              <a:gd name="T1" fmla="*/ 1123 h 1640"/>
              <a:gd name="T2" fmla="*/ 1000 w 2160"/>
              <a:gd name="T3" fmla="*/ 672 h 1640"/>
              <a:gd name="T4" fmla="*/ 1000 w 2160"/>
              <a:gd name="T5" fmla="*/ 548 h 1640"/>
              <a:gd name="T6" fmla="*/ 800 w 2160"/>
              <a:gd name="T7" fmla="*/ 280 h 1640"/>
              <a:gd name="T8" fmla="*/ 1080 w 2160"/>
              <a:gd name="T9" fmla="*/ 0 h 1640"/>
              <a:gd name="T10" fmla="*/ 1360 w 2160"/>
              <a:gd name="T11" fmla="*/ 280 h 1640"/>
              <a:gd name="T12" fmla="*/ 1200 w 2160"/>
              <a:gd name="T13" fmla="*/ 280 h 1640"/>
              <a:gd name="T14" fmla="*/ 1080 w 2160"/>
              <a:gd name="T15" fmla="*/ 160 h 1640"/>
              <a:gd name="T16" fmla="*/ 960 w 2160"/>
              <a:gd name="T17" fmla="*/ 280 h 1640"/>
              <a:gd name="T18" fmla="*/ 1046 w 2160"/>
              <a:gd name="T19" fmla="*/ 395 h 1640"/>
              <a:gd name="T20" fmla="*/ 1160 w 2160"/>
              <a:gd name="T21" fmla="*/ 548 h 1640"/>
              <a:gd name="T22" fmla="*/ 1160 w 2160"/>
              <a:gd name="T23" fmla="*/ 672 h 1640"/>
              <a:gd name="T24" fmla="*/ 2035 w 2160"/>
              <a:gd name="T25" fmla="*/ 1123 h 1640"/>
              <a:gd name="T26" fmla="*/ 2160 w 2160"/>
              <a:gd name="T27" fmla="*/ 1334 h 1640"/>
              <a:gd name="T28" fmla="*/ 2160 w 2160"/>
              <a:gd name="T29" fmla="*/ 1400 h 1640"/>
              <a:gd name="T30" fmla="*/ 1920 w 2160"/>
              <a:gd name="T31" fmla="*/ 1640 h 1640"/>
              <a:gd name="T32" fmla="*/ 240 w 2160"/>
              <a:gd name="T33" fmla="*/ 1640 h 1640"/>
              <a:gd name="T34" fmla="*/ 0 w 2160"/>
              <a:gd name="T35" fmla="*/ 1400 h 1640"/>
              <a:gd name="T36" fmla="*/ 0 w 2160"/>
              <a:gd name="T37" fmla="*/ 1334 h 1640"/>
              <a:gd name="T38" fmla="*/ 125 w 2160"/>
              <a:gd name="T39" fmla="*/ 1123 h 1640"/>
              <a:gd name="T40" fmla="*/ 1080 w 2160"/>
              <a:gd name="T41" fmla="*/ 810 h 1640"/>
              <a:gd name="T42" fmla="*/ 198 w 2160"/>
              <a:gd name="T43" fmla="*/ 1265 h 1640"/>
              <a:gd name="T44" fmla="*/ 160 w 2160"/>
              <a:gd name="T45" fmla="*/ 1334 h 1640"/>
              <a:gd name="T46" fmla="*/ 160 w 2160"/>
              <a:gd name="T47" fmla="*/ 1400 h 1640"/>
              <a:gd name="T48" fmla="*/ 240 w 2160"/>
              <a:gd name="T49" fmla="*/ 1480 h 1640"/>
              <a:gd name="T50" fmla="*/ 1920 w 2160"/>
              <a:gd name="T51" fmla="*/ 1480 h 1640"/>
              <a:gd name="T52" fmla="*/ 2000 w 2160"/>
              <a:gd name="T53" fmla="*/ 1400 h 1640"/>
              <a:gd name="T54" fmla="*/ 2000 w 2160"/>
              <a:gd name="T55" fmla="*/ 1334 h 1640"/>
              <a:gd name="T56" fmla="*/ 1962 w 2160"/>
              <a:gd name="T57" fmla="*/ 1265 h 1640"/>
              <a:gd name="T58" fmla="*/ 1080 w 2160"/>
              <a:gd name="T59" fmla="*/ 810 h 16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160" h="1640">
                <a:moveTo>
                  <a:pt x="125" y="1123"/>
                </a:moveTo>
                <a:cubicBezTo>
                  <a:pt x="1000" y="672"/>
                  <a:pt x="1000" y="672"/>
                  <a:pt x="1000" y="672"/>
                </a:cubicBezTo>
                <a:cubicBezTo>
                  <a:pt x="1000" y="548"/>
                  <a:pt x="1000" y="548"/>
                  <a:pt x="1000" y="548"/>
                </a:cubicBezTo>
                <a:cubicBezTo>
                  <a:pt x="882" y="513"/>
                  <a:pt x="800" y="403"/>
                  <a:pt x="800" y="280"/>
                </a:cubicBezTo>
                <a:cubicBezTo>
                  <a:pt x="800" y="125"/>
                  <a:pt x="925" y="0"/>
                  <a:pt x="1080" y="0"/>
                </a:cubicBezTo>
                <a:cubicBezTo>
                  <a:pt x="1235" y="0"/>
                  <a:pt x="1360" y="125"/>
                  <a:pt x="1360" y="280"/>
                </a:cubicBezTo>
                <a:cubicBezTo>
                  <a:pt x="1200" y="280"/>
                  <a:pt x="1200" y="280"/>
                  <a:pt x="1200" y="280"/>
                </a:cubicBezTo>
                <a:cubicBezTo>
                  <a:pt x="1200" y="214"/>
                  <a:pt x="1146" y="160"/>
                  <a:pt x="1080" y="160"/>
                </a:cubicBezTo>
                <a:cubicBezTo>
                  <a:pt x="1014" y="160"/>
                  <a:pt x="960" y="214"/>
                  <a:pt x="960" y="280"/>
                </a:cubicBezTo>
                <a:cubicBezTo>
                  <a:pt x="960" y="333"/>
                  <a:pt x="994" y="380"/>
                  <a:pt x="1046" y="395"/>
                </a:cubicBezTo>
                <a:cubicBezTo>
                  <a:pt x="1114" y="416"/>
                  <a:pt x="1160" y="477"/>
                  <a:pt x="1160" y="548"/>
                </a:cubicBezTo>
                <a:cubicBezTo>
                  <a:pt x="1160" y="672"/>
                  <a:pt x="1160" y="672"/>
                  <a:pt x="1160" y="672"/>
                </a:cubicBezTo>
                <a:cubicBezTo>
                  <a:pt x="2035" y="1123"/>
                  <a:pt x="2035" y="1123"/>
                  <a:pt x="2035" y="1123"/>
                </a:cubicBezTo>
                <a:cubicBezTo>
                  <a:pt x="2114" y="1164"/>
                  <a:pt x="2160" y="1245"/>
                  <a:pt x="2160" y="1334"/>
                </a:cubicBezTo>
                <a:cubicBezTo>
                  <a:pt x="2160" y="1400"/>
                  <a:pt x="2160" y="1400"/>
                  <a:pt x="2160" y="1400"/>
                </a:cubicBezTo>
                <a:cubicBezTo>
                  <a:pt x="2160" y="1532"/>
                  <a:pt x="2052" y="1640"/>
                  <a:pt x="1920" y="1640"/>
                </a:cubicBezTo>
                <a:cubicBezTo>
                  <a:pt x="240" y="1640"/>
                  <a:pt x="240" y="1640"/>
                  <a:pt x="240" y="1640"/>
                </a:cubicBezTo>
                <a:cubicBezTo>
                  <a:pt x="108" y="1640"/>
                  <a:pt x="0" y="1532"/>
                  <a:pt x="0" y="1400"/>
                </a:cubicBezTo>
                <a:cubicBezTo>
                  <a:pt x="0" y="1334"/>
                  <a:pt x="0" y="1334"/>
                  <a:pt x="0" y="1334"/>
                </a:cubicBezTo>
                <a:cubicBezTo>
                  <a:pt x="0" y="1245"/>
                  <a:pt x="46" y="1164"/>
                  <a:pt x="125" y="1123"/>
                </a:cubicBezTo>
                <a:close/>
                <a:moveTo>
                  <a:pt x="1080" y="810"/>
                </a:moveTo>
                <a:cubicBezTo>
                  <a:pt x="198" y="1265"/>
                  <a:pt x="198" y="1265"/>
                  <a:pt x="198" y="1265"/>
                </a:cubicBezTo>
                <a:cubicBezTo>
                  <a:pt x="172" y="1279"/>
                  <a:pt x="160" y="1304"/>
                  <a:pt x="160" y="1334"/>
                </a:cubicBezTo>
                <a:cubicBezTo>
                  <a:pt x="160" y="1400"/>
                  <a:pt x="160" y="1400"/>
                  <a:pt x="160" y="1400"/>
                </a:cubicBezTo>
                <a:cubicBezTo>
                  <a:pt x="160" y="1444"/>
                  <a:pt x="196" y="1480"/>
                  <a:pt x="240" y="1480"/>
                </a:cubicBezTo>
                <a:cubicBezTo>
                  <a:pt x="1920" y="1480"/>
                  <a:pt x="1920" y="1480"/>
                  <a:pt x="1920" y="1480"/>
                </a:cubicBezTo>
                <a:cubicBezTo>
                  <a:pt x="1964" y="1480"/>
                  <a:pt x="2000" y="1444"/>
                  <a:pt x="2000" y="1400"/>
                </a:cubicBezTo>
                <a:cubicBezTo>
                  <a:pt x="2000" y="1334"/>
                  <a:pt x="2000" y="1334"/>
                  <a:pt x="2000" y="1334"/>
                </a:cubicBezTo>
                <a:cubicBezTo>
                  <a:pt x="2000" y="1304"/>
                  <a:pt x="1988" y="1279"/>
                  <a:pt x="1962" y="1265"/>
                </a:cubicBezTo>
                <a:lnTo>
                  <a:pt x="1080" y="810"/>
                </a:lnTo>
                <a:close/>
              </a:path>
            </a:pathLst>
          </a:custGeom>
          <a:solidFill>
            <a:schemeClr val="tx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noProof="1"/>
          </a:p>
        </p:txBody>
      </p:sp>
      <p:sp>
        <p:nvSpPr>
          <p:cNvPr id="142" name="Freeform 112">
            <a:extLst>
              <a:ext uri="{FF2B5EF4-FFF2-40B4-BE49-F238E27FC236}">
                <a16:creationId xmlns:a16="http://schemas.microsoft.com/office/drawing/2014/main" xmlns="" id="{B2FA784B-8BA4-4C94-A52A-6FA9A942B9D5}"/>
              </a:ext>
            </a:extLst>
          </p:cNvPr>
          <p:cNvSpPr>
            <a:spLocks noChangeAspect="1" noEditPoints="1"/>
          </p:cNvSpPr>
          <p:nvPr>
            <p:custDataLst>
              <p:tags r:id="rId10"/>
            </p:custDataLst>
          </p:nvPr>
        </p:nvSpPr>
        <p:spPr bwMode="auto">
          <a:xfrm>
            <a:off x="7138879" y="4531685"/>
            <a:ext cx="222011" cy="307355"/>
          </a:xfrm>
          <a:custGeom>
            <a:avLst/>
            <a:gdLst>
              <a:gd name="T0" fmla="*/ 1080 w 1520"/>
              <a:gd name="T1" fmla="*/ 140 h 2080"/>
              <a:gd name="T2" fmla="*/ 1160 w 1520"/>
              <a:gd name="T3" fmla="*/ 220 h 2080"/>
              <a:gd name="T4" fmla="*/ 1080 w 1520"/>
              <a:gd name="T5" fmla="*/ 300 h 2080"/>
              <a:gd name="T6" fmla="*/ 1000 w 1520"/>
              <a:gd name="T7" fmla="*/ 220 h 2080"/>
              <a:gd name="T8" fmla="*/ 1080 w 1520"/>
              <a:gd name="T9" fmla="*/ 140 h 2080"/>
              <a:gd name="T10" fmla="*/ 1520 w 1520"/>
              <a:gd name="T11" fmla="*/ 0 h 2080"/>
              <a:gd name="T12" fmla="*/ 520 w 1520"/>
              <a:gd name="T13" fmla="*/ 0 h 2080"/>
              <a:gd name="T14" fmla="*/ 520 w 1520"/>
              <a:gd name="T15" fmla="*/ 360 h 2080"/>
              <a:gd name="T16" fmla="*/ 1520 w 1520"/>
              <a:gd name="T17" fmla="*/ 360 h 2080"/>
              <a:gd name="T18" fmla="*/ 1520 w 1520"/>
              <a:gd name="T19" fmla="*/ 0 h 2080"/>
              <a:gd name="T20" fmla="*/ 440 w 1520"/>
              <a:gd name="T21" fmla="*/ 0 h 2080"/>
              <a:gd name="T22" fmla="*/ 0 w 1520"/>
              <a:gd name="T23" fmla="*/ 0 h 2080"/>
              <a:gd name="T24" fmla="*/ 0 w 1520"/>
              <a:gd name="T25" fmla="*/ 360 h 2080"/>
              <a:gd name="T26" fmla="*/ 440 w 1520"/>
              <a:gd name="T27" fmla="*/ 360 h 2080"/>
              <a:gd name="T28" fmla="*/ 440 w 1520"/>
              <a:gd name="T29" fmla="*/ 0 h 2080"/>
              <a:gd name="T30" fmla="*/ 0 w 1520"/>
              <a:gd name="T31" fmla="*/ 440 h 2080"/>
              <a:gd name="T32" fmla="*/ 0 w 1520"/>
              <a:gd name="T33" fmla="*/ 2080 h 2080"/>
              <a:gd name="T34" fmla="*/ 1520 w 1520"/>
              <a:gd name="T35" fmla="*/ 2080 h 2080"/>
              <a:gd name="T36" fmla="*/ 1520 w 1520"/>
              <a:gd name="T37" fmla="*/ 440 h 2080"/>
              <a:gd name="T38" fmla="*/ 0 w 1520"/>
              <a:gd name="T39" fmla="*/ 440 h 2080"/>
              <a:gd name="T40" fmla="*/ 1320 w 1520"/>
              <a:gd name="T41" fmla="*/ 1240 h 2080"/>
              <a:gd name="T42" fmla="*/ 760 w 1520"/>
              <a:gd name="T43" fmla="*/ 1800 h 2080"/>
              <a:gd name="T44" fmla="*/ 200 w 1520"/>
              <a:gd name="T45" fmla="*/ 1240 h 2080"/>
              <a:gd name="T46" fmla="*/ 760 w 1520"/>
              <a:gd name="T47" fmla="*/ 680 h 2080"/>
              <a:gd name="T48" fmla="*/ 1320 w 1520"/>
              <a:gd name="T49" fmla="*/ 1240 h 2080"/>
              <a:gd name="T50" fmla="*/ 760 w 1520"/>
              <a:gd name="T51" fmla="*/ 760 h 2080"/>
              <a:gd name="T52" fmla="*/ 280 w 1520"/>
              <a:gd name="T53" fmla="*/ 1240 h 2080"/>
              <a:gd name="T54" fmla="*/ 760 w 1520"/>
              <a:gd name="T55" fmla="*/ 1720 h 2080"/>
              <a:gd name="T56" fmla="*/ 1240 w 1520"/>
              <a:gd name="T57" fmla="*/ 1240 h 2080"/>
              <a:gd name="T58" fmla="*/ 760 w 1520"/>
              <a:gd name="T59" fmla="*/ 760 h 2080"/>
              <a:gd name="T60" fmla="*/ 1160 w 1520"/>
              <a:gd name="T61" fmla="*/ 1240 h 2080"/>
              <a:gd name="T62" fmla="*/ 760 w 1520"/>
              <a:gd name="T63" fmla="*/ 1640 h 2080"/>
              <a:gd name="T64" fmla="*/ 360 w 1520"/>
              <a:gd name="T65" fmla="*/ 1240 h 2080"/>
              <a:gd name="T66" fmla="*/ 760 w 1520"/>
              <a:gd name="T67" fmla="*/ 840 h 2080"/>
              <a:gd name="T68" fmla="*/ 1160 w 1520"/>
              <a:gd name="T69" fmla="*/ 1240 h 2080"/>
              <a:gd name="T70" fmla="*/ 1080 w 1520"/>
              <a:gd name="T71" fmla="*/ 1240 h 2080"/>
              <a:gd name="T72" fmla="*/ 760 w 1520"/>
              <a:gd name="T73" fmla="*/ 920 h 2080"/>
              <a:gd name="T74" fmla="*/ 440 w 1520"/>
              <a:gd name="T75" fmla="*/ 1240 h 2080"/>
              <a:gd name="T76" fmla="*/ 760 w 1520"/>
              <a:gd name="T77" fmla="*/ 1560 h 2080"/>
              <a:gd name="T78" fmla="*/ 1080 w 1520"/>
              <a:gd name="T79" fmla="*/ 1240 h 2080"/>
              <a:gd name="T80" fmla="*/ 1280 w 1520"/>
              <a:gd name="T81" fmla="*/ 140 h 2080"/>
              <a:gd name="T82" fmla="*/ 1360 w 1520"/>
              <a:gd name="T83" fmla="*/ 220 h 2080"/>
              <a:gd name="T84" fmla="*/ 1280 w 1520"/>
              <a:gd name="T85" fmla="*/ 300 h 2080"/>
              <a:gd name="T86" fmla="*/ 1200 w 1520"/>
              <a:gd name="T87" fmla="*/ 220 h 2080"/>
              <a:gd name="T88" fmla="*/ 1280 w 1520"/>
              <a:gd name="T89" fmla="*/ 140 h 2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520" h="2080">
                <a:moveTo>
                  <a:pt x="1080" y="140"/>
                </a:moveTo>
                <a:cubicBezTo>
                  <a:pt x="1124" y="140"/>
                  <a:pt x="1160" y="176"/>
                  <a:pt x="1160" y="220"/>
                </a:cubicBezTo>
                <a:cubicBezTo>
                  <a:pt x="1160" y="264"/>
                  <a:pt x="1124" y="300"/>
                  <a:pt x="1080" y="300"/>
                </a:cubicBezTo>
                <a:cubicBezTo>
                  <a:pt x="1036" y="300"/>
                  <a:pt x="1000" y="264"/>
                  <a:pt x="1000" y="220"/>
                </a:cubicBezTo>
                <a:cubicBezTo>
                  <a:pt x="1000" y="176"/>
                  <a:pt x="1036" y="140"/>
                  <a:pt x="1080" y="140"/>
                </a:cubicBezTo>
                <a:close/>
                <a:moveTo>
                  <a:pt x="1520" y="0"/>
                </a:moveTo>
                <a:cubicBezTo>
                  <a:pt x="520" y="0"/>
                  <a:pt x="520" y="0"/>
                  <a:pt x="520" y="0"/>
                </a:cubicBezTo>
                <a:cubicBezTo>
                  <a:pt x="520" y="360"/>
                  <a:pt x="520" y="360"/>
                  <a:pt x="520" y="360"/>
                </a:cubicBezTo>
                <a:cubicBezTo>
                  <a:pt x="1520" y="360"/>
                  <a:pt x="1520" y="360"/>
                  <a:pt x="1520" y="360"/>
                </a:cubicBezTo>
                <a:lnTo>
                  <a:pt x="1520" y="0"/>
                </a:lnTo>
                <a:close/>
                <a:moveTo>
                  <a:pt x="440" y="0"/>
                </a:moveTo>
                <a:cubicBezTo>
                  <a:pt x="0" y="0"/>
                  <a:pt x="0" y="0"/>
                  <a:pt x="0" y="0"/>
                </a:cubicBezTo>
                <a:cubicBezTo>
                  <a:pt x="0" y="360"/>
                  <a:pt x="0" y="360"/>
                  <a:pt x="0" y="360"/>
                </a:cubicBezTo>
                <a:cubicBezTo>
                  <a:pt x="440" y="360"/>
                  <a:pt x="440" y="360"/>
                  <a:pt x="440" y="360"/>
                </a:cubicBezTo>
                <a:lnTo>
                  <a:pt x="440" y="0"/>
                </a:lnTo>
                <a:close/>
                <a:moveTo>
                  <a:pt x="0" y="440"/>
                </a:moveTo>
                <a:cubicBezTo>
                  <a:pt x="0" y="2080"/>
                  <a:pt x="0" y="2080"/>
                  <a:pt x="0" y="2080"/>
                </a:cubicBezTo>
                <a:cubicBezTo>
                  <a:pt x="1520" y="2080"/>
                  <a:pt x="1520" y="2080"/>
                  <a:pt x="1520" y="2080"/>
                </a:cubicBezTo>
                <a:cubicBezTo>
                  <a:pt x="1520" y="440"/>
                  <a:pt x="1520" y="440"/>
                  <a:pt x="1520" y="440"/>
                </a:cubicBezTo>
                <a:lnTo>
                  <a:pt x="0" y="440"/>
                </a:lnTo>
                <a:close/>
                <a:moveTo>
                  <a:pt x="1320" y="1240"/>
                </a:moveTo>
                <a:cubicBezTo>
                  <a:pt x="1320" y="1549"/>
                  <a:pt x="1069" y="1800"/>
                  <a:pt x="760" y="1800"/>
                </a:cubicBezTo>
                <a:cubicBezTo>
                  <a:pt x="451" y="1800"/>
                  <a:pt x="200" y="1549"/>
                  <a:pt x="200" y="1240"/>
                </a:cubicBezTo>
                <a:cubicBezTo>
                  <a:pt x="200" y="931"/>
                  <a:pt x="451" y="680"/>
                  <a:pt x="760" y="680"/>
                </a:cubicBezTo>
                <a:cubicBezTo>
                  <a:pt x="1069" y="680"/>
                  <a:pt x="1320" y="931"/>
                  <a:pt x="1320" y="1240"/>
                </a:cubicBezTo>
                <a:close/>
                <a:moveTo>
                  <a:pt x="760" y="760"/>
                </a:moveTo>
                <a:cubicBezTo>
                  <a:pt x="495" y="760"/>
                  <a:pt x="280" y="975"/>
                  <a:pt x="280" y="1240"/>
                </a:cubicBezTo>
                <a:cubicBezTo>
                  <a:pt x="280" y="1505"/>
                  <a:pt x="495" y="1720"/>
                  <a:pt x="760" y="1720"/>
                </a:cubicBezTo>
                <a:cubicBezTo>
                  <a:pt x="1025" y="1720"/>
                  <a:pt x="1240" y="1505"/>
                  <a:pt x="1240" y="1240"/>
                </a:cubicBezTo>
                <a:cubicBezTo>
                  <a:pt x="1240" y="975"/>
                  <a:pt x="1025" y="760"/>
                  <a:pt x="760" y="760"/>
                </a:cubicBezTo>
                <a:close/>
                <a:moveTo>
                  <a:pt x="1160" y="1240"/>
                </a:moveTo>
                <a:cubicBezTo>
                  <a:pt x="1160" y="1461"/>
                  <a:pt x="981" y="1640"/>
                  <a:pt x="760" y="1640"/>
                </a:cubicBezTo>
                <a:cubicBezTo>
                  <a:pt x="539" y="1640"/>
                  <a:pt x="360" y="1461"/>
                  <a:pt x="360" y="1240"/>
                </a:cubicBezTo>
                <a:cubicBezTo>
                  <a:pt x="360" y="1019"/>
                  <a:pt x="539" y="840"/>
                  <a:pt x="760" y="840"/>
                </a:cubicBezTo>
                <a:cubicBezTo>
                  <a:pt x="981" y="840"/>
                  <a:pt x="1160" y="1019"/>
                  <a:pt x="1160" y="1240"/>
                </a:cubicBezTo>
                <a:close/>
                <a:moveTo>
                  <a:pt x="1080" y="1240"/>
                </a:moveTo>
                <a:cubicBezTo>
                  <a:pt x="1080" y="1063"/>
                  <a:pt x="937" y="920"/>
                  <a:pt x="760" y="920"/>
                </a:cubicBezTo>
                <a:cubicBezTo>
                  <a:pt x="583" y="920"/>
                  <a:pt x="440" y="1063"/>
                  <a:pt x="440" y="1240"/>
                </a:cubicBezTo>
                <a:cubicBezTo>
                  <a:pt x="440" y="1417"/>
                  <a:pt x="583" y="1560"/>
                  <a:pt x="760" y="1560"/>
                </a:cubicBezTo>
                <a:cubicBezTo>
                  <a:pt x="937" y="1560"/>
                  <a:pt x="1080" y="1417"/>
                  <a:pt x="1080" y="1240"/>
                </a:cubicBezTo>
                <a:close/>
                <a:moveTo>
                  <a:pt x="1280" y="140"/>
                </a:moveTo>
                <a:cubicBezTo>
                  <a:pt x="1324" y="140"/>
                  <a:pt x="1360" y="176"/>
                  <a:pt x="1360" y="220"/>
                </a:cubicBezTo>
                <a:cubicBezTo>
                  <a:pt x="1360" y="264"/>
                  <a:pt x="1324" y="300"/>
                  <a:pt x="1280" y="300"/>
                </a:cubicBezTo>
                <a:cubicBezTo>
                  <a:pt x="1236" y="300"/>
                  <a:pt x="1200" y="264"/>
                  <a:pt x="1200" y="220"/>
                </a:cubicBezTo>
                <a:cubicBezTo>
                  <a:pt x="1200" y="176"/>
                  <a:pt x="1236" y="140"/>
                  <a:pt x="1280" y="140"/>
                </a:cubicBezTo>
                <a:close/>
              </a:path>
            </a:pathLst>
          </a:custGeom>
          <a:solidFill>
            <a:schemeClr val="tx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000" dirty="0"/>
          </a:p>
        </p:txBody>
      </p:sp>
      <p:sp>
        <p:nvSpPr>
          <p:cNvPr id="143" name="Freeform 32">
            <a:extLst>
              <a:ext uri="{FF2B5EF4-FFF2-40B4-BE49-F238E27FC236}">
                <a16:creationId xmlns:a16="http://schemas.microsoft.com/office/drawing/2014/main" xmlns="" id="{6761FE57-4738-43A9-A554-06B30EE360FD}"/>
              </a:ext>
            </a:extLst>
          </p:cNvPr>
          <p:cNvSpPr>
            <a:spLocks/>
          </p:cNvSpPr>
          <p:nvPr/>
        </p:nvSpPr>
        <p:spPr bwMode="auto">
          <a:xfrm>
            <a:off x="7912434" y="4522146"/>
            <a:ext cx="321033" cy="248580"/>
          </a:xfrm>
          <a:custGeom>
            <a:avLst/>
            <a:gdLst>
              <a:gd name="T0" fmla="*/ 634 w 1887"/>
              <a:gd name="T1" fmla="*/ 1471 h 1471"/>
              <a:gd name="T2" fmla="*/ 377 w 1887"/>
              <a:gd name="T3" fmla="*/ 1351 h 1471"/>
              <a:gd name="T4" fmla="*/ 139 w 1887"/>
              <a:gd name="T5" fmla="*/ 1300 h 1471"/>
              <a:gd name="T6" fmla="*/ 74 w 1887"/>
              <a:gd name="T7" fmla="*/ 1139 h 1471"/>
              <a:gd name="T8" fmla="*/ 23 w 1887"/>
              <a:gd name="T9" fmla="*/ 851 h 1471"/>
              <a:gd name="T10" fmla="*/ 42 w 1887"/>
              <a:gd name="T11" fmla="*/ 676 h 1471"/>
              <a:gd name="T12" fmla="*/ 76 w 1887"/>
              <a:gd name="T13" fmla="*/ 502 h 1471"/>
              <a:gd name="T14" fmla="*/ 147 w 1887"/>
              <a:gd name="T15" fmla="*/ 407 h 1471"/>
              <a:gd name="T16" fmla="*/ 371 w 1887"/>
              <a:gd name="T17" fmla="*/ 184 h 1471"/>
              <a:gd name="T18" fmla="*/ 610 w 1887"/>
              <a:gd name="T19" fmla="*/ 73 h 1471"/>
              <a:gd name="T20" fmla="*/ 652 w 1887"/>
              <a:gd name="T21" fmla="*/ 77 h 1471"/>
              <a:gd name="T22" fmla="*/ 916 w 1887"/>
              <a:gd name="T23" fmla="*/ 52 h 1471"/>
              <a:gd name="T24" fmla="*/ 1173 w 1887"/>
              <a:gd name="T25" fmla="*/ 82 h 1471"/>
              <a:gd name="T26" fmla="*/ 1234 w 1887"/>
              <a:gd name="T27" fmla="*/ 73 h 1471"/>
              <a:gd name="T28" fmla="*/ 1515 w 1887"/>
              <a:gd name="T29" fmla="*/ 177 h 1471"/>
              <a:gd name="T30" fmla="*/ 1755 w 1887"/>
              <a:gd name="T31" fmla="*/ 321 h 1471"/>
              <a:gd name="T32" fmla="*/ 1861 w 1887"/>
              <a:gd name="T33" fmla="*/ 583 h 1471"/>
              <a:gd name="T34" fmla="*/ 1851 w 1887"/>
              <a:gd name="T35" fmla="*/ 696 h 1471"/>
              <a:gd name="T36" fmla="*/ 1880 w 1887"/>
              <a:gd name="T37" fmla="*/ 831 h 1471"/>
              <a:gd name="T38" fmla="*/ 1816 w 1887"/>
              <a:gd name="T39" fmla="*/ 1104 h 1471"/>
              <a:gd name="T40" fmla="*/ 1573 w 1887"/>
              <a:gd name="T41" fmla="*/ 1344 h 1471"/>
              <a:gd name="T42" fmla="*/ 1300 w 1887"/>
              <a:gd name="T43" fmla="*/ 1398 h 1471"/>
              <a:gd name="T44" fmla="*/ 1426 w 1887"/>
              <a:gd name="T45" fmla="*/ 1306 h 1471"/>
              <a:gd name="T46" fmla="*/ 1647 w 1887"/>
              <a:gd name="T47" fmla="*/ 868 h 1471"/>
              <a:gd name="T48" fmla="*/ 1546 w 1887"/>
              <a:gd name="T49" fmla="*/ 838 h 1471"/>
              <a:gd name="T50" fmla="*/ 1318 w 1887"/>
              <a:gd name="T51" fmla="*/ 922 h 1471"/>
              <a:gd name="T52" fmla="*/ 1193 w 1887"/>
              <a:gd name="T53" fmla="*/ 778 h 1471"/>
              <a:gd name="T54" fmla="*/ 966 w 1887"/>
              <a:gd name="T55" fmla="*/ 780 h 1471"/>
              <a:gd name="T56" fmla="*/ 802 w 1887"/>
              <a:gd name="T57" fmla="*/ 1010 h 1471"/>
              <a:gd name="T58" fmla="*/ 531 w 1887"/>
              <a:gd name="T59" fmla="*/ 822 h 1471"/>
              <a:gd name="T60" fmla="*/ 374 w 1887"/>
              <a:gd name="T61" fmla="*/ 861 h 1471"/>
              <a:gd name="T62" fmla="*/ 413 w 1887"/>
              <a:gd name="T63" fmla="*/ 1259 h 1471"/>
              <a:gd name="T64" fmla="*/ 672 w 1887"/>
              <a:gd name="T65" fmla="*/ 1460 h 1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887" h="1471">
                <a:moveTo>
                  <a:pt x="674" y="1469"/>
                </a:moveTo>
                <a:cubicBezTo>
                  <a:pt x="660" y="1470"/>
                  <a:pt x="647" y="1471"/>
                  <a:pt x="634" y="1471"/>
                </a:cubicBezTo>
                <a:cubicBezTo>
                  <a:pt x="577" y="1471"/>
                  <a:pt x="524" y="1457"/>
                  <a:pt x="476" y="1432"/>
                </a:cubicBezTo>
                <a:cubicBezTo>
                  <a:pt x="438" y="1412"/>
                  <a:pt x="404" y="1384"/>
                  <a:pt x="377" y="1351"/>
                </a:cubicBezTo>
                <a:cubicBezTo>
                  <a:pt x="352" y="1361"/>
                  <a:pt x="324" y="1366"/>
                  <a:pt x="297" y="1366"/>
                </a:cubicBezTo>
                <a:cubicBezTo>
                  <a:pt x="236" y="1366"/>
                  <a:pt x="180" y="1340"/>
                  <a:pt x="139" y="1300"/>
                </a:cubicBezTo>
                <a:cubicBezTo>
                  <a:pt x="98" y="1260"/>
                  <a:pt x="74" y="1204"/>
                  <a:pt x="74" y="1142"/>
                </a:cubicBezTo>
                <a:cubicBezTo>
                  <a:pt x="74" y="1139"/>
                  <a:pt x="74" y="1139"/>
                  <a:pt x="74" y="1139"/>
                </a:cubicBezTo>
                <a:cubicBezTo>
                  <a:pt x="26" y="1091"/>
                  <a:pt x="0" y="1026"/>
                  <a:pt x="0" y="958"/>
                </a:cubicBezTo>
                <a:cubicBezTo>
                  <a:pt x="0" y="922"/>
                  <a:pt x="8" y="884"/>
                  <a:pt x="23" y="851"/>
                </a:cubicBezTo>
                <a:cubicBezTo>
                  <a:pt x="8" y="828"/>
                  <a:pt x="0" y="802"/>
                  <a:pt x="0" y="774"/>
                </a:cubicBezTo>
                <a:cubicBezTo>
                  <a:pt x="0" y="737"/>
                  <a:pt x="16" y="702"/>
                  <a:pt x="42" y="676"/>
                </a:cubicBezTo>
                <a:cubicBezTo>
                  <a:pt x="41" y="672"/>
                  <a:pt x="40" y="669"/>
                  <a:pt x="40" y="666"/>
                </a:cubicBezTo>
                <a:cubicBezTo>
                  <a:pt x="30" y="608"/>
                  <a:pt x="43" y="550"/>
                  <a:pt x="76" y="502"/>
                </a:cubicBezTo>
                <a:cubicBezTo>
                  <a:pt x="94" y="474"/>
                  <a:pt x="120" y="451"/>
                  <a:pt x="149" y="434"/>
                </a:cubicBezTo>
                <a:cubicBezTo>
                  <a:pt x="148" y="425"/>
                  <a:pt x="147" y="416"/>
                  <a:pt x="147" y="407"/>
                </a:cubicBezTo>
                <a:cubicBezTo>
                  <a:pt x="147" y="345"/>
                  <a:pt x="172" y="290"/>
                  <a:pt x="212" y="249"/>
                </a:cubicBezTo>
                <a:cubicBezTo>
                  <a:pt x="253" y="208"/>
                  <a:pt x="309" y="184"/>
                  <a:pt x="371" y="184"/>
                </a:cubicBezTo>
                <a:cubicBezTo>
                  <a:pt x="380" y="184"/>
                  <a:pt x="390" y="184"/>
                  <a:pt x="400" y="185"/>
                </a:cubicBezTo>
                <a:cubicBezTo>
                  <a:pt x="444" y="114"/>
                  <a:pt x="526" y="73"/>
                  <a:pt x="610" y="73"/>
                </a:cubicBezTo>
                <a:cubicBezTo>
                  <a:pt x="622" y="73"/>
                  <a:pt x="635" y="74"/>
                  <a:pt x="647" y="76"/>
                </a:cubicBezTo>
                <a:cubicBezTo>
                  <a:pt x="652" y="77"/>
                  <a:pt x="652" y="77"/>
                  <a:pt x="652" y="77"/>
                </a:cubicBezTo>
                <a:cubicBezTo>
                  <a:pt x="683" y="29"/>
                  <a:pt x="736" y="0"/>
                  <a:pt x="793" y="0"/>
                </a:cubicBezTo>
                <a:cubicBezTo>
                  <a:pt x="840" y="0"/>
                  <a:pt x="884" y="19"/>
                  <a:pt x="916" y="52"/>
                </a:cubicBezTo>
                <a:cubicBezTo>
                  <a:pt x="947" y="42"/>
                  <a:pt x="980" y="36"/>
                  <a:pt x="1014" y="36"/>
                </a:cubicBezTo>
                <a:cubicBezTo>
                  <a:pt x="1069" y="36"/>
                  <a:pt x="1127" y="52"/>
                  <a:pt x="1173" y="82"/>
                </a:cubicBezTo>
                <a:cubicBezTo>
                  <a:pt x="1179" y="81"/>
                  <a:pt x="1185" y="79"/>
                  <a:pt x="1191" y="78"/>
                </a:cubicBezTo>
                <a:cubicBezTo>
                  <a:pt x="1205" y="75"/>
                  <a:pt x="1220" y="73"/>
                  <a:pt x="1234" y="73"/>
                </a:cubicBezTo>
                <a:cubicBezTo>
                  <a:pt x="1296" y="73"/>
                  <a:pt x="1354" y="101"/>
                  <a:pt x="1393" y="149"/>
                </a:cubicBezTo>
                <a:cubicBezTo>
                  <a:pt x="1436" y="145"/>
                  <a:pt x="1479" y="155"/>
                  <a:pt x="1515" y="177"/>
                </a:cubicBezTo>
                <a:cubicBezTo>
                  <a:pt x="1548" y="197"/>
                  <a:pt x="1576" y="227"/>
                  <a:pt x="1593" y="264"/>
                </a:cubicBezTo>
                <a:cubicBezTo>
                  <a:pt x="1654" y="255"/>
                  <a:pt x="1713" y="275"/>
                  <a:pt x="1755" y="321"/>
                </a:cubicBezTo>
                <a:cubicBezTo>
                  <a:pt x="1800" y="370"/>
                  <a:pt x="1817" y="440"/>
                  <a:pt x="1803" y="504"/>
                </a:cubicBezTo>
                <a:cubicBezTo>
                  <a:pt x="1833" y="524"/>
                  <a:pt x="1852" y="551"/>
                  <a:pt x="1861" y="583"/>
                </a:cubicBezTo>
                <a:cubicBezTo>
                  <a:pt x="1870" y="614"/>
                  <a:pt x="1868" y="649"/>
                  <a:pt x="1856" y="683"/>
                </a:cubicBezTo>
                <a:cubicBezTo>
                  <a:pt x="1855" y="687"/>
                  <a:pt x="1853" y="691"/>
                  <a:pt x="1851" y="696"/>
                </a:cubicBezTo>
                <a:cubicBezTo>
                  <a:pt x="1857" y="703"/>
                  <a:pt x="1862" y="711"/>
                  <a:pt x="1866" y="720"/>
                </a:cubicBezTo>
                <a:cubicBezTo>
                  <a:pt x="1884" y="756"/>
                  <a:pt x="1887" y="795"/>
                  <a:pt x="1880" y="831"/>
                </a:cubicBezTo>
                <a:cubicBezTo>
                  <a:pt x="1872" y="870"/>
                  <a:pt x="1850" y="908"/>
                  <a:pt x="1819" y="934"/>
                </a:cubicBezTo>
                <a:cubicBezTo>
                  <a:pt x="1842" y="989"/>
                  <a:pt x="1840" y="1050"/>
                  <a:pt x="1816" y="1104"/>
                </a:cubicBezTo>
                <a:cubicBezTo>
                  <a:pt x="1786" y="1172"/>
                  <a:pt x="1726" y="1222"/>
                  <a:pt x="1656" y="1246"/>
                </a:cubicBezTo>
                <a:cubicBezTo>
                  <a:pt x="1646" y="1291"/>
                  <a:pt x="1614" y="1325"/>
                  <a:pt x="1573" y="1344"/>
                </a:cubicBezTo>
                <a:cubicBezTo>
                  <a:pt x="1525" y="1368"/>
                  <a:pt x="1464" y="1372"/>
                  <a:pt x="1413" y="1356"/>
                </a:cubicBezTo>
                <a:cubicBezTo>
                  <a:pt x="1378" y="1377"/>
                  <a:pt x="1340" y="1392"/>
                  <a:pt x="1300" y="1398"/>
                </a:cubicBezTo>
                <a:cubicBezTo>
                  <a:pt x="1302" y="1396"/>
                  <a:pt x="1303" y="1394"/>
                  <a:pt x="1304" y="1392"/>
                </a:cubicBezTo>
                <a:cubicBezTo>
                  <a:pt x="1335" y="1361"/>
                  <a:pt x="1376" y="1336"/>
                  <a:pt x="1426" y="1306"/>
                </a:cubicBezTo>
                <a:cubicBezTo>
                  <a:pt x="1553" y="1232"/>
                  <a:pt x="1650" y="1166"/>
                  <a:pt x="1710" y="1025"/>
                </a:cubicBezTo>
                <a:cubicBezTo>
                  <a:pt x="1736" y="964"/>
                  <a:pt x="1708" y="894"/>
                  <a:pt x="1647" y="868"/>
                </a:cubicBezTo>
                <a:cubicBezTo>
                  <a:pt x="1622" y="857"/>
                  <a:pt x="1596" y="856"/>
                  <a:pt x="1572" y="862"/>
                </a:cubicBezTo>
                <a:cubicBezTo>
                  <a:pt x="1565" y="853"/>
                  <a:pt x="1556" y="845"/>
                  <a:pt x="1546" y="838"/>
                </a:cubicBezTo>
                <a:cubicBezTo>
                  <a:pt x="1492" y="802"/>
                  <a:pt x="1417" y="816"/>
                  <a:pt x="1380" y="872"/>
                </a:cubicBezTo>
                <a:cubicBezTo>
                  <a:pt x="1367" y="891"/>
                  <a:pt x="1344" y="908"/>
                  <a:pt x="1318" y="922"/>
                </a:cubicBezTo>
                <a:cubicBezTo>
                  <a:pt x="1328" y="867"/>
                  <a:pt x="1300" y="810"/>
                  <a:pt x="1247" y="788"/>
                </a:cubicBezTo>
                <a:cubicBezTo>
                  <a:pt x="1229" y="780"/>
                  <a:pt x="1211" y="777"/>
                  <a:pt x="1193" y="778"/>
                </a:cubicBezTo>
                <a:cubicBezTo>
                  <a:pt x="1181" y="744"/>
                  <a:pt x="1154" y="716"/>
                  <a:pt x="1118" y="704"/>
                </a:cubicBezTo>
                <a:cubicBezTo>
                  <a:pt x="1055" y="684"/>
                  <a:pt x="987" y="718"/>
                  <a:pt x="966" y="780"/>
                </a:cubicBezTo>
                <a:cubicBezTo>
                  <a:pt x="956" y="810"/>
                  <a:pt x="921" y="850"/>
                  <a:pt x="900" y="874"/>
                </a:cubicBezTo>
                <a:cubicBezTo>
                  <a:pt x="862" y="918"/>
                  <a:pt x="827" y="961"/>
                  <a:pt x="802" y="1010"/>
                </a:cubicBezTo>
                <a:cubicBezTo>
                  <a:pt x="751" y="990"/>
                  <a:pt x="690" y="964"/>
                  <a:pt x="676" y="909"/>
                </a:cubicBezTo>
                <a:cubicBezTo>
                  <a:pt x="660" y="845"/>
                  <a:pt x="595" y="806"/>
                  <a:pt x="531" y="822"/>
                </a:cubicBezTo>
                <a:cubicBezTo>
                  <a:pt x="500" y="829"/>
                  <a:pt x="475" y="849"/>
                  <a:pt x="459" y="874"/>
                </a:cubicBezTo>
                <a:cubicBezTo>
                  <a:pt x="434" y="860"/>
                  <a:pt x="404" y="854"/>
                  <a:pt x="374" y="861"/>
                </a:cubicBezTo>
                <a:cubicBezTo>
                  <a:pt x="310" y="875"/>
                  <a:pt x="269" y="940"/>
                  <a:pt x="283" y="1004"/>
                </a:cubicBezTo>
                <a:cubicBezTo>
                  <a:pt x="304" y="1100"/>
                  <a:pt x="345" y="1186"/>
                  <a:pt x="413" y="1259"/>
                </a:cubicBezTo>
                <a:cubicBezTo>
                  <a:pt x="463" y="1313"/>
                  <a:pt x="520" y="1351"/>
                  <a:pt x="582" y="1390"/>
                </a:cubicBezTo>
                <a:cubicBezTo>
                  <a:pt x="609" y="1407"/>
                  <a:pt x="654" y="1433"/>
                  <a:pt x="672" y="1460"/>
                </a:cubicBezTo>
                <a:cubicBezTo>
                  <a:pt x="672" y="1464"/>
                  <a:pt x="672" y="1466"/>
                  <a:pt x="674" y="1469"/>
                </a:cubicBezTo>
                <a:close/>
              </a:path>
            </a:pathLst>
          </a:custGeom>
          <a:solidFill>
            <a:schemeClr val="tx1">
              <a:lumMod val="40000"/>
              <a:lumOff val="60000"/>
            </a:schemeClr>
          </a:solid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noProof="1"/>
          </a:p>
        </p:txBody>
      </p:sp>
      <p:sp>
        <p:nvSpPr>
          <p:cNvPr id="144" name="Freeform 33">
            <a:extLst>
              <a:ext uri="{FF2B5EF4-FFF2-40B4-BE49-F238E27FC236}">
                <a16:creationId xmlns:a16="http://schemas.microsoft.com/office/drawing/2014/main" xmlns="" id="{16160F60-ADE2-4298-8E62-12AC37984479}"/>
              </a:ext>
            </a:extLst>
          </p:cNvPr>
          <p:cNvSpPr>
            <a:spLocks noEditPoints="1"/>
          </p:cNvSpPr>
          <p:nvPr/>
        </p:nvSpPr>
        <p:spPr bwMode="auto">
          <a:xfrm>
            <a:off x="7973010" y="4652767"/>
            <a:ext cx="219256" cy="210381"/>
          </a:xfrm>
          <a:custGeom>
            <a:avLst/>
            <a:gdLst>
              <a:gd name="T0" fmla="*/ 1091 w 1289"/>
              <a:gd name="T1" fmla="*/ 143 h 1245"/>
              <a:gd name="T2" fmla="*/ 1146 w 1289"/>
              <a:gd name="T3" fmla="*/ 132 h 1245"/>
              <a:gd name="T4" fmla="*/ 1157 w 1289"/>
              <a:gd name="T5" fmla="*/ 187 h 1245"/>
              <a:gd name="T6" fmla="*/ 864 w 1289"/>
              <a:gd name="T7" fmla="*/ 357 h 1245"/>
              <a:gd name="T8" fmla="*/ 740 w 1289"/>
              <a:gd name="T9" fmla="*/ 401 h 1245"/>
              <a:gd name="T10" fmla="*/ 688 w 1289"/>
              <a:gd name="T11" fmla="*/ 381 h 1245"/>
              <a:gd name="T12" fmla="*/ 684 w 1289"/>
              <a:gd name="T13" fmla="*/ 365 h 1245"/>
              <a:gd name="T14" fmla="*/ 738 w 1289"/>
              <a:gd name="T15" fmla="*/ 219 h 1245"/>
              <a:gd name="T16" fmla="*/ 807 w 1289"/>
              <a:gd name="T17" fmla="*/ 109 h 1245"/>
              <a:gd name="T18" fmla="*/ 860 w 1289"/>
              <a:gd name="T19" fmla="*/ 88 h 1245"/>
              <a:gd name="T20" fmla="*/ 881 w 1289"/>
              <a:gd name="T21" fmla="*/ 141 h 1245"/>
              <a:gd name="T22" fmla="*/ 799 w 1289"/>
              <a:gd name="T23" fmla="*/ 271 h 1245"/>
              <a:gd name="T24" fmla="*/ 777 w 1289"/>
              <a:gd name="T25" fmla="*/ 301 h 1245"/>
              <a:gd name="T26" fmla="*/ 839 w 1289"/>
              <a:gd name="T27" fmla="*/ 281 h 1245"/>
              <a:gd name="T28" fmla="*/ 1091 w 1289"/>
              <a:gd name="T29" fmla="*/ 143 h 1245"/>
              <a:gd name="T30" fmla="*/ 686 w 1289"/>
              <a:gd name="T31" fmla="*/ 33 h 1245"/>
              <a:gd name="T32" fmla="*/ 736 w 1289"/>
              <a:gd name="T33" fmla="*/ 7 h 1245"/>
              <a:gd name="T34" fmla="*/ 762 w 1289"/>
              <a:gd name="T35" fmla="*/ 57 h 1245"/>
              <a:gd name="T36" fmla="*/ 666 w 1289"/>
              <a:gd name="T37" fmla="*/ 204 h 1245"/>
              <a:gd name="T38" fmla="*/ 564 w 1289"/>
              <a:gd name="T39" fmla="*/ 405 h 1245"/>
              <a:gd name="T40" fmla="*/ 524 w 1289"/>
              <a:gd name="T41" fmla="*/ 445 h 1245"/>
              <a:gd name="T42" fmla="*/ 502 w 1289"/>
              <a:gd name="T43" fmla="*/ 438 h 1245"/>
              <a:gd name="T44" fmla="*/ 407 w 1289"/>
              <a:gd name="T45" fmla="*/ 394 h 1245"/>
              <a:gd name="T46" fmla="*/ 165 w 1289"/>
              <a:gd name="T47" fmla="*/ 175 h 1245"/>
              <a:gd name="T48" fmla="*/ 194 w 1289"/>
              <a:gd name="T49" fmla="*/ 126 h 1245"/>
              <a:gd name="T50" fmla="*/ 243 w 1289"/>
              <a:gd name="T51" fmla="*/ 155 h 1245"/>
              <a:gd name="T52" fmla="*/ 437 w 1289"/>
              <a:gd name="T53" fmla="*/ 320 h 1245"/>
              <a:gd name="T54" fmla="*/ 491 w 1289"/>
              <a:gd name="T55" fmla="*/ 343 h 1245"/>
              <a:gd name="T56" fmla="*/ 605 w 1289"/>
              <a:gd name="T57" fmla="*/ 153 h 1245"/>
              <a:gd name="T58" fmla="*/ 686 w 1289"/>
              <a:gd name="T59" fmla="*/ 33 h 1245"/>
              <a:gd name="T60" fmla="*/ 1207 w 1289"/>
              <a:gd name="T61" fmla="*/ 189 h 1245"/>
              <a:gd name="T62" fmla="*/ 1260 w 1289"/>
              <a:gd name="T63" fmla="*/ 168 h 1245"/>
              <a:gd name="T64" fmla="*/ 1281 w 1289"/>
              <a:gd name="T65" fmla="*/ 221 h 1245"/>
              <a:gd name="T66" fmla="*/ 1030 w 1289"/>
              <a:gd name="T67" fmla="*/ 464 h 1245"/>
              <a:gd name="T68" fmla="*/ 804 w 1289"/>
              <a:gd name="T69" fmla="*/ 802 h 1245"/>
              <a:gd name="T70" fmla="*/ 843 w 1289"/>
              <a:gd name="T71" fmla="*/ 1039 h 1245"/>
              <a:gd name="T72" fmla="*/ 1004 w 1289"/>
              <a:gd name="T73" fmla="*/ 1165 h 1245"/>
              <a:gd name="T74" fmla="*/ 1044 w 1289"/>
              <a:gd name="T75" fmla="*/ 1205 h 1245"/>
              <a:gd name="T76" fmla="*/ 1004 w 1289"/>
              <a:gd name="T77" fmla="*/ 1245 h 1245"/>
              <a:gd name="T78" fmla="*/ 765 w 1289"/>
              <a:gd name="T79" fmla="*/ 1051 h 1245"/>
              <a:gd name="T80" fmla="*/ 725 w 1289"/>
              <a:gd name="T81" fmla="*/ 814 h 1245"/>
              <a:gd name="T82" fmla="*/ 724 w 1289"/>
              <a:gd name="T83" fmla="*/ 805 h 1245"/>
              <a:gd name="T84" fmla="*/ 990 w 1289"/>
              <a:gd name="T85" fmla="*/ 395 h 1245"/>
              <a:gd name="T86" fmla="*/ 1207 w 1289"/>
              <a:gd name="T87" fmla="*/ 189 h 1245"/>
              <a:gd name="T88" fmla="*/ 204 w 1289"/>
              <a:gd name="T89" fmla="*/ 1245 h 1245"/>
              <a:gd name="T90" fmla="*/ 164 w 1289"/>
              <a:gd name="T91" fmla="*/ 1205 h 1245"/>
              <a:gd name="T92" fmla="*/ 204 w 1289"/>
              <a:gd name="T93" fmla="*/ 1165 h 1245"/>
              <a:gd name="T94" fmla="*/ 364 w 1289"/>
              <a:gd name="T95" fmla="*/ 1039 h 1245"/>
              <a:gd name="T96" fmla="*/ 404 w 1289"/>
              <a:gd name="T97" fmla="*/ 759 h 1245"/>
              <a:gd name="T98" fmla="*/ 269 w 1289"/>
              <a:gd name="T99" fmla="*/ 549 h 1245"/>
              <a:gd name="T100" fmla="*/ 5 w 1289"/>
              <a:gd name="T101" fmla="*/ 213 h 1245"/>
              <a:gd name="T102" fmla="*/ 36 w 1289"/>
              <a:gd name="T103" fmla="*/ 166 h 1245"/>
              <a:gd name="T104" fmla="*/ 83 w 1289"/>
              <a:gd name="T105" fmla="*/ 197 h 1245"/>
              <a:gd name="T106" fmla="*/ 311 w 1289"/>
              <a:gd name="T107" fmla="*/ 482 h 1245"/>
              <a:gd name="T108" fmla="*/ 484 w 1289"/>
              <a:gd name="T109" fmla="*/ 771 h 1245"/>
              <a:gd name="T110" fmla="*/ 444 w 1289"/>
              <a:gd name="T111" fmla="*/ 1051 h 1245"/>
              <a:gd name="T112" fmla="*/ 204 w 1289"/>
              <a:gd name="T113" fmla="*/ 1245 h 1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89" h="1245">
                <a:moveTo>
                  <a:pt x="1091" y="143"/>
                </a:moveTo>
                <a:cubicBezTo>
                  <a:pt x="1103" y="125"/>
                  <a:pt x="1128" y="119"/>
                  <a:pt x="1146" y="132"/>
                </a:cubicBezTo>
                <a:cubicBezTo>
                  <a:pt x="1164" y="144"/>
                  <a:pt x="1170" y="169"/>
                  <a:pt x="1157" y="187"/>
                </a:cubicBezTo>
                <a:cubicBezTo>
                  <a:pt x="1094" y="283"/>
                  <a:pt x="976" y="321"/>
                  <a:pt x="864" y="357"/>
                </a:cubicBezTo>
                <a:cubicBezTo>
                  <a:pt x="820" y="371"/>
                  <a:pt x="776" y="385"/>
                  <a:pt x="740" y="401"/>
                </a:cubicBezTo>
                <a:cubicBezTo>
                  <a:pt x="720" y="410"/>
                  <a:pt x="697" y="401"/>
                  <a:pt x="688" y="381"/>
                </a:cubicBezTo>
                <a:cubicBezTo>
                  <a:pt x="687" y="380"/>
                  <a:pt x="684" y="365"/>
                  <a:pt x="684" y="365"/>
                </a:cubicBezTo>
                <a:cubicBezTo>
                  <a:pt x="684" y="283"/>
                  <a:pt x="706" y="258"/>
                  <a:pt x="738" y="219"/>
                </a:cubicBezTo>
                <a:cubicBezTo>
                  <a:pt x="758" y="197"/>
                  <a:pt x="782" y="169"/>
                  <a:pt x="807" y="109"/>
                </a:cubicBezTo>
                <a:cubicBezTo>
                  <a:pt x="816" y="89"/>
                  <a:pt x="839" y="80"/>
                  <a:pt x="860" y="88"/>
                </a:cubicBezTo>
                <a:cubicBezTo>
                  <a:pt x="880" y="97"/>
                  <a:pt x="889" y="120"/>
                  <a:pt x="881" y="141"/>
                </a:cubicBezTo>
                <a:cubicBezTo>
                  <a:pt x="851" y="211"/>
                  <a:pt x="822" y="245"/>
                  <a:pt x="799" y="271"/>
                </a:cubicBezTo>
                <a:cubicBezTo>
                  <a:pt x="790" y="282"/>
                  <a:pt x="782" y="291"/>
                  <a:pt x="777" y="301"/>
                </a:cubicBezTo>
                <a:cubicBezTo>
                  <a:pt x="797" y="294"/>
                  <a:pt x="818" y="288"/>
                  <a:pt x="839" y="281"/>
                </a:cubicBezTo>
                <a:cubicBezTo>
                  <a:pt x="938" y="249"/>
                  <a:pt x="1042" y="215"/>
                  <a:pt x="1091" y="143"/>
                </a:cubicBezTo>
                <a:close/>
                <a:moveTo>
                  <a:pt x="686" y="33"/>
                </a:moveTo>
                <a:cubicBezTo>
                  <a:pt x="693" y="12"/>
                  <a:pt x="716" y="0"/>
                  <a:pt x="736" y="7"/>
                </a:cubicBezTo>
                <a:cubicBezTo>
                  <a:pt x="757" y="14"/>
                  <a:pt x="769" y="37"/>
                  <a:pt x="762" y="57"/>
                </a:cubicBezTo>
                <a:cubicBezTo>
                  <a:pt x="743" y="113"/>
                  <a:pt x="705" y="158"/>
                  <a:pt x="666" y="204"/>
                </a:cubicBezTo>
                <a:cubicBezTo>
                  <a:pt x="616" y="263"/>
                  <a:pt x="564" y="324"/>
                  <a:pt x="564" y="405"/>
                </a:cubicBezTo>
                <a:cubicBezTo>
                  <a:pt x="564" y="427"/>
                  <a:pt x="546" y="445"/>
                  <a:pt x="524" y="445"/>
                </a:cubicBezTo>
                <a:cubicBezTo>
                  <a:pt x="516" y="445"/>
                  <a:pt x="508" y="443"/>
                  <a:pt x="502" y="438"/>
                </a:cubicBezTo>
                <a:cubicBezTo>
                  <a:pt x="474" y="422"/>
                  <a:pt x="441" y="408"/>
                  <a:pt x="407" y="394"/>
                </a:cubicBezTo>
                <a:cubicBezTo>
                  <a:pt x="305" y="353"/>
                  <a:pt x="199" y="310"/>
                  <a:pt x="165" y="175"/>
                </a:cubicBezTo>
                <a:cubicBezTo>
                  <a:pt x="160" y="153"/>
                  <a:pt x="173" y="131"/>
                  <a:pt x="194" y="126"/>
                </a:cubicBezTo>
                <a:cubicBezTo>
                  <a:pt x="216" y="121"/>
                  <a:pt x="238" y="134"/>
                  <a:pt x="243" y="155"/>
                </a:cubicBezTo>
                <a:cubicBezTo>
                  <a:pt x="267" y="251"/>
                  <a:pt x="353" y="286"/>
                  <a:pt x="437" y="320"/>
                </a:cubicBezTo>
                <a:cubicBezTo>
                  <a:pt x="455" y="328"/>
                  <a:pt x="473" y="335"/>
                  <a:pt x="491" y="343"/>
                </a:cubicBezTo>
                <a:cubicBezTo>
                  <a:pt x="509" y="266"/>
                  <a:pt x="558" y="208"/>
                  <a:pt x="605" y="153"/>
                </a:cubicBezTo>
                <a:cubicBezTo>
                  <a:pt x="639" y="113"/>
                  <a:pt x="672" y="73"/>
                  <a:pt x="686" y="33"/>
                </a:cubicBezTo>
                <a:close/>
                <a:moveTo>
                  <a:pt x="1207" y="189"/>
                </a:moveTo>
                <a:cubicBezTo>
                  <a:pt x="1216" y="169"/>
                  <a:pt x="1239" y="160"/>
                  <a:pt x="1260" y="168"/>
                </a:cubicBezTo>
                <a:cubicBezTo>
                  <a:pt x="1280" y="177"/>
                  <a:pt x="1289" y="200"/>
                  <a:pt x="1281" y="221"/>
                </a:cubicBezTo>
                <a:cubicBezTo>
                  <a:pt x="1225" y="351"/>
                  <a:pt x="1126" y="408"/>
                  <a:pt x="1030" y="464"/>
                </a:cubicBezTo>
                <a:cubicBezTo>
                  <a:pt x="916" y="531"/>
                  <a:pt x="805" y="595"/>
                  <a:pt x="804" y="802"/>
                </a:cubicBezTo>
                <a:cubicBezTo>
                  <a:pt x="843" y="1039"/>
                  <a:pt x="843" y="1039"/>
                  <a:pt x="843" y="1039"/>
                </a:cubicBezTo>
                <a:cubicBezTo>
                  <a:pt x="856" y="1118"/>
                  <a:pt x="926" y="1165"/>
                  <a:pt x="1004" y="1165"/>
                </a:cubicBezTo>
                <a:cubicBezTo>
                  <a:pt x="1026" y="1165"/>
                  <a:pt x="1044" y="1183"/>
                  <a:pt x="1044" y="1205"/>
                </a:cubicBezTo>
                <a:cubicBezTo>
                  <a:pt x="1044" y="1227"/>
                  <a:pt x="1026" y="1245"/>
                  <a:pt x="1004" y="1245"/>
                </a:cubicBezTo>
                <a:cubicBezTo>
                  <a:pt x="888" y="1245"/>
                  <a:pt x="784" y="1169"/>
                  <a:pt x="765" y="1051"/>
                </a:cubicBezTo>
                <a:cubicBezTo>
                  <a:pt x="725" y="814"/>
                  <a:pt x="725" y="814"/>
                  <a:pt x="725" y="814"/>
                </a:cubicBezTo>
                <a:cubicBezTo>
                  <a:pt x="724" y="811"/>
                  <a:pt x="724" y="808"/>
                  <a:pt x="724" y="805"/>
                </a:cubicBezTo>
                <a:cubicBezTo>
                  <a:pt x="724" y="550"/>
                  <a:pt x="855" y="474"/>
                  <a:pt x="990" y="395"/>
                </a:cubicBezTo>
                <a:cubicBezTo>
                  <a:pt x="1075" y="345"/>
                  <a:pt x="1162" y="295"/>
                  <a:pt x="1207" y="189"/>
                </a:cubicBezTo>
                <a:close/>
                <a:moveTo>
                  <a:pt x="204" y="1245"/>
                </a:moveTo>
                <a:cubicBezTo>
                  <a:pt x="182" y="1245"/>
                  <a:pt x="164" y="1227"/>
                  <a:pt x="164" y="1205"/>
                </a:cubicBezTo>
                <a:cubicBezTo>
                  <a:pt x="164" y="1183"/>
                  <a:pt x="182" y="1165"/>
                  <a:pt x="204" y="1165"/>
                </a:cubicBezTo>
                <a:cubicBezTo>
                  <a:pt x="280" y="1165"/>
                  <a:pt x="353" y="1119"/>
                  <a:pt x="364" y="1039"/>
                </a:cubicBezTo>
                <a:cubicBezTo>
                  <a:pt x="404" y="759"/>
                  <a:pt x="404" y="759"/>
                  <a:pt x="404" y="759"/>
                </a:cubicBezTo>
                <a:cubicBezTo>
                  <a:pt x="421" y="645"/>
                  <a:pt x="351" y="601"/>
                  <a:pt x="269" y="549"/>
                </a:cubicBezTo>
                <a:cubicBezTo>
                  <a:pt x="167" y="485"/>
                  <a:pt x="49" y="411"/>
                  <a:pt x="5" y="213"/>
                </a:cubicBezTo>
                <a:cubicBezTo>
                  <a:pt x="0" y="192"/>
                  <a:pt x="14" y="171"/>
                  <a:pt x="36" y="166"/>
                </a:cubicBezTo>
                <a:cubicBezTo>
                  <a:pt x="57" y="161"/>
                  <a:pt x="78" y="175"/>
                  <a:pt x="83" y="197"/>
                </a:cubicBezTo>
                <a:cubicBezTo>
                  <a:pt x="120" y="361"/>
                  <a:pt x="222" y="426"/>
                  <a:pt x="311" y="482"/>
                </a:cubicBezTo>
                <a:cubicBezTo>
                  <a:pt x="418" y="549"/>
                  <a:pt x="507" y="605"/>
                  <a:pt x="484" y="771"/>
                </a:cubicBezTo>
                <a:cubicBezTo>
                  <a:pt x="444" y="1051"/>
                  <a:pt x="444" y="1051"/>
                  <a:pt x="444" y="1051"/>
                </a:cubicBezTo>
                <a:cubicBezTo>
                  <a:pt x="426" y="1169"/>
                  <a:pt x="320" y="1245"/>
                  <a:pt x="204" y="1245"/>
                </a:cubicBezTo>
                <a:close/>
              </a:path>
            </a:pathLst>
          </a:custGeom>
          <a:solidFill>
            <a:schemeClr val="tx1">
              <a:lumMod val="40000"/>
              <a:lumOff val="60000"/>
            </a:schemeClr>
          </a:solidFill>
          <a:ln>
            <a:noFill/>
          </a:ln>
          <a:extLst>
            <a:ext uri="{91240B29-F687-4F45-9708-019B960494DF}">
              <a14:hiddenLine xmlns:a14="http://schemas.microsoft.com/office/drawing/2010/main" w="9525">
                <a:solidFill>
                  <a:schemeClr val="dk1"/>
                </a:solidFill>
                <a:round/>
                <a:headEnd/>
                <a:tailEnd/>
              </a14:hiddenLine>
            </a:ext>
          </a:extLst>
        </p:spPr>
        <p:txBody>
          <a:bodyPr vert="horz" wrap="square" lIns="91440" tIns="45720" rIns="91440" bIns="45720" numCol="1" anchor="t" anchorCtr="0" compatLnSpc="1">
            <a:prstTxWarp prst="textNoShape">
              <a:avLst/>
            </a:prstTxWarp>
          </a:bodyPr>
          <a:lstStyle/>
          <a:p>
            <a:endParaRPr lang="en-US" sz="1000" noProof="1"/>
          </a:p>
        </p:txBody>
      </p:sp>
      <p:sp>
        <p:nvSpPr>
          <p:cNvPr id="145" name="Freeform 21">
            <a:extLst>
              <a:ext uri="{FF2B5EF4-FFF2-40B4-BE49-F238E27FC236}">
                <a16:creationId xmlns:a16="http://schemas.microsoft.com/office/drawing/2014/main" xmlns="" id="{3B147904-258B-4540-B4DC-ACDAFAB12B14}"/>
              </a:ext>
            </a:extLst>
          </p:cNvPr>
          <p:cNvSpPr>
            <a:spLocks noChangeAspect="1" noEditPoints="1"/>
          </p:cNvSpPr>
          <p:nvPr>
            <p:custDataLst>
              <p:tags r:id="rId11"/>
            </p:custDataLst>
          </p:nvPr>
        </p:nvSpPr>
        <p:spPr bwMode="auto">
          <a:xfrm>
            <a:off x="8755859" y="4547917"/>
            <a:ext cx="271682" cy="274889"/>
          </a:xfrm>
          <a:custGeom>
            <a:avLst/>
            <a:gdLst>
              <a:gd name="T0" fmla="*/ 1328 w 2120"/>
              <a:gd name="T1" fmla="*/ 632 h 2121"/>
              <a:gd name="T2" fmla="*/ 1272 w 2120"/>
              <a:gd name="T3" fmla="*/ 688 h 2121"/>
              <a:gd name="T4" fmla="*/ 1324 w 2120"/>
              <a:gd name="T5" fmla="*/ 740 h 2121"/>
              <a:gd name="T6" fmla="*/ 1218 w 2120"/>
              <a:gd name="T7" fmla="*/ 845 h 2121"/>
              <a:gd name="T8" fmla="*/ 1168 w 2120"/>
              <a:gd name="T9" fmla="*/ 795 h 2121"/>
              <a:gd name="T10" fmla="*/ 1112 w 2120"/>
              <a:gd name="T11" fmla="*/ 851 h 2121"/>
              <a:gd name="T12" fmla="*/ 1162 w 2120"/>
              <a:gd name="T13" fmla="*/ 902 h 2121"/>
              <a:gd name="T14" fmla="*/ 1058 w 2120"/>
              <a:gd name="T15" fmla="*/ 1005 h 2121"/>
              <a:gd name="T16" fmla="*/ 1010 w 2120"/>
              <a:gd name="T17" fmla="*/ 957 h 2121"/>
              <a:gd name="T18" fmla="*/ 954 w 2120"/>
              <a:gd name="T19" fmla="*/ 1013 h 2121"/>
              <a:gd name="T20" fmla="*/ 1002 w 2120"/>
              <a:gd name="T21" fmla="*/ 1062 h 2121"/>
              <a:gd name="T22" fmla="*/ 899 w 2120"/>
              <a:gd name="T23" fmla="*/ 1164 h 2121"/>
              <a:gd name="T24" fmla="*/ 846 w 2120"/>
              <a:gd name="T25" fmla="*/ 1112 h 2121"/>
              <a:gd name="T26" fmla="*/ 790 w 2120"/>
              <a:gd name="T27" fmla="*/ 1168 h 2121"/>
              <a:gd name="T28" fmla="*/ 842 w 2120"/>
              <a:gd name="T29" fmla="*/ 1221 h 2121"/>
              <a:gd name="T30" fmla="*/ 739 w 2120"/>
              <a:gd name="T31" fmla="*/ 1324 h 2121"/>
              <a:gd name="T32" fmla="*/ 686 w 2120"/>
              <a:gd name="T33" fmla="*/ 1272 h 2121"/>
              <a:gd name="T34" fmla="*/ 630 w 2120"/>
              <a:gd name="T35" fmla="*/ 1328 h 2121"/>
              <a:gd name="T36" fmla="*/ 682 w 2120"/>
              <a:gd name="T37" fmla="*/ 1381 h 2121"/>
              <a:gd name="T38" fmla="*/ 632 w 2120"/>
              <a:gd name="T39" fmla="*/ 1432 h 2121"/>
              <a:gd name="T40" fmla="*/ 688 w 2120"/>
              <a:gd name="T41" fmla="*/ 1488 h 2121"/>
              <a:gd name="T42" fmla="*/ 739 w 2120"/>
              <a:gd name="T43" fmla="*/ 1438 h 2121"/>
              <a:gd name="T44" fmla="*/ 790 w 2120"/>
              <a:gd name="T45" fmla="*/ 1488 h 2121"/>
              <a:gd name="T46" fmla="*/ 846 w 2120"/>
              <a:gd name="T47" fmla="*/ 1432 h 2121"/>
              <a:gd name="T48" fmla="*/ 796 w 2120"/>
              <a:gd name="T49" fmla="*/ 1381 h 2121"/>
              <a:gd name="T50" fmla="*/ 899 w 2120"/>
              <a:gd name="T51" fmla="*/ 1278 h 2121"/>
              <a:gd name="T52" fmla="*/ 950 w 2120"/>
              <a:gd name="T53" fmla="*/ 1328 h 2121"/>
              <a:gd name="T54" fmla="*/ 1006 w 2120"/>
              <a:gd name="T55" fmla="*/ 1272 h 2121"/>
              <a:gd name="T56" fmla="*/ 956 w 2120"/>
              <a:gd name="T57" fmla="*/ 1221 h 2121"/>
              <a:gd name="T58" fmla="*/ 1058 w 2120"/>
              <a:gd name="T59" fmla="*/ 1118 h 2121"/>
              <a:gd name="T60" fmla="*/ 1114 w 2120"/>
              <a:gd name="T61" fmla="*/ 1173 h 2121"/>
              <a:gd name="T62" fmla="*/ 1170 w 2120"/>
              <a:gd name="T63" fmla="*/ 1117 h 2121"/>
              <a:gd name="T64" fmla="*/ 1115 w 2120"/>
              <a:gd name="T65" fmla="*/ 1062 h 2121"/>
              <a:gd name="T66" fmla="*/ 1218 w 2120"/>
              <a:gd name="T67" fmla="*/ 958 h 2121"/>
              <a:gd name="T68" fmla="*/ 1272 w 2120"/>
              <a:gd name="T69" fmla="*/ 1011 h 2121"/>
              <a:gd name="T70" fmla="*/ 1328 w 2120"/>
              <a:gd name="T71" fmla="*/ 955 h 2121"/>
              <a:gd name="T72" fmla="*/ 1275 w 2120"/>
              <a:gd name="T73" fmla="*/ 902 h 2121"/>
              <a:gd name="T74" fmla="*/ 1380 w 2120"/>
              <a:gd name="T75" fmla="*/ 796 h 2121"/>
              <a:gd name="T76" fmla="*/ 1432 w 2120"/>
              <a:gd name="T77" fmla="*/ 848 h 2121"/>
              <a:gd name="T78" fmla="*/ 1488 w 2120"/>
              <a:gd name="T79" fmla="*/ 792 h 2121"/>
              <a:gd name="T80" fmla="*/ 1436 w 2120"/>
              <a:gd name="T81" fmla="*/ 740 h 2121"/>
              <a:gd name="T82" fmla="*/ 1488 w 2120"/>
              <a:gd name="T83" fmla="*/ 688 h 2121"/>
              <a:gd name="T84" fmla="*/ 1432 w 2120"/>
              <a:gd name="T85" fmla="*/ 632 h 2121"/>
              <a:gd name="T86" fmla="*/ 1380 w 2120"/>
              <a:gd name="T87" fmla="*/ 684 h 2121"/>
              <a:gd name="T88" fmla="*/ 1328 w 2120"/>
              <a:gd name="T89" fmla="*/ 632 h 2121"/>
              <a:gd name="T90" fmla="*/ 771 w 2120"/>
              <a:gd name="T91" fmla="*/ 2091 h 2121"/>
              <a:gd name="T92" fmla="*/ 230 w 2120"/>
              <a:gd name="T93" fmla="*/ 2005 h 2121"/>
              <a:gd name="T94" fmla="*/ 115 w 2120"/>
              <a:gd name="T95" fmla="*/ 1890 h 2121"/>
              <a:gd name="T96" fmla="*/ 29 w 2120"/>
              <a:gd name="T97" fmla="*/ 1349 h 2121"/>
              <a:gd name="T98" fmla="*/ 771 w 2120"/>
              <a:gd name="T99" fmla="*/ 2091 h 2121"/>
              <a:gd name="T100" fmla="*/ 93 w 2120"/>
              <a:gd name="T101" fmla="*/ 1053 h 2121"/>
              <a:gd name="T102" fmla="*/ 459 w 2120"/>
              <a:gd name="T103" fmla="*/ 459 h 2121"/>
              <a:gd name="T104" fmla="*/ 1053 w 2120"/>
              <a:gd name="T105" fmla="*/ 93 h 2121"/>
              <a:gd name="T106" fmla="*/ 2028 w 2120"/>
              <a:gd name="T107" fmla="*/ 1064 h 2121"/>
              <a:gd name="T108" fmla="*/ 1661 w 2120"/>
              <a:gd name="T109" fmla="*/ 1661 h 2121"/>
              <a:gd name="T110" fmla="*/ 1067 w 2120"/>
              <a:gd name="T111" fmla="*/ 2027 h 2121"/>
              <a:gd name="T112" fmla="*/ 93 w 2120"/>
              <a:gd name="T113" fmla="*/ 1053 h 2121"/>
              <a:gd name="T114" fmla="*/ 1349 w 2120"/>
              <a:gd name="T115" fmla="*/ 29 h 2121"/>
              <a:gd name="T116" fmla="*/ 1890 w 2120"/>
              <a:gd name="T117" fmla="*/ 115 h 2121"/>
              <a:gd name="T118" fmla="*/ 2005 w 2120"/>
              <a:gd name="T119" fmla="*/ 230 h 2121"/>
              <a:gd name="T120" fmla="*/ 2091 w 2120"/>
              <a:gd name="T121" fmla="*/ 771 h 2121"/>
              <a:gd name="T122" fmla="*/ 1349 w 2120"/>
              <a:gd name="T123" fmla="*/ 29 h 2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20" h="2121">
                <a:moveTo>
                  <a:pt x="1328" y="632"/>
                </a:moveTo>
                <a:cubicBezTo>
                  <a:pt x="1272" y="688"/>
                  <a:pt x="1272" y="688"/>
                  <a:pt x="1272" y="688"/>
                </a:cubicBezTo>
                <a:cubicBezTo>
                  <a:pt x="1324" y="740"/>
                  <a:pt x="1324" y="740"/>
                  <a:pt x="1324" y="740"/>
                </a:cubicBezTo>
                <a:cubicBezTo>
                  <a:pt x="1218" y="845"/>
                  <a:pt x="1218" y="845"/>
                  <a:pt x="1218" y="845"/>
                </a:cubicBezTo>
                <a:cubicBezTo>
                  <a:pt x="1168" y="795"/>
                  <a:pt x="1168" y="795"/>
                  <a:pt x="1168" y="795"/>
                </a:cubicBezTo>
                <a:cubicBezTo>
                  <a:pt x="1112" y="851"/>
                  <a:pt x="1112" y="851"/>
                  <a:pt x="1112" y="851"/>
                </a:cubicBezTo>
                <a:cubicBezTo>
                  <a:pt x="1162" y="902"/>
                  <a:pt x="1162" y="902"/>
                  <a:pt x="1162" y="902"/>
                </a:cubicBezTo>
                <a:cubicBezTo>
                  <a:pt x="1058" y="1005"/>
                  <a:pt x="1058" y="1005"/>
                  <a:pt x="1058" y="1005"/>
                </a:cubicBezTo>
                <a:cubicBezTo>
                  <a:pt x="1010" y="957"/>
                  <a:pt x="1010" y="957"/>
                  <a:pt x="1010" y="957"/>
                </a:cubicBezTo>
                <a:cubicBezTo>
                  <a:pt x="954" y="1013"/>
                  <a:pt x="954" y="1013"/>
                  <a:pt x="954" y="1013"/>
                </a:cubicBezTo>
                <a:cubicBezTo>
                  <a:pt x="1002" y="1062"/>
                  <a:pt x="1002" y="1062"/>
                  <a:pt x="1002" y="1062"/>
                </a:cubicBezTo>
                <a:cubicBezTo>
                  <a:pt x="899" y="1164"/>
                  <a:pt x="899" y="1164"/>
                  <a:pt x="899" y="1164"/>
                </a:cubicBezTo>
                <a:cubicBezTo>
                  <a:pt x="846" y="1112"/>
                  <a:pt x="846" y="1112"/>
                  <a:pt x="846" y="1112"/>
                </a:cubicBezTo>
                <a:cubicBezTo>
                  <a:pt x="790" y="1168"/>
                  <a:pt x="790" y="1168"/>
                  <a:pt x="790" y="1168"/>
                </a:cubicBezTo>
                <a:cubicBezTo>
                  <a:pt x="842" y="1221"/>
                  <a:pt x="842" y="1221"/>
                  <a:pt x="842" y="1221"/>
                </a:cubicBezTo>
                <a:cubicBezTo>
                  <a:pt x="739" y="1324"/>
                  <a:pt x="739" y="1324"/>
                  <a:pt x="739" y="1324"/>
                </a:cubicBezTo>
                <a:cubicBezTo>
                  <a:pt x="686" y="1272"/>
                  <a:pt x="686" y="1272"/>
                  <a:pt x="686" y="1272"/>
                </a:cubicBezTo>
                <a:cubicBezTo>
                  <a:pt x="630" y="1328"/>
                  <a:pt x="630" y="1328"/>
                  <a:pt x="630" y="1328"/>
                </a:cubicBezTo>
                <a:cubicBezTo>
                  <a:pt x="682" y="1381"/>
                  <a:pt x="682" y="1381"/>
                  <a:pt x="682" y="1381"/>
                </a:cubicBezTo>
                <a:cubicBezTo>
                  <a:pt x="632" y="1432"/>
                  <a:pt x="632" y="1432"/>
                  <a:pt x="632" y="1432"/>
                </a:cubicBezTo>
                <a:cubicBezTo>
                  <a:pt x="688" y="1488"/>
                  <a:pt x="688" y="1488"/>
                  <a:pt x="688" y="1488"/>
                </a:cubicBezTo>
                <a:cubicBezTo>
                  <a:pt x="739" y="1438"/>
                  <a:pt x="739" y="1438"/>
                  <a:pt x="739" y="1438"/>
                </a:cubicBezTo>
                <a:cubicBezTo>
                  <a:pt x="790" y="1488"/>
                  <a:pt x="790" y="1488"/>
                  <a:pt x="790" y="1488"/>
                </a:cubicBezTo>
                <a:cubicBezTo>
                  <a:pt x="846" y="1432"/>
                  <a:pt x="846" y="1432"/>
                  <a:pt x="846" y="1432"/>
                </a:cubicBezTo>
                <a:cubicBezTo>
                  <a:pt x="796" y="1381"/>
                  <a:pt x="796" y="1381"/>
                  <a:pt x="796" y="1381"/>
                </a:cubicBezTo>
                <a:cubicBezTo>
                  <a:pt x="899" y="1278"/>
                  <a:pt x="899" y="1278"/>
                  <a:pt x="899" y="1278"/>
                </a:cubicBezTo>
                <a:cubicBezTo>
                  <a:pt x="950" y="1328"/>
                  <a:pt x="950" y="1328"/>
                  <a:pt x="950" y="1328"/>
                </a:cubicBezTo>
                <a:cubicBezTo>
                  <a:pt x="1006" y="1272"/>
                  <a:pt x="1006" y="1272"/>
                  <a:pt x="1006" y="1272"/>
                </a:cubicBezTo>
                <a:cubicBezTo>
                  <a:pt x="956" y="1221"/>
                  <a:pt x="956" y="1221"/>
                  <a:pt x="956" y="1221"/>
                </a:cubicBezTo>
                <a:cubicBezTo>
                  <a:pt x="1058" y="1118"/>
                  <a:pt x="1058" y="1118"/>
                  <a:pt x="1058" y="1118"/>
                </a:cubicBezTo>
                <a:cubicBezTo>
                  <a:pt x="1114" y="1173"/>
                  <a:pt x="1114" y="1173"/>
                  <a:pt x="1114" y="1173"/>
                </a:cubicBezTo>
                <a:cubicBezTo>
                  <a:pt x="1170" y="1117"/>
                  <a:pt x="1170" y="1117"/>
                  <a:pt x="1170" y="1117"/>
                </a:cubicBezTo>
                <a:cubicBezTo>
                  <a:pt x="1115" y="1062"/>
                  <a:pt x="1115" y="1062"/>
                  <a:pt x="1115" y="1062"/>
                </a:cubicBezTo>
                <a:cubicBezTo>
                  <a:pt x="1218" y="958"/>
                  <a:pt x="1218" y="958"/>
                  <a:pt x="1218" y="958"/>
                </a:cubicBezTo>
                <a:cubicBezTo>
                  <a:pt x="1272" y="1011"/>
                  <a:pt x="1272" y="1011"/>
                  <a:pt x="1272" y="1011"/>
                </a:cubicBezTo>
                <a:cubicBezTo>
                  <a:pt x="1328" y="955"/>
                  <a:pt x="1328" y="955"/>
                  <a:pt x="1328" y="955"/>
                </a:cubicBezTo>
                <a:cubicBezTo>
                  <a:pt x="1275" y="902"/>
                  <a:pt x="1275" y="902"/>
                  <a:pt x="1275" y="902"/>
                </a:cubicBezTo>
                <a:cubicBezTo>
                  <a:pt x="1380" y="796"/>
                  <a:pt x="1380" y="796"/>
                  <a:pt x="1380" y="796"/>
                </a:cubicBezTo>
                <a:cubicBezTo>
                  <a:pt x="1432" y="848"/>
                  <a:pt x="1432" y="848"/>
                  <a:pt x="1432" y="848"/>
                </a:cubicBezTo>
                <a:cubicBezTo>
                  <a:pt x="1488" y="792"/>
                  <a:pt x="1488" y="792"/>
                  <a:pt x="1488" y="792"/>
                </a:cubicBezTo>
                <a:cubicBezTo>
                  <a:pt x="1436" y="740"/>
                  <a:pt x="1436" y="740"/>
                  <a:pt x="1436" y="740"/>
                </a:cubicBezTo>
                <a:cubicBezTo>
                  <a:pt x="1488" y="688"/>
                  <a:pt x="1488" y="688"/>
                  <a:pt x="1488" y="688"/>
                </a:cubicBezTo>
                <a:cubicBezTo>
                  <a:pt x="1432" y="632"/>
                  <a:pt x="1432" y="632"/>
                  <a:pt x="1432" y="632"/>
                </a:cubicBezTo>
                <a:cubicBezTo>
                  <a:pt x="1380" y="684"/>
                  <a:pt x="1380" y="684"/>
                  <a:pt x="1380" y="684"/>
                </a:cubicBezTo>
                <a:lnTo>
                  <a:pt x="1328" y="632"/>
                </a:lnTo>
                <a:close/>
                <a:moveTo>
                  <a:pt x="771" y="2091"/>
                </a:moveTo>
                <a:cubicBezTo>
                  <a:pt x="506" y="2121"/>
                  <a:pt x="292" y="2067"/>
                  <a:pt x="230" y="2005"/>
                </a:cubicBezTo>
                <a:cubicBezTo>
                  <a:pt x="115" y="1890"/>
                  <a:pt x="115" y="1890"/>
                  <a:pt x="115" y="1890"/>
                </a:cubicBezTo>
                <a:cubicBezTo>
                  <a:pt x="54" y="1829"/>
                  <a:pt x="0" y="1615"/>
                  <a:pt x="29" y="1349"/>
                </a:cubicBezTo>
                <a:lnTo>
                  <a:pt x="771" y="2091"/>
                </a:lnTo>
                <a:close/>
                <a:moveTo>
                  <a:pt x="93" y="1053"/>
                </a:moveTo>
                <a:cubicBezTo>
                  <a:pt x="158" y="854"/>
                  <a:pt x="272" y="646"/>
                  <a:pt x="459" y="459"/>
                </a:cubicBezTo>
                <a:cubicBezTo>
                  <a:pt x="646" y="272"/>
                  <a:pt x="854" y="158"/>
                  <a:pt x="1053" y="93"/>
                </a:cubicBezTo>
                <a:cubicBezTo>
                  <a:pt x="2028" y="1064"/>
                  <a:pt x="2028" y="1064"/>
                  <a:pt x="2028" y="1064"/>
                </a:cubicBezTo>
                <a:cubicBezTo>
                  <a:pt x="1964" y="1264"/>
                  <a:pt x="1849" y="1474"/>
                  <a:pt x="1661" y="1661"/>
                </a:cubicBezTo>
                <a:cubicBezTo>
                  <a:pt x="1494" y="1829"/>
                  <a:pt x="1292" y="1954"/>
                  <a:pt x="1067" y="2027"/>
                </a:cubicBezTo>
                <a:lnTo>
                  <a:pt x="93" y="1053"/>
                </a:lnTo>
                <a:close/>
                <a:moveTo>
                  <a:pt x="1349" y="29"/>
                </a:moveTo>
                <a:cubicBezTo>
                  <a:pt x="1615" y="0"/>
                  <a:pt x="1829" y="54"/>
                  <a:pt x="1890" y="115"/>
                </a:cubicBezTo>
                <a:cubicBezTo>
                  <a:pt x="2005" y="230"/>
                  <a:pt x="2005" y="230"/>
                  <a:pt x="2005" y="230"/>
                </a:cubicBezTo>
                <a:cubicBezTo>
                  <a:pt x="2066" y="291"/>
                  <a:pt x="2120" y="505"/>
                  <a:pt x="2091" y="771"/>
                </a:cubicBezTo>
                <a:lnTo>
                  <a:pt x="1349" y="29"/>
                </a:lnTo>
                <a:close/>
              </a:path>
            </a:pathLst>
          </a:custGeom>
          <a:solidFill>
            <a:schemeClr val="tx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000" dirty="0"/>
          </a:p>
        </p:txBody>
      </p:sp>
      <p:sp>
        <p:nvSpPr>
          <p:cNvPr id="146" name="Freeform 112">
            <a:extLst>
              <a:ext uri="{FF2B5EF4-FFF2-40B4-BE49-F238E27FC236}">
                <a16:creationId xmlns:a16="http://schemas.microsoft.com/office/drawing/2014/main" xmlns="" id="{98FF9C3A-02F0-45A1-A19E-F931D76413C6}"/>
              </a:ext>
            </a:extLst>
          </p:cNvPr>
          <p:cNvSpPr>
            <a:spLocks/>
          </p:cNvSpPr>
          <p:nvPr/>
        </p:nvSpPr>
        <p:spPr bwMode="auto">
          <a:xfrm>
            <a:off x="9486809" y="4531885"/>
            <a:ext cx="289997" cy="130022"/>
          </a:xfrm>
          <a:custGeom>
            <a:avLst/>
            <a:gdLst>
              <a:gd name="T0" fmla="*/ 734 w 1492"/>
              <a:gd name="T1" fmla="*/ 669 h 669"/>
              <a:gd name="T2" fmla="*/ 1196 w 1492"/>
              <a:gd name="T3" fmla="*/ 589 h 669"/>
              <a:gd name="T4" fmla="*/ 1471 w 1492"/>
              <a:gd name="T5" fmla="*/ 572 h 669"/>
              <a:gd name="T6" fmla="*/ 1463 w 1492"/>
              <a:gd name="T7" fmla="*/ 368 h 669"/>
              <a:gd name="T8" fmla="*/ 1492 w 1492"/>
              <a:gd name="T9" fmla="*/ 124 h 669"/>
              <a:gd name="T10" fmla="*/ 1167 w 1492"/>
              <a:gd name="T11" fmla="*/ 51 h 669"/>
              <a:gd name="T12" fmla="*/ 205 w 1492"/>
              <a:gd name="T13" fmla="*/ 170 h 669"/>
              <a:gd name="T14" fmla="*/ 0 w 1492"/>
              <a:gd name="T15" fmla="*/ 405 h 669"/>
              <a:gd name="T16" fmla="*/ 607 w 1492"/>
              <a:gd name="T17" fmla="*/ 533 h 669"/>
              <a:gd name="T18" fmla="*/ 734 w 1492"/>
              <a:gd name="T19" fmla="*/ 669 h 6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92" h="669">
                <a:moveTo>
                  <a:pt x="734" y="669"/>
                </a:moveTo>
                <a:cubicBezTo>
                  <a:pt x="842" y="646"/>
                  <a:pt x="1054" y="604"/>
                  <a:pt x="1196" y="589"/>
                </a:cubicBezTo>
                <a:cubicBezTo>
                  <a:pt x="1303" y="577"/>
                  <a:pt x="1393" y="573"/>
                  <a:pt x="1471" y="572"/>
                </a:cubicBezTo>
                <a:cubicBezTo>
                  <a:pt x="1469" y="541"/>
                  <a:pt x="1463" y="459"/>
                  <a:pt x="1463" y="368"/>
                </a:cubicBezTo>
                <a:cubicBezTo>
                  <a:pt x="1463" y="259"/>
                  <a:pt x="1473" y="178"/>
                  <a:pt x="1492" y="124"/>
                </a:cubicBezTo>
                <a:cubicBezTo>
                  <a:pt x="1371" y="91"/>
                  <a:pt x="1254" y="65"/>
                  <a:pt x="1167" y="51"/>
                </a:cubicBezTo>
                <a:cubicBezTo>
                  <a:pt x="860" y="0"/>
                  <a:pt x="485" y="29"/>
                  <a:pt x="205" y="170"/>
                </a:cubicBezTo>
                <a:cubicBezTo>
                  <a:pt x="102" y="223"/>
                  <a:pt x="37" y="307"/>
                  <a:pt x="0" y="405"/>
                </a:cubicBezTo>
                <a:cubicBezTo>
                  <a:pt x="272" y="409"/>
                  <a:pt x="476" y="451"/>
                  <a:pt x="607" y="533"/>
                </a:cubicBezTo>
                <a:cubicBezTo>
                  <a:pt x="700" y="590"/>
                  <a:pt x="727" y="648"/>
                  <a:pt x="734" y="669"/>
                </a:cubicBezTo>
                <a:close/>
              </a:path>
            </a:pathLst>
          </a:cu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7" name="Freeform 113">
            <a:extLst>
              <a:ext uri="{FF2B5EF4-FFF2-40B4-BE49-F238E27FC236}">
                <a16:creationId xmlns:a16="http://schemas.microsoft.com/office/drawing/2014/main" xmlns="" id="{A0758FF5-C0C6-4FE8-9777-38B77E5CC979}"/>
              </a:ext>
            </a:extLst>
          </p:cNvPr>
          <p:cNvSpPr>
            <a:spLocks/>
          </p:cNvSpPr>
          <p:nvPr/>
        </p:nvSpPr>
        <p:spPr bwMode="auto">
          <a:xfrm>
            <a:off x="9478004" y="4559041"/>
            <a:ext cx="407263" cy="244984"/>
          </a:xfrm>
          <a:custGeom>
            <a:avLst/>
            <a:gdLst>
              <a:gd name="T0" fmla="*/ 2012 w 2095"/>
              <a:gd name="T1" fmla="*/ 174 h 1260"/>
              <a:gd name="T2" fmla="*/ 1594 w 2095"/>
              <a:gd name="T3" fmla="*/ 0 h 1260"/>
              <a:gd name="T4" fmla="*/ 1577 w 2095"/>
              <a:gd name="T5" fmla="*/ 433 h 1260"/>
              <a:gd name="T6" fmla="*/ 1692 w 2095"/>
              <a:gd name="T7" fmla="*/ 439 h 1260"/>
              <a:gd name="T8" fmla="*/ 1891 w 2095"/>
              <a:gd name="T9" fmla="*/ 489 h 1260"/>
              <a:gd name="T10" fmla="*/ 1926 w 2095"/>
              <a:gd name="T11" fmla="*/ 577 h 1260"/>
              <a:gd name="T12" fmla="*/ 1861 w 2095"/>
              <a:gd name="T13" fmla="*/ 729 h 1260"/>
              <a:gd name="T14" fmla="*/ 1776 w 2095"/>
              <a:gd name="T15" fmla="*/ 795 h 1260"/>
              <a:gd name="T16" fmla="*/ 1000 w 2095"/>
              <a:gd name="T17" fmla="*/ 923 h 1260"/>
              <a:gd name="T18" fmla="*/ 782 w 2095"/>
              <a:gd name="T19" fmla="*/ 824 h 1260"/>
              <a:gd name="T20" fmla="*/ 710 w 2095"/>
              <a:gd name="T21" fmla="*/ 544 h 1260"/>
              <a:gd name="T22" fmla="*/ 711 w 2095"/>
              <a:gd name="T23" fmla="*/ 543 h 1260"/>
              <a:gd name="T24" fmla="*/ 608 w 2095"/>
              <a:gd name="T25" fmla="*/ 445 h 1260"/>
              <a:gd name="T26" fmla="*/ 24 w 2095"/>
              <a:gd name="T27" fmla="*/ 333 h 1260"/>
              <a:gd name="T28" fmla="*/ 6 w 2095"/>
              <a:gd name="T29" fmla="*/ 594 h 1260"/>
              <a:gd name="T30" fmla="*/ 164 w 2095"/>
              <a:gd name="T31" fmla="*/ 1004 h 1260"/>
              <a:gd name="T32" fmla="*/ 237 w 2095"/>
              <a:gd name="T33" fmla="*/ 1052 h 1260"/>
              <a:gd name="T34" fmla="*/ 228 w 2095"/>
              <a:gd name="T35" fmla="*/ 1093 h 1260"/>
              <a:gd name="T36" fmla="*/ 241 w 2095"/>
              <a:gd name="T37" fmla="*/ 1128 h 1260"/>
              <a:gd name="T38" fmla="*/ 297 w 2095"/>
              <a:gd name="T39" fmla="*/ 1134 h 1260"/>
              <a:gd name="T40" fmla="*/ 336 w 2095"/>
              <a:gd name="T41" fmla="*/ 1094 h 1260"/>
              <a:gd name="T42" fmla="*/ 340 w 2095"/>
              <a:gd name="T43" fmla="*/ 1075 h 1260"/>
              <a:gd name="T44" fmla="*/ 451 w 2095"/>
              <a:gd name="T45" fmla="*/ 1089 h 1260"/>
              <a:gd name="T46" fmla="*/ 658 w 2095"/>
              <a:gd name="T47" fmla="*/ 1097 h 1260"/>
              <a:gd name="T48" fmla="*/ 741 w 2095"/>
              <a:gd name="T49" fmla="*/ 1122 h 1260"/>
              <a:gd name="T50" fmla="*/ 768 w 2095"/>
              <a:gd name="T51" fmla="*/ 1159 h 1260"/>
              <a:gd name="T52" fmla="*/ 767 w 2095"/>
              <a:gd name="T53" fmla="*/ 1229 h 1260"/>
              <a:gd name="T54" fmla="*/ 781 w 2095"/>
              <a:gd name="T55" fmla="*/ 1251 h 1260"/>
              <a:gd name="T56" fmla="*/ 840 w 2095"/>
              <a:gd name="T57" fmla="*/ 1258 h 1260"/>
              <a:gd name="T58" fmla="*/ 872 w 2095"/>
              <a:gd name="T59" fmla="*/ 1222 h 1260"/>
              <a:gd name="T60" fmla="*/ 852 w 2095"/>
              <a:gd name="T61" fmla="*/ 1112 h 1260"/>
              <a:gd name="T62" fmla="*/ 827 w 2095"/>
              <a:gd name="T63" fmla="*/ 1087 h 1260"/>
              <a:gd name="T64" fmla="*/ 1496 w 2095"/>
              <a:gd name="T65" fmla="*/ 988 h 1260"/>
              <a:gd name="T66" fmla="*/ 1704 w 2095"/>
              <a:gd name="T67" fmla="*/ 941 h 1260"/>
              <a:gd name="T68" fmla="*/ 1755 w 2095"/>
              <a:gd name="T69" fmla="*/ 952 h 1260"/>
              <a:gd name="T70" fmla="*/ 1781 w 2095"/>
              <a:gd name="T71" fmla="*/ 988 h 1260"/>
              <a:gd name="T72" fmla="*/ 1779 w 2095"/>
              <a:gd name="T73" fmla="*/ 1055 h 1260"/>
              <a:gd name="T74" fmla="*/ 1793 w 2095"/>
              <a:gd name="T75" fmla="*/ 1076 h 1260"/>
              <a:gd name="T76" fmla="*/ 1849 w 2095"/>
              <a:gd name="T77" fmla="*/ 1082 h 1260"/>
              <a:gd name="T78" fmla="*/ 1880 w 2095"/>
              <a:gd name="T79" fmla="*/ 1048 h 1260"/>
              <a:gd name="T80" fmla="*/ 1861 w 2095"/>
              <a:gd name="T81" fmla="*/ 943 h 1260"/>
              <a:gd name="T82" fmla="*/ 1825 w 2095"/>
              <a:gd name="T83" fmla="*/ 910 h 1260"/>
              <a:gd name="T84" fmla="*/ 1970 w 2095"/>
              <a:gd name="T85" fmla="*/ 807 h 1260"/>
              <a:gd name="T86" fmla="*/ 2081 w 2095"/>
              <a:gd name="T87" fmla="*/ 434 h 1260"/>
              <a:gd name="T88" fmla="*/ 2012 w 2095"/>
              <a:gd name="T89" fmla="*/ 174 h 12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95" h="1260">
                <a:moveTo>
                  <a:pt x="2012" y="174"/>
                </a:moveTo>
                <a:cubicBezTo>
                  <a:pt x="1920" y="110"/>
                  <a:pt x="1758" y="49"/>
                  <a:pt x="1594" y="0"/>
                </a:cubicBezTo>
                <a:cubicBezTo>
                  <a:pt x="1561" y="93"/>
                  <a:pt x="1564" y="301"/>
                  <a:pt x="1577" y="433"/>
                </a:cubicBezTo>
                <a:cubicBezTo>
                  <a:pt x="1618" y="434"/>
                  <a:pt x="1656" y="436"/>
                  <a:pt x="1692" y="439"/>
                </a:cubicBezTo>
                <a:cubicBezTo>
                  <a:pt x="1803" y="449"/>
                  <a:pt x="1845" y="465"/>
                  <a:pt x="1891" y="489"/>
                </a:cubicBezTo>
                <a:cubicBezTo>
                  <a:pt x="1937" y="513"/>
                  <a:pt x="1935" y="536"/>
                  <a:pt x="1926" y="577"/>
                </a:cubicBezTo>
                <a:cubicBezTo>
                  <a:pt x="1916" y="619"/>
                  <a:pt x="1897" y="679"/>
                  <a:pt x="1861" y="729"/>
                </a:cubicBezTo>
                <a:cubicBezTo>
                  <a:pt x="1826" y="780"/>
                  <a:pt x="1817" y="787"/>
                  <a:pt x="1776" y="795"/>
                </a:cubicBezTo>
                <a:cubicBezTo>
                  <a:pt x="1735" y="802"/>
                  <a:pt x="1106" y="910"/>
                  <a:pt x="1000" y="923"/>
                </a:cubicBezTo>
                <a:cubicBezTo>
                  <a:pt x="895" y="935"/>
                  <a:pt x="806" y="908"/>
                  <a:pt x="782" y="824"/>
                </a:cubicBezTo>
                <a:cubicBezTo>
                  <a:pt x="758" y="741"/>
                  <a:pt x="749" y="617"/>
                  <a:pt x="710" y="544"/>
                </a:cubicBezTo>
                <a:cubicBezTo>
                  <a:pt x="710" y="544"/>
                  <a:pt x="710" y="544"/>
                  <a:pt x="711" y="543"/>
                </a:cubicBezTo>
                <a:cubicBezTo>
                  <a:pt x="703" y="526"/>
                  <a:pt x="677" y="486"/>
                  <a:pt x="608" y="445"/>
                </a:cubicBezTo>
                <a:cubicBezTo>
                  <a:pt x="453" y="355"/>
                  <a:pt x="207" y="334"/>
                  <a:pt x="24" y="333"/>
                </a:cubicBezTo>
                <a:cubicBezTo>
                  <a:pt x="4" y="417"/>
                  <a:pt x="0" y="507"/>
                  <a:pt x="6" y="594"/>
                </a:cubicBezTo>
                <a:cubicBezTo>
                  <a:pt x="23" y="822"/>
                  <a:pt x="113" y="933"/>
                  <a:pt x="164" y="1004"/>
                </a:cubicBezTo>
                <a:cubicBezTo>
                  <a:pt x="164" y="1004"/>
                  <a:pt x="203" y="1038"/>
                  <a:pt x="237" y="1052"/>
                </a:cubicBezTo>
                <a:cubicBezTo>
                  <a:pt x="234" y="1065"/>
                  <a:pt x="230" y="1082"/>
                  <a:pt x="228" y="1093"/>
                </a:cubicBezTo>
                <a:cubicBezTo>
                  <a:pt x="225" y="1115"/>
                  <a:pt x="227" y="1121"/>
                  <a:pt x="241" y="1128"/>
                </a:cubicBezTo>
                <a:cubicBezTo>
                  <a:pt x="254" y="1134"/>
                  <a:pt x="284" y="1135"/>
                  <a:pt x="297" y="1134"/>
                </a:cubicBezTo>
                <a:cubicBezTo>
                  <a:pt x="322" y="1132"/>
                  <a:pt x="332" y="1116"/>
                  <a:pt x="336" y="1094"/>
                </a:cubicBezTo>
                <a:cubicBezTo>
                  <a:pt x="340" y="1075"/>
                  <a:pt x="340" y="1075"/>
                  <a:pt x="340" y="1075"/>
                </a:cubicBezTo>
                <a:cubicBezTo>
                  <a:pt x="377" y="1081"/>
                  <a:pt x="417" y="1087"/>
                  <a:pt x="451" y="1089"/>
                </a:cubicBezTo>
                <a:cubicBezTo>
                  <a:pt x="499" y="1092"/>
                  <a:pt x="568" y="1098"/>
                  <a:pt x="658" y="1097"/>
                </a:cubicBezTo>
                <a:cubicBezTo>
                  <a:pt x="687" y="1114"/>
                  <a:pt x="722" y="1118"/>
                  <a:pt x="741" y="1122"/>
                </a:cubicBezTo>
                <a:cubicBezTo>
                  <a:pt x="764" y="1126"/>
                  <a:pt x="767" y="1142"/>
                  <a:pt x="768" y="1159"/>
                </a:cubicBezTo>
                <a:cubicBezTo>
                  <a:pt x="769" y="1177"/>
                  <a:pt x="767" y="1218"/>
                  <a:pt x="767" y="1229"/>
                </a:cubicBezTo>
                <a:cubicBezTo>
                  <a:pt x="767" y="1240"/>
                  <a:pt x="768" y="1245"/>
                  <a:pt x="781" y="1251"/>
                </a:cubicBezTo>
                <a:cubicBezTo>
                  <a:pt x="794" y="1257"/>
                  <a:pt x="814" y="1260"/>
                  <a:pt x="840" y="1258"/>
                </a:cubicBezTo>
                <a:cubicBezTo>
                  <a:pt x="866" y="1255"/>
                  <a:pt x="870" y="1238"/>
                  <a:pt x="872" y="1222"/>
                </a:cubicBezTo>
                <a:cubicBezTo>
                  <a:pt x="876" y="1183"/>
                  <a:pt x="875" y="1145"/>
                  <a:pt x="852" y="1112"/>
                </a:cubicBezTo>
                <a:cubicBezTo>
                  <a:pt x="845" y="1102"/>
                  <a:pt x="835" y="1093"/>
                  <a:pt x="827" y="1087"/>
                </a:cubicBezTo>
                <a:cubicBezTo>
                  <a:pt x="1001" y="1068"/>
                  <a:pt x="1311" y="1027"/>
                  <a:pt x="1496" y="988"/>
                </a:cubicBezTo>
                <a:cubicBezTo>
                  <a:pt x="1605" y="965"/>
                  <a:pt x="1659" y="952"/>
                  <a:pt x="1704" y="941"/>
                </a:cubicBezTo>
                <a:cubicBezTo>
                  <a:pt x="1724" y="948"/>
                  <a:pt x="1743" y="950"/>
                  <a:pt x="1755" y="952"/>
                </a:cubicBezTo>
                <a:cubicBezTo>
                  <a:pt x="1777" y="957"/>
                  <a:pt x="1780" y="972"/>
                  <a:pt x="1781" y="988"/>
                </a:cubicBezTo>
                <a:cubicBezTo>
                  <a:pt x="1782" y="1005"/>
                  <a:pt x="1779" y="1044"/>
                  <a:pt x="1779" y="1055"/>
                </a:cubicBezTo>
                <a:cubicBezTo>
                  <a:pt x="1779" y="1066"/>
                  <a:pt x="1780" y="1070"/>
                  <a:pt x="1793" y="1076"/>
                </a:cubicBezTo>
                <a:cubicBezTo>
                  <a:pt x="1805" y="1081"/>
                  <a:pt x="1824" y="1085"/>
                  <a:pt x="1849" y="1082"/>
                </a:cubicBezTo>
                <a:cubicBezTo>
                  <a:pt x="1874" y="1080"/>
                  <a:pt x="1878" y="1063"/>
                  <a:pt x="1880" y="1048"/>
                </a:cubicBezTo>
                <a:cubicBezTo>
                  <a:pt x="1884" y="1011"/>
                  <a:pt x="1883" y="975"/>
                  <a:pt x="1861" y="943"/>
                </a:cubicBezTo>
                <a:cubicBezTo>
                  <a:pt x="1850" y="928"/>
                  <a:pt x="1834" y="916"/>
                  <a:pt x="1825" y="910"/>
                </a:cubicBezTo>
                <a:cubicBezTo>
                  <a:pt x="1892" y="890"/>
                  <a:pt x="1937" y="853"/>
                  <a:pt x="1970" y="807"/>
                </a:cubicBezTo>
                <a:cubicBezTo>
                  <a:pt x="2040" y="709"/>
                  <a:pt x="2069" y="551"/>
                  <a:pt x="2081" y="434"/>
                </a:cubicBezTo>
                <a:cubicBezTo>
                  <a:pt x="2095" y="294"/>
                  <a:pt x="2080" y="223"/>
                  <a:pt x="2012" y="174"/>
                </a:cubicBezTo>
                <a:close/>
              </a:path>
            </a:pathLst>
          </a:cu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49" name="Freeform 114">
            <a:extLst>
              <a:ext uri="{FF2B5EF4-FFF2-40B4-BE49-F238E27FC236}">
                <a16:creationId xmlns:a16="http://schemas.microsoft.com/office/drawing/2014/main" xmlns="" id="{E583A64E-59B8-4F0A-9489-03EF80EBA770}"/>
              </a:ext>
            </a:extLst>
          </p:cNvPr>
          <p:cNvSpPr>
            <a:spLocks/>
          </p:cNvSpPr>
          <p:nvPr/>
        </p:nvSpPr>
        <p:spPr bwMode="auto">
          <a:xfrm>
            <a:off x="9641832" y="4649321"/>
            <a:ext cx="205483" cy="78754"/>
          </a:xfrm>
          <a:custGeom>
            <a:avLst/>
            <a:gdLst>
              <a:gd name="T0" fmla="*/ 457 w 1057"/>
              <a:gd name="T1" fmla="*/ 17 h 405"/>
              <a:gd name="T2" fmla="*/ 0 w 1057"/>
              <a:gd name="T3" fmla="*/ 92 h 405"/>
              <a:gd name="T4" fmla="*/ 62 w 1057"/>
              <a:gd name="T5" fmla="*/ 317 h 405"/>
              <a:gd name="T6" fmla="*/ 250 w 1057"/>
              <a:gd name="T7" fmla="*/ 395 h 405"/>
              <a:gd name="T8" fmla="*/ 918 w 1057"/>
              <a:gd name="T9" fmla="*/ 293 h 405"/>
              <a:gd name="T10" fmla="*/ 991 w 1057"/>
              <a:gd name="T11" fmla="*/ 241 h 405"/>
              <a:gd name="T12" fmla="*/ 1047 w 1057"/>
              <a:gd name="T13" fmla="*/ 119 h 405"/>
              <a:gd name="T14" fmla="*/ 1017 w 1057"/>
              <a:gd name="T15" fmla="*/ 49 h 405"/>
              <a:gd name="T16" fmla="*/ 845 w 1057"/>
              <a:gd name="T17" fmla="*/ 9 h 405"/>
              <a:gd name="T18" fmla="*/ 457 w 1057"/>
              <a:gd name="T19" fmla="*/ 17 h 4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57" h="405">
                <a:moveTo>
                  <a:pt x="457" y="17"/>
                </a:moveTo>
                <a:cubicBezTo>
                  <a:pt x="287" y="33"/>
                  <a:pt x="0" y="92"/>
                  <a:pt x="0" y="92"/>
                </a:cubicBezTo>
                <a:cubicBezTo>
                  <a:pt x="34" y="151"/>
                  <a:pt x="41" y="250"/>
                  <a:pt x="62" y="317"/>
                </a:cubicBezTo>
                <a:cubicBezTo>
                  <a:pt x="83" y="383"/>
                  <a:pt x="159" y="405"/>
                  <a:pt x="250" y="395"/>
                </a:cubicBezTo>
                <a:cubicBezTo>
                  <a:pt x="341" y="385"/>
                  <a:pt x="882" y="299"/>
                  <a:pt x="918" y="293"/>
                </a:cubicBezTo>
                <a:cubicBezTo>
                  <a:pt x="953" y="287"/>
                  <a:pt x="960" y="281"/>
                  <a:pt x="991" y="241"/>
                </a:cubicBezTo>
                <a:cubicBezTo>
                  <a:pt x="1022" y="200"/>
                  <a:pt x="1038" y="152"/>
                  <a:pt x="1047" y="119"/>
                </a:cubicBezTo>
                <a:cubicBezTo>
                  <a:pt x="1055" y="87"/>
                  <a:pt x="1057" y="68"/>
                  <a:pt x="1017" y="49"/>
                </a:cubicBezTo>
                <a:cubicBezTo>
                  <a:pt x="977" y="29"/>
                  <a:pt x="941" y="17"/>
                  <a:pt x="845" y="9"/>
                </a:cubicBezTo>
                <a:cubicBezTo>
                  <a:pt x="749" y="1"/>
                  <a:pt x="627" y="0"/>
                  <a:pt x="457" y="17"/>
                </a:cubicBezTo>
                <a:close/>
              </a:path>
            </a:pathLst>
          </a:custGeom>
          <a:solidFill>
            <a:schemeClr val="tx1">
              <a:lumMod val="40000"/>
              <a:lumOff val="6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150" name="Freeform 118">
            <a:extLst>
              <a:ext uri="{FF2B5EF4-FFF2-40B4-BE49-F238E27FC236}">
                <a16:creationId xmlns:a16="http://schemas.microsoft.com/office/drawing/2014/main" xmlns="" id="{BCD16A01-D650-49C0-B7DA-48C2D95C028B}"/>
              </a:ext>
            </a:extLst>
          </p:cNvPr>
          <p:cNvSpPr>
            <a:spLocks noChangeAspect="1" noEditPoints="1"/>
          </p:cNvSpPr>
          <p:nvPr>
            <p:custDataLst>
              <p:tags r:id="rId12"/>
            </p:custDataLst>
          </p:nvPr>
        </p:nvSpPr>
        <p:spPr bwMode="auto">
          <a:xfrm>
            <a:off x="11138609" y="4489449"/>
            <a:ext cx="284785" cy="276953"/>
          </a:xfrm>
          <a:custGeom>
            <a:avLst/>
            <a:gdLst>
              <a:gd name="T0" fmla="*/ 640 w 2080"/>
              <a:gd name="T1" fmla="*/ 1520 h 2000"/>
              <a:gd name="T2" fmla="*/ 760 w 2080"/>
              <a:gd name="T3" fmla="*/ 1758 h 2000"/>
              <a:gd name="T4" fmla="*/ 880 w 2080"/>
              <a:gd name="T5" fmla="*/ 1520 h 2000"/>
              <a:gd name="T6" fmla="*/ 2000 w 2080"/>
              <a:gd name="T7" fmla="*/ 1640 h 2000"/>
              <a:gd name="T8" fmla="*/ 1840 w 2080"/>
              <a:gd name="T9" fmla="*/ 2000 h 2000"/>
              <a:gd name="T10" fmla="*/ 80 w 2080"/>
              <a:gd name="T11" fmla="*/ 1840 h 2000"/>
              <a:gd name="T12" fmla="*/ 200 w 2080"/>
              <a:gd name="T13" fmla="*/ 1520 h 2000"/>
              <a:gd name="T14" fmla="*/ 320 w 2080"/>
              <a:gd name="T15" fmla="*/ 1720 h 2000"/>
              <a:gd name="T16" fmla="*/ 560 w 2080"/>
              <a:gd name="T17" fmla="*/ 1720 h 2000"/>
              <a:gd name="T18" fmla="*/ 1840 w 2080"/>
              <a:gd name="T19" fmla="*/ 1000 h 2000"/>
              <a:gd name="T20" fmla="*/ 1840 w 2080"/>
              <a:gd name="T21" fmla="*/ 1480 h 2000"/>
              <a:gd name="T22" fmla="*/ 0 w 2080"/>
              <a:gd name="T23" fmla="*/ 1240 h 2000"/>
              <a:gd name="T24" fmla="*/ 1840 w 2080"/>
              <a:gd name="T25" fmla="*/ 1000 h 2000"/>
              <a:gd name="T26" fmla="*/ 127 w 2080"/>
              <a:gd name="T27" fmla="*/ 856 h 2000"/>
              <a:gd name="T28" fmla="*/ 384 w 2080"/>
              <a:gd name="T29" fmla="*/ 887 h 2000"/>
              <a:gd name="T30" fmla="*/ 527 w 2080"/>
              <a:gd name="T31" fmla="*/ 856 h 2000"/>
              <a:gd name="T32" fmla="*/ 784 w 2080"/>
              <a:gd name="T33" fmla="*/ 887 h 2000"/>
              <a:gd name="T34" fmla="*/ 927 w 2080"/>
              <a:gd name="T35" fmla="*/ 856 h 2000"/>
              <a:gd name="T36" fmla="*/ 1184 w 2080"/>
              <a:gd name="T37" fmla="*/ 887 h 2000"/>
              <a:gd name="T38" fmla="*/ 1327 w 2080"/>
              <a:gd name="T39" fmla="*/ 856 h 2000"/>
              <a:gd name="T40" fmla="*/ 1584 w 2080"/>
              <a:gd name="T41" fmla="*/ 887 h 2000"/>
              <a:gd name="T42" fmla="*/ 1727 w 2080"/>
              <a:gd name="T43" fmla="*/ 856 h 2000"/>
              <a:gd name="T44" fmla="*/ 2028 w 2080"/>
              <a:gd name="T45" fmla="*/ 932 h 2000"/>
              <a:gd name="T46" fmla="*/ 1896 w 2080"/>
              <a:gd name="T47" fmla="*/ 913 h 2000"/>
              <a:gd name="T48" fmla="*/ 1753 w 2080"/>
              <a:gd name="T49" fmla="*/ 944 h 2000"/>
              <a:gd name="T50" fmla="*/ 1496 w 2080"/>
              <a:gd name="T51" fmla="*/ 913 h 2000"/>
              <a:gd name="T52" fmla="*/ 1353 w 2080"/>
              <a:gd name="T53" fmla="*/ 944 h 2000"/>
              <a:gd name="T54" fmla="*/ 1096 w 2080"/>
              <a:gd name="T55" fmla="*/ 913 h 2000"/>
              <a:gd name="T56" fmla="*/ 953 w 2080"/>
              <a:gd name="T57" fmla="*/ 944 h 2000"/>
              <a:gd name="T58" fmla="*/ 696 w 2080"/>
              <a:gd name="T59" fmla="*/ 913 h 2000"/>
              <a:gd name="T60" fmla="*/ 553 w 2080"/>
              <a:gd name="T61" fmla="*/ 944 h 2000"/>
              <a:gd name="T62" fmla="*/ 296 w 2080"/>
              <a:gd name="T63" fmla="*/ 913 h 2000"/>
              <a:gd name="T64" fmla="*/ 108 w 2080"/>
              <a:gd name="T65" fmla="*/ 988 h 2000"/>
              <a:gd name="T66" fmla="*/ 1040 w 2080"/>
              <a:gd name="T67" fmla="*/ 0 h 2000"/>
              <a:gd name="T68" fmla="*/ 2000 w 2080"/>
              <a:gd name="T69" fmla="*/ 648 h 2000"/>
              <a:gd name="T70" fmla="*/ 1919 w 2080"/>
              <a:gd name="T71" fmla="*/ 800 h 2000"/>
              <a:gd name="T72" fmla="*/ 80 w 2080"/>
              <a:gd name="T73" fmla="*/ 715 h 2000"/>
              <a:gd name="T74" fmla="*/ 368 w 2080"/>
              <a:gd name="T75" fmla="*/ 185 h 20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80" h="2000">
                <a:moveTo>
                  <a:pt x="560" y="1520"/>
                </a:moveTo>
                <a:cubicBezTo>
                  <a:pt x="640" y="1520"/>
                  <a:pt x="640" y="1520"/>
                  <a:pt x="640" y="1520"/>
                </a:cubicBezTo>
                <a:cubicBezTo>
                  <a:pt x="640" y="1638"/>
                  <a:pt x="640" y="1638"/>
                  <a:pt x="640" y="1638"/>
                </a:cubicBezTo>
                <a:cubicBezTo>
                  <a:pt x="640" y="1704"/>
                  <a:pt x="694" y="1758"/>
                  <a:pt x="760" y="1758"/>
                </a:cubicBezTo>
                <a:cubicBezTo>
                  <a:pt x="826" y="1758"/>
                  <a:pt x="880" y="1705"/>
                  <a:pt x="880" y="1638"/>
                </a:cubicBezTo>
                <a:cubicBezTo>
                  <a:pt x="880" y="1520"/>
                  <a:pt x="880" y="1520"/>
                  <a:pt x="880" y="1520"/>
                </a:cubicBezTo>
                <a:cubicBezTo>
                  <a:pt x="1880" y="1520"/>
                  <a:pt x="1880" y="1520"/>
                  <a:pt x="1880" y="1520"/>
                </a:cubicBezTo>
                <a:cubicBezTo>
                  <a:pt x="1946" y="1520"/>
                  <a:pt x="2000" y="1574"/>
                  <a:pt x="2000" y="1640"/>
                </a:cubicBezTo>
                <a:cubicBezTo>
                  <a:pt x="2000" y="1840"/>
                  <a:pt x="2000" y="1840"/>
                  <a:pt x="2000" y="1840"/>
                </a:cubicBezTo>
                <a:cubicBezTo>
                  <a:pt x="2000" y="1928"/>
                  <a:pt x="1928" y="2000"/>
                  <a:pt x="1840" y="2000"/>
                </a:cubicBezTo>
                <a:cubicBezTo>
                  <a:pt x="240" y="2000"/>
                  <a:pt x="240" y="2000"/>
                  <a:pt x="240" y="2000"/>
                </a:cubicBezTo>
                <a:cubicBezTo>
                  <a:pt x="152" y="2000"/>
                  <a:pt x="80" y="1928"/>
                  <a:pt x="80" y="1840"/>
                </a:cubicBezTo>
                <a:cubicBezTo>
                  <a:pt x="80" y="1640"/>
                  <a:pt x="80" y="1640"/>
                  <a:pt x="80" y="1640"/>
                </a:cubicBezTo>
                <a:cubicBezTo>
                  <a:pt x="80" y="1574"/>
                  <a:pt x="134" y="1520"/>
                  <a:pt x="200" y="1520"/>
                </a:cubicBezTo>
                <a:cubicBezTo>
                  <a:pt x="320" y="1520"/>
                  <a:pt x="320" y="1520"/>
                  <a:pt x="320" y="1520"/>
                </a:cubicBezTo>
                <a:cubicBezTo>
                  <a:pt x="320" y="1720"/>
                  <a:pt x="320" y="1720"/>
                  <a:pt x="320" y="1720"/>
                </a:cubicBezTo>
                <a:cubicBezTo>
                  <a:pt x="320" y="1786"/>
                  <a:pt x="374" y="1840"/>
                  <a:pt x="440" y="1840"/>
                </a:cubicBezTo>
                <a:cubicBezTo>
                  <a:pt x="506" y="1840"/>
                  <a:pt x="560" y="1786"/>
                  <a:pt x="560" y="1720"/>
                </a:cubicBezTo>
                <a:lnTo>
                  <a:pt x="560" y="1520"/>
                </a:lnTo>
                <a:close/>
                <a:moveTo>
                  <a:pt x="1840" y="1000"/>
                </a:moveTo>
                <a:cubicBezTo>
                  <a:pt x="1972" y="1000"/>
                  <a:pt x="2080" y="1108"/>
                  <a:pt x="2080" y="1240"/>
                </a:cubicBezTo>
                <a:cubicBezTo>
                  <a:pt x="2080" y="1372"/>
                  <a:pt x="1972" y="1480"/>
                  <a:pt x="1840" y="1480"/>
                </a:cubicBezTo>
                <a:cubicBezTo>
                  <a:pt x="240" y="1480"/>
                  <a:pt x="240" y="1480"/>
                  <a:pt x="240" y="1480"/>
                </a:cubicBezTo>
                <a:cubicBezTo>
                  <a:pt x="108" y="1480"/>
                  <a:pt x="0" y="1372"/>
                  <a:pt x="0" y="1240"/>
                </a:cubicBezTo>
                <a:cubicBezTo>
                  <a:pt x="0" y="1108"/>
                  <a:pt x="108" y="1000"/>
                  <a:pt x="240" y="1000"/>
                </a:cubicBezTo>
                <a:lnTo>
                  <a:pt x="1840" y="1000"/>
                </a:lnTo>
                <a:close/>
                <a:moveTo>
                  <a:pt x="52" y="932"/>
                </a:moveTo>
                <a:cubicBezTo>
                  <a:pt x="127" y="856"/>
                  <a:pt x="127" y="856"/>
                  <a:pt x="127" y="856"/>
                </a:cubicBezTo>
                <a:cubicBezTo>
                  <a:pt x="189" y="794"/>
                  <a:pt x="291" y="794"/>
                  <a:pt x="353" y="856"/>
                </a:cubicBezTo>
                <a:cubicBezTo>
                  <a:pt x="384" y="887"/>
                  <a:pt x="384" y="887"/>
                  <a:pt x="384" y="887"/>
                </a:cubicBezTo>
                <a:cubicBezTo>
                  <a:pt x="414" y="918"/>
                  <a:pt x="466" y="918"/>
                  <a:pt x="496" y="887"/>
                </a:cubicBezTo>
                <a:cubicBezTo>
                  <a:pt x="527" y="856"/>
                  <a:pt x="527" y="856"/>
                  <a:pt x="527" y="856"/>
                </a:cubicBezTo>
                <a:cubicBezTo>
                  <a:pt x="589" y="794"/>
                  <a:pt x="691" y="794"/>
                  <a:pt x="753" y="856"/>
                </a:cubicBezTo>
                <a:cubicBezTo>
                  <a:pt x="784" y="887"/>
                  <a:pt x="784" y="887"/>
                  <a:pt x="784" y="887"/>
                </a:cubicBezTo>
                <a:cubicBezTo>
                  <a:pt x="814" y="918"/>
                  <a:pt x="866" y="918"/>
                  <a:pt x="896" y="887"/>
                </a:cubicBezTo>
                <a:cubicBezTo>
                  <a:pt x="927" y="856"/>
                  <a:pt x="927" y="856"/>
                  <a:pt x="927" y="856"/>
                </a:cubicBezTo>
                <a:cubicBezTo>
                  <a:pt x="989" y="794"/>
                  <a:pt x="1091" y="794"/>
                  <a:pt x="1153" y="856"/>
                </a:cubicBezTo>
                <a:cubicBezTo>
                  <a:pt x="1184" y="887"/>
                  <a:pt x="1184" y="887"/>
                  <a:pt x="1184" y="887"/>
                </a:cubicBezTo>
                <a:cubicBezTo>
                  <a:pt x="1214" y="918"/>
                  <a:pt x="1266" y="918"/>
                  <a:pt x="1296" y="887"/>
                </a:cubicBezTo>
                <a:cubicBezTo>
                  <a:pt x="1327" y="856"/>
                  <a:pt x="1327" y="856"/>
                  <a:pt x="1327" y="856"/>
                </a:cubicBezTo>
                <a:cubicBezTo>
                  <a:pt x="1389" y="794"/>
                  <a:pt x="1491" y="794"/>
                  <a:pt x="1553" y="856"/>
                </a:cubicBezTo>
                <a:cubicBezTo>
                  <a:pt x="1584" y="887"/>
                  <a:pt x="1584" y="887"/>
                  <a:pt x="1584" y="887"/>
                </a:cubicBezTo>
                <a:cubicBezTo>
                  <a:pt x="1614" y="918"/>
                  <a:pt x="1666" y="918"/>
                  <a:pt x="1696" y="887"/>
                </a:cubicBezTo>
                <a:cubicBezTo>
                  <a:pt x="1727" y="856"/>
                  <a:pt x="1727" y="856"/>
                  <a:pt x="1727" y="856"/>
                </a:cubicBezTo>
                <a:cubicBezTo>
                  <a:pt x="1789" y="794"/>
                  <a:pt x="1891" y="794"/>
                  <a:pt x="1953" y="856"/>
                </a:cubicBezTo>
                <a:cubicBezTo>
                  <a:pt x="2028" y="932"/>
                  <a:pt x="2028" y="932"/>
                  <a:pt x="2028" y="932"/>
                </a:cubicBezTo>
                <a:cubicBezTo>
                  <a:pt x="1972" y="988"/>
                  <a:pt x="1972" y="988"/>
                  <a:pt x="1972" y="988"/>
                </a:cubicBezTo>
                <a:cubicBezTo>
                  <a:pt x="1896" y="913"/>
                  <a:pt x="1896" y="913"/>
                  <a:pt x="1896" y="913"/>
                </a:cubicBezTo>
                <a:cubicBezTo>
                  <a:pt x="1866" y="882"/>
                  <a:pt x="1814" y="882"/>
                  <a:pt x="1784" y="913"/>
                </a:cubicBezTo>
                <a:cubicBezTo>
                  <a:pt x="1753" y="944"/>
                  <a:pt x="1753" y="944"/>
                  <a:pt x="1753" y="944"/>
                </a:cubicBezTo>
                <a:cubicBezTo>
                  <a:pt x="1691" y="1006"/>
                  <a:pt x="1589" y="1006"/>
                  <a:pt x="1527" y="944"/>
                </a:cubicBezTo>
                <a:cubicBezTo>
                  <a:pt x="1496" y="913"/>
                  <a:pt x="1496" y="913"/>
                  <a:pt x="1496" y="913"/>
                </a:cubicBezTo>
                <a:cubicBezTo>
                  <a:pt x="1466" y="882"/>
                  <a:pt x="1414" y="882"/>
                  <a:pt x="1384" y="913"/>
                </a:cubicBezTo>
                <a:cubicBezTo>
                  <a:pt x="1353" y="944"/>
                  <a:pt x="1353" y="944"/>
                  <a:pt x="1353" y="944"/>
                </a:cubicBezTo>
                <a:cubicBezTo>
                  <a:pt x="1291" y="1006"/>
                  <a:pt x="1189" y="1006"/>
                  <a:pt x="1127" y="944"/>
                </a:cubicBezTo>
                <a:cubicBezTo>
                  <a:pt x="1096" y="913"/>
                  <a:pt x="1096" y="913"/>
                  <a:pt x="1096" y="913"/>
                </a:cubicBezTo>
                <a:cubicBezTo>
                  <a:pt x="1066" y="882"/>
                  <a:pt x="1014" y="882"/>
                  <a:pt x="984" y="913"/>
                </a:cubicBezTo>
                <a:cubicBezTo>
                  <a:pt x="953" y="944"/>
                  <a:pt x="953" y="944"/>
                  <a:pt x="953" y="944"/>
                </a:cubicBezTo>
                <a:cubicBezTo>
                  <a:pt x="891" y="1006"/>
                  <a:pt x="789" y="1006"/>
                  <a:pt x="727" y="944"/>
                </a:cubicBezTo>
                <a:cubicBezTo>
                  <a:pt x="696" y="913"/>
                  <a:pt x="696" y="913"/>
                  <a:pt x="696" y="913"/>
                </a:cubicBezTo>
                <a:cubicBezTo>
                  <a:pt x="666" y="882"/>
                  <a:pt x="614" y="882"/>
                  <a:pt x="584" y="913"/>
                </a:cubicBezTo>
                <a:cubicBezTo>
                  <a:pt x="553" y="944"/>
                  <a:pt x="553" y="944"/>
                  <a:pt x="553" y="944"/>
                </a:cubicBezTo>
                <a:cubicBezTo>
                  <a:pt x="491" y="1006"/>
                  <a:pt x="389" y="1006"/>
                  <a:pt x="327" y="944"/>
                </a:cubicBezTo>
                <a:cubicBezTo>
                  <a:pt x="296" y="913"/>
                  <a:pt x="296" y="913"/>
                  <a:pt x="296" y="913"/>
                </a:cubicBezTo>
                <a:cubicBezTo>
                  <a:pt x="266" y="882"/>
                  <a:pt x="214" y="882"/>
                  <a:pt x="184" y="913"/>
                </a:cubicBezTo>
                <a:cubicBezTo>
                  <a:pt x="108" y="988"/>
                  <a:pt x="108" y="988"/>
                  <a:pt x="108" y="988"/>
                </a:cubicBezTo>
                <a:lnTo>
                  <a:pt x="52" y="932"/>
                </a:lnTo>
                <a:close/>
                <a:moveTo>
                  <a:pt x="1040" y="0"/>
                </a:moveTo>
                <a:cubicBezTo>
                  <a:pt x="1302" y="0"/>
                  <a:pt x="1540" y="70"/>
                  <a:pt x="1712" y="185"/>
                </a:cubicBezTo>
                <a:cubicBezTo>
                  <a:pt x="1890" y="302"/>
                  <a:pt x="2000" y="466"/>
                  <a:pt x="2000" y="648"/>
                </a:cubicBezTo>
                <a:cubicBezTo>
                  <a:pt x="2000" y="715"/>
                  <a:pt x="2000" y="715"/>
                  <a:pt x="2000" y="715"/>
                </a:cubicBezTo>
                <a:cubicBezTo>
                  <a:pt x="2000" y="760"/>
                  <a:pt x="1965" y="800"/>
                  <a:pt x="1919" y="800"/>
                </a:cubicBezTo>
                <a:cubicBezTo>
                  <a:pt x="161" y="800"/>
                  <a:pt x="161" y="800"/>
                  <a:pt x="161" y="800"/>
                </a:cubicBezTo>
                <a:cubicBezTo>
                  <a:pt x="115" y="800"/>
                  <a:pt x="80" y="760"/>
                  <a:pt x="80" y="715"/>
                </a:cubicBezTo>
                <a:cubicBezTo>
                  <a:pt x="80" y="648"/>
                  <a:pt x="80" y="648"/>
                  <a:pt x="80" y="648"/>
                </a:cubicBezTo>
                <a:cubicBezTo>
                  <a:pt x="80" y="466"/>
                  <a:pt x="190" y="302"/>
                  <a:pt x="368" y="185"/>
                </a:cubicBezTo>
                <a:cubicBezTo>
                  <a:pt x="540" y="70"/>
                  <a:pt x="778" y="0"/>
                  <a:pt x="1040" y="0"/>
                </a:cubicBezTo>
                <a:close/>
              </a:path>
            </a:pathLst>
          </a:custGeom>
          <a:solidFill>
            <a:schemeClr val="tx1">
              <a:lumMod val="40000"/>
              <a:lumOff val="60000"/>
            </a:schemeClr>
          </a:solidFill>
          <a:ln>
            <a:noFill/>
          </a:ln>
        </p:spPr>
        <p:txBody>
          <a:bodyPr vert="horz" wrap="square" lIns="91440" tIns="45720" rIns="91440" bIns="45720" numCol="1" anchor="t" anchorCtr="0" compatLnSpc="1">
            <a:prstTxWarp prst="textNoShape">
              <a:avLst/>
            </a:prstTxWarp>
          </a:bodyPr>
          <a:lstStyle/>
          <a:p>
            <a:endParaRPr lang="en-US" sz="1000" dirty="0"/>
          </a:p>
        </p:txBody>
      </p:sp>
      <p:sp>
        <p:nvSpPr>
          <p:cNvPr id="8" name="Oval 7">
            <a:extLst>
              <a:ext uri="{FF2B5EF4-FFF2-40B4-BE49-F238E27FC236}">
                <a16:creationId xmlns:a16="http://schemas.microsoft.com/office/drawing/2014/main" xmlns="" id="{3494F41A-69F2-4F13-B299-4E660C2E9CC3}"/>
              </a:ext>
            </a:extLst>
          </p:cNvPr>
          <p:cNvSpPr/>
          <p:nvPr/>
        </p:nvSpPr>
        <p:spPr>
          <a:xfrm>
            <a:off x="2856089" y="1444978"/>
            <a:ext cx="1025584" cy="1140178"/>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nl-NL" sz="1600" dirty="0"/>
          </a:p>
        </p:txBody>
      </p:sp>
      <p:sp>
        <p:nvSpPr>
          <p:cNvPr id="39" name="Oval 38">
            <a:extLst>
              <a:ext uri="{FF2B5EF4-FFF2-40B4-BE49-F238E27FC236}">
                <a16:creationId xmlns:a16="http://schemas.microsoft.com/office/drawing/2014/main" xmlns="" id="{3BBFFD71-B37C-4D9E-B17C-2F37AA399889}"/>
              </a:ext>
            </a:extLst>
          </p:cNvPr>
          <p:cNvSpPr/>
          <p:nvPr/>
        </p:nvSpPr>
        <p:spPr>
          <a:xfrm>
            <a:off x="6721512" y="2230898"/>
            <a:ext cx="1025584" cy="1140178"/>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nl-NL" sz="1600" dirty="0"/>
          </a:p>
        </p:txBody>
      </p:sp>
      <p:sp>
        <p:nvSpPr>
          <p:cNvPr id="40" name="Oval 39">
            <a:extLst>
              <a:ext uri="{FF2B5EF4-FFF2-40B4-BE49-F238E27FC236}">
                <a16:creationId xmlns:a16="http://schemas.microsoft.com/office/drawing/2014/main" xmlns="" id="{40C934C6-724D-4BC4-99FD-0E1865C94B41}"/>
              </a:ext>
            </a:extLst>
          </p:cNvPr>
          <p:cNvSpPr/>
          <p:nvPr/>
        </p:nvSpPr>
        <p:spPr>
          <a:xfrm>
            <a:off x="8256801" y="2546795"/>
            <a:ext cx="1025584" cy="1140178"/>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nl-NL" sz="1600" dirty="0"/>
          </a:p>
        </p:txBody>
      </p:sp>
      <p:sp>
        <p:nvSpPr>
          <p:cNvPr id="41" name="Oval 40">
            <a:extLst>
              <a:ext uri="{FF2B5EF4-FFF2-40B4-BE49-F238E27FC236}">
                <a16:creationId xmlns:a16="http://schemas.microsoft.com/office/drawing/2014/main" xmlns="" id="{907C6A4D-21B8-4679-A739-A57873EC083B}"/>
              </a:ext>
            </a:extLst>
          </p:cNvPr>
          <p:cNvSpPr/>
          <p:nvPr/>
        </p:nvSpPr>
        <p:spPr>
          <a:xfrm>
            <a:off x="10595681" y="3101582"/>
            <a:ext cx="1025584" cy="1140178"/>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nl-NL" sz="1600" dirty="0"/>
          </a:p>
        </p:txBody>
      </p:sp>
      <p:sp>
        <p:nvSpPr>
          <p:cNvPr id="42" name="Oval 41">
            <a:extLst>
              <a:ext uri="{FF2B5EF4-FFF2-40B4-BE49-F238E27FC236}">
                <a16:creationId xmlns:a16="http://schemas.microsoft.com/office/drawing/2014/main" xmlns="" id="{1CB2B870-1258-4424-B6F6-C59F258D4A04}"/>
              </a:ext>
            </a:extLst>
          </p:cNvPr>
          <p:cNvSpPr/>
          <p:nvPr/>
        </p:nvSpPr>
        <p:spPr>
          <a:xfrm>
            <a:off x="9832641" y="2946282"/>
            <a:ext cx="1025584" cy="1140178"/>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lnSpc>
                <a:spcPct val="125000"/>
              </a:lnSpc>
            </a:pPr>
            <a:endParaRPr lang="nl-NL" sz="1600" dirty="0"/>
          </a:p>
        </p:txBody>
      </p:sp>
      <p:sp>
        <p:nvSpPr>
          <p:cNvPr id="47" name="Title 7">
            <a:extLst>
              <a:ext uri="{FF2B5EF4-FFF2-40B4-BE49-F238E27FC236}">
                <a16:creationId xmlns:a16="http://schemas.microsoft.com/office/drawing/2014/main" xmlns="" id="{D6A91C46-8A72-45E8-96AB-82AC5F50F0A6}"/>
              </a:ext>
            </a:extLst>
          </p:cNvPr>
          <p:cNvSpPr>
            <a:spLocks noGrp="1"/>
          </p:cNvSpPr>
          <p:nvPr>
            <p:ph type="title"/>
          </p:nvPr>
        </p:nvSpPr>
        <p:spPr>
          <a:xfrm>
            <a:off x="1075061" y="358319"/>
            <a:ext cx="8207324" cy="648000"/>
          </a:xfrm>
        </p:spPr>
        <p:txBody>
          <a:bodyPr/>
          <a:lstStyle/>
          <a:p>
            <a:r>
              <a:rPr lang="en-US" sz="2400" dirty="0"/>
              <a:t>Consumers expect that they will do their Food/</a:t>
            </a:r>
            <a:r>
              <a:rPr lang="en-US" sz="2400" dirty="0" err="1"/>
              <a:t>nearfood</a:t>
            </a:r>
            <a:r>
              <a:rPr lang="en-US" sz="2400" dirty="0"/>
              <a:t> and Health and Beauty purchases more often online in 2025</a:t>
            </a:r>
          </a:p>
        </p:txBody>
      </p:sp>
    </p:spTree>
    <p:extLst>
      <p:ext uri="{BB962C8B-B14F-4D97-AF65-F5344CB8AC3E}">
        <p14:creationId xmlns:p14="http://schemas.microsoft.com/office/powerpoint/2010/main" val="235190888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4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4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39" grpId="0" animBg="1"/>
      <p:bldP spid="40" grpId="0" animBg="1"/>
      <p:bldP spid="41" grpId="0" animBg="1"/>
      <p:bldP spid="42" grpId="0" animBg="1"/>
      <p:bldP spid="47"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5"/>
          </p:nvPr>
        </p:nvSpPr>
        <p:spPr/>
        <p:txBody>
          <a:bodyPr/>
          <a:lstStyle/>
          <a:p>
            <a:r>
              <a:rPr lang="en-US"/>
              <a:t>ShoppingTomorrow 2020</a:t>
            </a:r>
            <a:endParaRPr lang="en-US" dirty="0"/>
          </a:p>
        </p:txBody>
      </p:sp>
      <p:sp>
        <p:nvSpPr>
          <p:cNvPr id="4" name="Slide Number Placeholder 3"/>
          <p:cNvSpPr>
            <a:spLocks noGrp="1"/>
          </p:cNvSpPr>
          <p:nvPr>
            <p:ph type="sldNum" sz="quarter" idx="16"/>
          </p:nvPr>
        </p:nvSpPr>
        <p:spPr/>
        <p:txBody>
          <a:bodyPr/>
          <a:lstStyle/>
          <a:p>
            <a:fld id="{5F3E29E4-0979-4FCA-B4C5-5FC6044C982A}" type="slidenum">
              <a:rPr lang="en-US" smtClean="0"/>
              <a:pPr/>
              <a:t>7</a:t>
            </a:fld>
            <a:endParaRPr lang="en-US"/>
          </a:p>
        </p:txBody>
      </p:sp>
      <p:sp>
        <p:nvSpPr>
          <p:cNvPr id="8" name="Title 7"/>
          <p:cNvSpPr>
            <a:spLocks noGrp="1"/>
          </p:cNvSpPr>
          <p:nvPr>
            <p:ph type="title"/>
          </p:nvPr>
        </p:nvSpPr>
        <p:spPr>
          <a:xfrm>
            <a:off x="1075061" y="358319"/>
            <a:ext cx="7910158" cy="648000"/>
          </a:xfrm>
        </p:spPr>
        <p:txBody>
          <a:bodyPr/>
          <a:lstStyle/>
          <a:p>
            <a:r>
              <a:rPr lang="en-US" sz="2400" dirty="0"/>
              <a:t>“Showrooming” and “Click &amp; Collect” are less appealing than  previous year</a:t>
            </a:r>
          </a:p>
        </p:txBody>
      </p:sp>
      <p:sp>
        <p:nvSpPr>
          <p:cNvPr id="15" name="Text Placeholder 14"/>
          <p:cNvSpPr>
            <a:spLocks noGrp="1"/>
          </p:cNvSpPr>
          <p:nvPr>
            <p:ph type="body" sz="quarter" idx="17"/>
          </p:nvPr>
        </p:nvSpPr>
        <p:spPr>
          <a:xfrm>
            <a:off x="1075063" y="6307665"/>
            <a:ext cx="8162717" cy="133200"/>
          </a:xfrm>
        </p:spPr>
        <p:txBody>
          <a:bodyPr/>
          <a:lstStyle/>
          <a:p>
            <a:r>
              <a:rPr lang="en-US" sz="900" dirty="0"/>
              <a:t>B04: To what extent do you think the following store opportunities are appealing?</a:t>
            </a:r>
          </a:p>
        </p:txBody>
      </p:sp>
      <p:sp>
        <p:nvSpPr>
          <p:cNvPr id="14" name="Title 8">
            <a:extLst>
              <a:ext uri="{FF2B5EF4-FFF2-40B4-BE49-F238E27FC236}">
                <a16:creationId xmlns:a16="http://schemas.microsoft.com/office/drawing/2014/main" xmlns="" id="{336CB63B-7A5A-415F-A5B1-6039ADDE6631}"/>
              </a:ext>
            </a:extLst>
          </p:cNvPr>
          <p:cNvSpPr txBox="1">
            <a:spLocks/>
          </p:cNvSpPr>
          <p:nvPr/>
        </p:nvSpPr>
        <p:spPr bwMode="gray">
          <a:xfrm>
            <a:off x="1167319" y="1340722"/>
            <a:ext cx="10525328"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en-US" sz="1200" b="1" dirty="0">
                <a:latin typeface="+mj-lt"/>
              </a:rPr>
              <a:t>Store opportunities</a:t>
            </a:r>
          </a:p>
        </p:txBody>
      </p:sp>
      <p:cxnSp>
        <p:nvCxnSpPr>
          <p:cNvPr id="16" name="Straight Connector 15">
            <a:extLst>
              <a:ext uri="{FF2B5EF4-FFF2-40B4-BE49-F238E27FC236}">
                <a16:creationId xmlns:a16="http://schemas.microsoft.com/office/drawing/2014/main" xmlns="" id="{33F5F090-E00E-4DD8-B328-6CFB70193D9F}"/>
              </a:ext>
            </a:extLst>
          </p:cNvPr>
          <p:cNvCxnSpPr>
            <a:cxnSpLocks/>
          </p:cNvCxnSpPr>
          <p:nvPr/>
        </p:nvCxnSpPr>
        <p:spPr>
          <a:xfrm>
            <a:off x="1167319" y="1628754"/>
            <a:ext cx="10525328"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xmlns="" id="{FAB2DECA-03E1-4BDE-9C87-733CB9A79186}"/>
              </a:ext>
            </a:extLst>
          </p:cNvPr>
          <p:cNvSpPr txBox="1">
            <a:spLocks/>
          </p:cNvSpPr>
          <p:nvPr/>
        </p:nvSpPr>
        <p:spPr bwMode="gray">
          <a:xfrm>
            <a:off x="9763125" y="6317189"/>
            <a:ext cx="2071544" cy="144449"/>
          </a:xfrm>
          <a:prstGeom prst="rect">
            <a:avLst/>
          </a:prstGeom>
        </p:spPr>
        <p:txBody>
          <a:bodyPr vert="horz" lIns="0" tIns="0" rIns="0" bIns="36000" rtlCol="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800" kern="1200" baseline="0" noProof="0" smtClean="0">
                <a:solidFill>
                  <a:schemeClr val="bg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spcAft>
                <a:spcPts val="0"/>
              </a:spcAft>
              <a:buFont typeface="Arial" pitchFamily="34" charset="0"/>
              <a:buNone/>
              <a:defRPr lang="de-DE" sz="800" kern="1200" baseline="0" noProof="0" smtClean="0">
                <a:solidFill>
                  <a:schemeClr val="bg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9pPr>
          </a:lstStyle>
          <a:p>
            <a:pPr algn="r"/>
            <a:r>
              <a:rPr lang="nl-NL" sz="900" dirty="0">
                <a:solidFill>
                  <a:schemeClr val="tx1"/>
                </a:solidFill>
                <a:latin typeface="+mj-lt"/>
              </a:rPr>
              <a:t>Base: </a:t>
            </a:r>
            <a:r>
              <a:rPr lang="nl-NL" sz="900" dirty="0" err="1">
                <a:solidFill>
                  <a:schemeClr val="tx1"/>
                </a:solidFill>
                <a:latin typeface="+mj-lt"/>
              </a:rPr>
              <a:t>all</a:t>
            </a:r>
            <a:r>
              <a:rPr lang="nl-NL" sz="900" dirty="0">
                <a:solidFill>
                  <a:schemeClr val="tx1"/>
                </a:solidFill>
                <a:latin typeface="+mj-lt"/>
              </a:rPr>
              <a:t> </a:t>
            </a:r>
            <a:r>
              <a:rPr lang="nl-NL" sz="900" dirty="0" err="1">
                <a:solidFill>
                  <a:schemeClr val="tx1"/>
                </a:solidFill>
                <a:latin typeface="+mj-lt"/>
              </a:rPr>
              <a:t>respondents</a:t>
            </a:r>
            <a:endParaRPr lang="nl-NL" sz="900" dirty="0">
              <a:solidFill>
                <a:schemeClr val="tx1"/>
              </a:solidFill>
              <a:latin typeface="+mj-lt"/>
            </a:endParaRPr>
          </a:p>
          <a:p>
            <a:pPr algn="r"/>
            <a:r>
              <a:rPr lang="nl-NL" sz="900" dirty="0">
                <a:solidFill>
                  <a:schemeClr val="tx1"/>
                </a:solidFill>
                <a:latin typeface="+mj-lt"/>
              </a:rPr>
              <a:t>2020: n=1.026, 2019: n=1.003</a:t>
            </a:r>
          </a:p>
        </p:txBody>
      </p:sp>
      <p:sp>
        <p:nvSpPr>
          <p:cNvPr id="13" name="Rectangle 12">
            <a:extLst>
              <a:ext uri="{FF2B5EF4-FFF2-40B4-BE49-F238E27FC236}">
                <a16:creationId xmlns:a16="http://schemas.microsoft.com/office/drawing/2014/main" xmlns="" id="{8D3A7CE3-2059-42C8-B8F6-F4C63181A904}"/>
              </a:ext>
            </a:extLst>
          </p:cNvPr>
          <p:cNvSpPr/>
          <p:nvPr/>
        </p:nvSpPr>
        <p:spPr bwMode="gray">
          <a:xfrm>
            <a:off x="1167319" y="2695223"/>
            <a:ext cx="4320000" cy="900000"/>
          </a:xfrm>
          <a:prstGeom prst="rect">
            <a:avLst/>
          </a:prstGeom>
          <a:solidFill>
            <a:schemeClr val="bg1">
              <a:lumMod val="95000"/>
            </a:schemeClr>
          </a:solidFill>
          <a:ln w="952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r>
              <a:rPr lang="en-US" sz="1200" b="1" dirty="0">
                <a:solidFill>
                  <a:schemeClr val="tx1"/>
                </a:solidFill>
                <a:cs typeface="Arial" pitchFamily="34" charset="0"/>
              </a:rPr>
              <a:t>Trying/experiencing a product in a physical store, then ordering the product online in the store and receiving it at home the next day</a:t>
            </a:r>
          </a:p>
        </p:txBody>
      </p:sp>
      <p:sp>
        <p:nvSpPr>
          <p:cNvPr id="18" name="Rectangle 17">
            <a:extLst>
              <a:ext uri="{FF2B5EF4-FFF2-40B4-BE49-F238E27FC236}">
                <a16:creationId xmlns:a16="http://schemas.microsoft.com/office/drawing/2014/main" xmlns="" id="{2DFA6950-C275-4CD2-B98F-554A7D363C5D}"/>
              </a:ext>
            </a:extLst>
          </p:cNvPr>
          <p:cNvSpPr/>
          <p:nvPr/>
        </p:nvSpPr>
        <p:spPr bwMode="gray">
          <a:xfrm>
            <a:off x="6068370" y="2695223"/>
            <a:ext cx="723226" cy="900000"/>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n-US" sz="2000" b="1" dirty="0">
                <a:solidFill>
                  <a:schemeClr val="bg1"/>
                </a:solidFill>
                <a:cs typeface="Arial" pitchFamily="34" charset="0"/>
              </a:rPr>
              <a:t>41%</a:t>
            </a:r>
          </a:p>
        </p:txBody>
      </p:sp>
      <p:sp>
        <p:nvSpPr>
          <p:cNvPr id="22" name="Rectangle 21">
            <a:extLst>
              <a:ext uri="{FF2B5EF4-FFF2-40B4-BE49-F238E27FC236}">
                <a16:creationId xmlns:a16="http://schemas.microsoft.com/office/drawing/2014/main" xmlns="" id="{3A70D51B-9655-4950-8DF3-DF764A6A8689}"/>
              </a:ext>
            </a:extLst>
          </p:cNvPr>
          <p:cNvSpPr/>
          <p:nvPr/>
        </p:nvSpPr>
        <p:spPr bwMode="gray">
          <a:xfrm>
            <a:off x="7397628" y="2695223"/>
            <a:ext cx="723226" cy="900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n-US" sz="2000" b="1" dirty="0">
                <a:solidFill>
                  <a:schemeClr val="bg1"/>
                </a:solidFill>
                <a:cs typeface="Arial" pitchFamily="34" charset="0"/>
              </a:rPr>
              <a:t>47%</a:t>
            </a:r>
          </a:p>
        </p:txBody>
      </p:sp>
      <p:sp>
        <p:nvSpPr>
          <p:cNvPr id="23" name="Rectangle 22">
            <a:extLst>
              <a:ext uri="{FF2B5EF4-FFF2-40B4-BE49-F238E27FC236}">
                <a16:creationId xmlns:a16="http://schemas.microsoft.com/office/drawing/2014/main" xmlns="" id="{81F0F126-D213-44B4-8A75-F5BACBCE4B0B}"/>
              </a:ext>
            </a:extLst>
          </p:cNvPr>
          <p:cNvSpPr/>
          <p:nvPr/>
        </p:nvSpPr>
        <p:spPr bwMode="gray">
          <a:xfrm>
            <a:off x="1167319" y="4329246"/>
            <a:ext cx="4320000" cy="900000"/>
          </a:xfrm>
          <a:prstGeom prst="rect">
            <a:avLst/>
          </a:prstGeom>
          <a:solidFill>
            <a:schemeClr val="bg1">
              <a:lumMod val="95000"/>
            </a:schemeClr>
          </a:solidFill>
          <a:ln w="952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r>
              <a:rPr lang="en-US" sz="1200" b="1" dirty="0">
                <a:solidFill>
                  <a:schemeClr val="tx1"/>
                </a:solidFill>
                <a:cs typeface="Arial" pitchFamily="34" charset="0"/>
              </a:rPr>
              <a:t>Viewing and choosing a product online, ordering it and then collecting it from a physical store the next day</a:t>
            </a:r>
          </a:p>
        </p:txBody>
      </p:sp>
      <p:sp>
        <p:nvSpPr>
          <p:cNvPr id="24" name="Rectangle 23">
            <a:extLst>
              <a:ext uri="{FF2B5EF4-FFF2-40B4-BE49-F238E27FC236}">
                <a16:creationId xmlns:a16="http://schemas.microsoft.com/office/drawing/2014/main" xmlns="" id="{789D89BF-1D39-4127-9061-8BFEA3E383BB}"/>
              </a:ext>
            </a:extLst>
          </p:cNvPr>
          <p:cNvSpPr/>
          <p:nvPr/>
        </p:nvSpPr>
        <p:spPr bwMode="gray">
          <a:xfrm>
            <a:off x="6068370" y="4329246"/>
            <a:ext cx="723226" cy="900000"/>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n-US" sz="2000" b="1" dirty="0">
                <a:solidFill>
                  <a:schemeClr val="bg1"/>
                </a:solidFill>
                <a:cs typeface="Arial" pitchFamily="34" charset="0"/>
              </a:rPr>
              <a:t>36%</a:t>
            </a:r>
          </a:p>
        </p:txBody>
      </p:sp>
      <p:sp>
        <p:nvSpPr>
          <p:cNvPr id="25" name="Rectangle 24">
            <a:extLst>
              <a:ext uri="{FF2B5EF4-FFF2-40B4-BE49-F238E27FC236}">
                <a16:creationId xmlns:a16="http://schemas.microsoft.com/office/drawing/2014/main" xmlns="" id="{34E701FF-AC3D-43F5-B196-221ADFF9600F}"/>
              </a:ext>
            </a:extLst>
          </p:cNvPr>
          <p:cNvSpPr/>
          <p:nvPr/>
        </p:nvSpPr>
        <p:spPr bwMode="gray">
          <a:xfrm>
            <a:off x="7397628" y="4329246"/>
            <a:ext cx="723226" cy="900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n-US" sz="2000" b="1" dirty="0">
                <a:solidFill>
                  <a:schemeClr val="bg1"/>
                </a:solidFill>
                <a:cs typeface="Arial" pitchFamily="34" charset="0"/>
              </a:rPr>
              <a:t>42%</a:t>
            </a:r>
          </a:p>
        </p:txBody>
      </p:sp>
      <p:sp>
        <p:nvSpPr>
          <p:cNvPr id="5" name="TextBox 4">
            <a:extLst>
              <a:ext uri="{FF2B5EF4-FFF2-40B4-BE49-F238E27FC236}">
                <a16:creationId xmlns:a16="http://schemas.microsoft.com/office/drawing/2014/main" xmlns="" id="{0B280FB4-B4F0-44B6-B1AD-329FE7800F29}"/>
              </a:ext>
            </a:extLst>
          </p:cNvPr>
          <p:cNvSpPr txBox="1"/>
          <p:nvPr/>
        </p:nvSpPr>
        <p:spPr>
          <a:xfrm>
            <a:off x="6186311" y="1900699"/>
            <a:ext cx="695596" cy="178184"/>
          </a:xfrm>
          <a:prstGeom prst="rect">
            <a:avLst/>
          </a:prstGeom>
          <a:noFill/>
        </p:spPr>
        <p:txBody>
          <a:bodyPr wrap="square" lIns="0" tIns="0" rIns="0" bIns="0" rtlCol="0">
            <a:noAutofit/>
          </a:bodyPr>
          <a:lstStyle/>
          <a:p>
            <a:pPr>
              <a:lnSpc>
                <a:spcPct val="125000"/>
              </a:lnSpc>
              <a:buClr>
                <a:schemeClr val="tx2"/>
              </a:buClr>
            </a:pPr>
            <a:r>
              <a:rPr lang="nl-NL" sz="1600" b="1" dirty="0"/>
              <a:t>2020</a:t>
            </a:r>
          </a:p>
        </p:txBody>
      </p:sp>
      <p:sp>
        <p:nvSpPr>
          <p:cNvPr id="26" name="TextBox 25">
            <a:extLst>
              <a:ext uri="{FF2B5EF4-FFF2-40B4-BE49-F238E27FC236}">
                <a16:creationId xmlns:a16="http://schemas.microsoft.com/office/drawing/2014/main" xmlns="" id="{6291391D-4891-498E-8411-C73F47CEA8FF}"/>
              </a:ext>
            </a:extLst>
          </p:cNvPr>
          <p:cNvSpPr txBox="1"/>
          <p:nvPr/>
        </p:nvSpPr>
        <p:spPr>
          <a:xfrm>
            <a:off x="7522544" y="1900699"/>
            <a:ext cx="695596" cy="178184"/>
          </a:xfrm>
          <a:prstGeom prst="rect">
            <a:avLst/>
          </a:prstGeom>
          <a:noFill/>
        </p:spPr>
        <p:txBody>
          <a:bodyPr wrap="square" lIns="0" tIns="0" rIns="0" bIns="0" rtlCol="0">
            <a:noAutofit/>
          </a:bodyPr>
          <a:lstStyle/>
          <a:p>
            <a:pPr>
              <a:lnSpc>
                <a:spcPct val="125000"/>
              </a:lnSpc>
              <a:buClr>
                <a:schemeClr val="tx2"/>
              </a:buClr>
            </a:pPr>
            <a:r>
              <a:rPr lang="nl-NL" sz="1600" b="1" dirty="0"/>
              <a:t>2019</a:t>
            </a:r>
          </a:p>
        </p:txBody>
      </p:sp>
      <p:sp>
        <p:nvSpPr>
          <p:cNvPr id="27" name="TextBox 26">
            <a:extLst>
              <a:ext uri="{FF2B5EF4-FFF2-40B4-BE49-F238E27FC236}">
                <a16:creationId xmlns:a16="http://schemas.microsoft.com/office/drawing/2014/main" xmlns="" id="{5FFDA837-61CA-4377-80D7-FAF030D8F5CB}"/>
              </a:ext>
            </a:extLst>
          </p:cNvPr>
          <p:cNvSpPr txBox="1"/>
          <p:nvPr/>
        </p:nvSpPr>
        <p:spPr>
          <a:xfrm>
            <a:off x="6972974" y="2335675"/>
            <a:ext cx="4024489" cy="251847"/>
          </a:xfrm>
          <a:prstGeom prst="rect">
            <a:avLst/>
          </a:prstGeom>
          <a:noFill/>
        </p:spPr>
        <p:txBody>
          <a:bodyPr wrap="square" lIns="0" tIns="0" rIns="0" bIns="0" rtlCol="0">
            <a:noAutofit/>
          </a:bodyPr>
          <a:lstStyle/>
          <a:p>
            <a:pPr>
              <a:lnSpc>
                <a:spcPct val="125000"/>
              </a:lnSpc>
              <a:buClr>
                <a:schemeClr val="tx2"/>
              </a:buClr>
            </a:pPr>
            <a:r>
              <a:rPr lang="nl-NL" sz="1100" b="1" dirty="0"/>
              <a:t>% (</a:t>
            </a:r>
            <a:r>
              <a:rPr lang="nl-NL" sz="1100" b="1" dirty="0" err="1"/>
              <a:t>very</a:t>
            </a:r>
            <a:r>
              <a:rPr lang="nl-NL" sz="1100" b="1" dirty="0"/>
              <a:t>) </a:t>
            </a:r>
            <a:r>
              <a:rPr lang="nl-NL" sz="1100" b="1" dirty="0" err="1"/>
              <a:t>appealing</a:t>
            </a:r>
            <a:endParaRPr lang="nl-NL" sz="1100" b="1" dirty="0"/>
          </a:p>
        </p:txBody>
      </p:sp>
      <p:pic>
        <p:nvPicPr>
          <p:cNvPr id="6" name="Picture 5">
            <a:extLst>
              <a:ext uri="{FF2B5EF4-FFF2-40B4-BE49-F238E27FC236}">
                <a16:creationId xmlns:a16="http://schemas.microsoft.com/office/drawing/2014/main" xmlns="" id="{80B13622-3631-48B7-8C76-AF06D3CB2E91}"/>
              </a:ext>
            </a:extLst>
          </p:cNvPr>
          <p:cNvPicPr>
            <a:picLocks noChangeAspect="1"/>
          </p:cNvPicPr>
          <p:nvPr/>
        </p:nvPicPr>
        <p:blipFill>
          <a:blip r:embed="rId3"/>
          <a:stretch>
            <a:fillRect/>
          </a:stretch>
        </p:blipFill>
        <p:spPr>
          <a:xfrm>
            <a:off x="9237780" y="4146998"/>
            <a:ext cx="1543109" cy="1543109"/>
          </a:xfrm>
          <a:prstGeom prst="rect">
            <a:avLst/>
          </a:prstGeom>
        </p:spPr>
      </p:pic>
      <p:pic>
        <p:nvPicPr>
          <p:cNvPr id="6484" name="Picture 340" descr="ABOUT | #SHOWROOMING - The Experiential Retail Studio | Berlin">
            <a:extLst>
              <a:ext uri="{FF2B5EF4-FFF2-40B4-BE49-F238E27FC236}">
                <a16:creationId xmlns:a16="http://schemas.microsoft.com/office/drawing/2014/main" xmlns="" id="{22D30E90-CE3D-43B3-9D66-748C6530D62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385277" y="2255837"/>
            <a:ext cx="3104827" cy="17102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138843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648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2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3"/>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4"/>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2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3" grpId="0" animBg="1"/>
      <p:bldP spid="18" grpId="0" animBg="1"/>
      <p:bldP spid="22" grpId="0" animBg="1"/>
      <p:bldP spid="23" grpId="0" animBg="1"/>
      <p:bldP spid="24" grpId="0" animBg="1"/>
      <p:bldP spid="25" grpId="0" animBg="1"/>
      <p:bldP spid="5" grpId="0"/>
      <p:bldP spid="26" grpId="0"/>
      <p:bldP spid="27"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5"/>
          </p:nvPr>
        </p:nvSpPr>
        <p:spPr/>
        <p:txBody>
          <a:bodyPr/>
          <a:lstStyle/>
          <a:p>
            <a:r>
              <a:rPr lang="en-US"/>
              <a:t>ShoppingTomorrow 2020</a:t>
            </a:r>
            <a:endParaRPr lang="en-US" dirty="0"/>
          </a:p>
        </p:txBody>
      </p:sp>
      <p:sp>
        <p:nvSpPr>
          <p:cNvPr id="4" name="Slide Number Placeholder 3"/>
          <p:cNvSpPr>
            <a:spLocks noGrp="1"/>
          </p:cNvSpPr>
          <p:nvPr>
            <p:ph type="sldNum" sz="quarter" idx="16"/>
          </p:nvPr>
        </p:nvSpPr>
        <p:spPr/>
        <p:txBody>
          <a:bodyPr/>
          <a:lstStyle/>
          <a:p>
            <a:fld id="{5F3E29E4-0979-4FCA-B4C5-5FC6044C982A}" type="slidenum">
              <a:rPr lang="en-US" smtClean="0"/>
              <a:pPr/>
              <a:t>8</a:t>
            </a:fld>
            <a:endParaRPr lang="en-US"/>
          </a:p>
        </p:txBody>
      </p:sp>
      <p:sp>
        <p:nvSpPr>
          <p:cNvPr id="8" name="Title 7"/>
          <p:cNvSpPr>
            <a:spLocks noGrp="1"/>
          </p:cNvSpPr>
          <p:nvPr>
            <p:ph type="title"/>
          </p:nvPr>
        </p:nvSpPr>
        <p:spPr>
          <a:xfrm>
            <a:off x="1075060" y="358319"/>
            <a:ext cx="9052165" cy="648000"/>
          </a:xfrm>
        </p:spPr>
        <p:txBody>
          <a:bodyPr/>
          <a:lstStyle/>
          <a:p>
            <a:r>
              <a:rPr lang="en-US" sz="2400" dirty="0"/>
              <a:t>Majority of consumers think that there will be market concentration in 5 years and online and offline will act as one sales channel</a:t>
            </a:r>
          </a:p>
        </p:txBody>
      </p:sp>
      <p:sp>
        <p:nvSpPr>
          <p:cNvPr id="15" name="Text Placeholder 14"/>
          <p:cNvSpPr>
            <a:spLocks noGrp="1"/>
          </p:cNvSpPr>
          <p:nvPr>
            <p:ph type="body" sz="quarter" idx="17"/>
          </p:nvPr>
        </p:nvSpPr>
        <p:spPr>
          <a:xfrm>
            <a:off x="1075063" y="6307665"/>
            <a:ext cx="8162717" cy="133200"/>
          </a:xfrm>
        </p:spPr>
        <p:txBody>
          <a:bodyPr/>
          <a:lstStyle/>
          <a:p>
            <a:r>
              <a:rPr lang="en-US" sz="900" dirty="0"/>
              <a:t>B01: To what extent do you consider each of the following scenarios (un)likely in 2025? </a:t>
            </a:r>
          </a:p>
          <a:p>
            <a:r>
              <a:rPr lang="en-US" sz="900" dirty="0"/>
              <a:t>* Top 2 on a 4-point scale</a:t>
            </a:r>
          </a:p>
        </p:txBody>
      </p:sp>
      <p:sp>
        <p:nvSpPr>
          <p:cNvPr id="28" name="Text Placeholder 20">
            <a:extLst>
              <a:ext uri="{FF2B5EF4-FFF2-40B4-BE49-F238E27FC236}">
                <a16:creationId xmlns:a16="http://schemas.microsoft.com/office/drawing/2014/main" xmlns="" id="{69E5DD53-F07E-44D1-A4FF-E36EC346F892}"/>
              </a:ext>
            </a:extLst>
          </p:cNvPr>
          <p:cNvSpPr txBox="1">
            <a:spLocks/>
          </p:cNvSpPr>
          <p:nvPr/>
        </p:nvSpPr>
        <p:spPr bwMode="gray">
          <a:xfrm>
            <a:off x="10127226" y="6307665"/>
            <a:ext cx="1707443" cy="153986"/>
          </a:xfrm>
          <a:prstGeom prst="rect">
            <a:avLst/>
          </a:prstGeom>
        </p:spPr>
        <p:txBody>
          <a:bodyPr vert="horz" lIns="0" tIns="0" rIns="0" bIns="36000" rtlCol="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800" kern="1200" baseline="0" noProof="0" smtClean="0">
                <a:solidFill>
                  <a:schemeClr val="bg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spcAft>
                <a:spcPts val="0"/>
              </a:spcAft>
              <a:buFont typeface="Arial" pitchFamily="34" charset="0"/>
              <a:buNone/>
              <a:defRPr lang="de-DE" sz="800" kern="1200" baseline="0" noProof="0" smtClean="0">
                <a:solidFill>
                  <a:schemeClr val="bg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9pPr>
          </a:lstStyle>
          <a:p>
            <a:pPr algn="r"/>
            <a:r>
              <a:rPr lang="nl-NL" sz="900" dirty="0">
                <a:solidFill>
                  <a:schemeClr val="tx1"/>
                </a:solidFill>
                <a:latin typeface="+mj-lt"/>
              </a:rPr>
              <a:t>Base: </a:t>
            </a:r>
            <a:r>
              <a:rPr lang="nl-NL" sz="900" dirty="0" err="1">
                <a:solidFill>
                  <a:schemeClr val="tx1"/>
                </a:solidFill>
                <a:latin typeface="+mj-lt"/>
              </a:rPr>
              <a:t>all</a:t>
            </a:r>
            <a:r>
              <a:rPr lang="nl-NL" sz="900" dirty="0">
                <a:solidFill>
                  <a:schemeClr val="tx1"/>
                </a:solidFill>
                <a:latin typeface="+mj-lt"/>
              </a:rPr>
              <a:t> </a:t>
            </a:r>
            <a:r>
              <a:rPr lang="nl-NL" sz="900" dirty="0" err="1">
                <a:solidFill>
                  <a:schemeClr val="tx1"/>
                </a:solidFill>
                <a:latin typeface="+mj-lt"/>
              </a:rPr>
              <a:t>respondents</a:t>
            </a:r>
            <a:endParaRPr lang="nl-NL" sz="900" dirty="0">
              <a:solidFill>
                <a:schemeClr val="tx1"/>
              </a:solidFill>
              <a:latin typeface="+mj-lt"/>
            </a:endParaRPr>
          </a:p>
        </p:txBody>
      </p:sp>
      <p:sp>
        <p:nvSpPr>
          <p:cNvPr id="23" name="Text Placeholder 20">
            <a:extLst>
              <a:ext uri="{FF2B5EF4-FFF2-40B4-BE49-F238E27FC236}">
                <a16:creationId xmlns:a16="http://schemas.microsoft.com/office/drawing/2014/main" xmlns="" id="{C4161FD9-2721-4A3A-A7E4-9D5ECF04D4C8}"/>
              </a:ext>
            </a:extLst>
          </p:cNvPr>
          <p:cNvSpPr txBox="1">
            <a:spLocks/>
          </p:cNvSpPr>
          <p:nvPr/>
        </p:nvSpPr>
        <p:spPr bwMode="gray">
          <a:xfrm>
            <a:off x="10394509" y="6213306"/>
            <a:ext cx="1440160" cy="144462"/>
          </a:xfrm>
          <a:prstGeom prst="rect">
            <a:avLst/>
          </a:prstGeom>
        </p:spPr>
        <p:txBody>
          <a:bodyPr vert="horz" lIns="0" tIns="0" rIns="0" bIns="36000" rtlCol="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800" kern="1200" baseline="0" noProof="0" smtClean="0">
                <a:solidFill>
                  <a:schemeClr val="bg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spcAft>
                <a:spcPts val="0"/>
              </a:spcAft>
              <a:buFont typeface="Arial" pitchFamily="34" charset="0"/>
              <a:buNone/>
              <a:defRPr lang="de-DE" sz="800" kern="1200" baseline="0" noProof="0" smtClean="0">
                <a:solidFill>
                  <a:schemeClr val="bg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9pPr>
          </a:lstStyle>
          <a:p>
            <a:pPr algn="r"/>
            <a:r>
              <a:rPr lang="nl-NL" sz="900" dirty="0">
                <a:solidFill>
                  <a:schemeClr val="tx1"/>
                </a:solidFill>
                <a:latin typeface="+mj-lt"/>
              </a:rPr>
              <a:t>* new in 2020</a:t>
            </a:r>
          </a:p>
        </p:txBody>
      </p:sp>
      <p:sp>
        <p:nvSpPr>
          <p:cNvPr id="17" name="Rechteck 34">
            <a:extLst>
              <a:ext uri="{FF2B5EF4-FFF2-40B4-BE49-F238E27FC236}">
                <a16:creationId xmlns:a16="http://schemas.microsoft.com/office/drawing/2014/main" xmlns="" id="{CEBA30DF-DA6E-4C8C-9410-A734A357D4B1}"/>
              </a:ext>
            </a:extLst>
          </p:cNvPr>
          <p:cNvSpPr/>
          <p:nvPr>
            <p:custDataLst>
              <p:tags r:id="rId1"/>
            </p:custDataLst>
          </p:nvPr>
        </p:nvSpPr>
        <p:spPr bwMode="gray">
          <a:xfrm>
            <a:off x="1811383" y="1683346"/>
            <a:ext cx="9286124" cy="4466680"/>
          </a:xfrm>
          <a:prstGeom prst="rect">
            <a:avLst/>
          </a:prstGeom>
          <a:gradFill flip="none" rotWithShape="1">
            <a:gsLst>
              <a:gs pos="54000">
                <a:schemeClr val="bg1"/>
              </a:gs>
              <a:gs pos="76000">
                <a:srgbClr val="FFFFFF">
                  <a:alpha val="82000"/>
                </a:srgbClr>
              </a:gs>
              <a:gs pos="88000">
                <a:srgbClr val="FFFFFF">
                  <a:alpha val="14000"/>
                </a:srgbClr>
              </a:gs>
              <a:gs pos="63000">
                <a:schemeClr val="bg1">
                  <a:alpha val="98000"/>
                </a:schemeClr>
              </a:gs>
              <a:gs pos="100000">
                <a:srgbClr val="FFFFFF">
                  <a:alpha val="0"/>
                </a:srgbClr>
              </a:gs>
            </a:gsLst>
            <a:lin ang="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en-GB" sz="1600" dirty="0">
              <a:solidFill>
                <a:schemeClr val="tx1"/>
              </a:solidFill>
              <a:latin typeface="+mj-lt"/>
              <a:cs typeface="Arial" pitchFamily="34" charset="0"/>
            </a:endParaRPr>
          </a:p>
        </p:txBody>
      </p:sp>
      <p:sp>
        <p:nvSpPr>
          <p:cNvPr id="19" name="TextBox 18">
            <a:extLst>
              <a:ext uri="{FF2B5EF4-FFF2-40B4-BE49-F238E27FC236}">
                <a16:creationId xmlns:a16="http://schemas.microsoft.com/office/drawing/2014/main" xmlns="" id="{6718CC37-1454-4BA3-A0F1-5D7CDF63C7A8}"/>
              </a:ext>
            </a:extLst>
          </p:cNvPr>
          <p:cNvSpPr txBox="1"/>
          <p:nvPr/>
        </p:nvSpPr>
        <p:spPr>
          <a:xfrm>
            <a:off x="6068370" y="1916787"/>
            <a:ext cx="695596" cy="178184"/>
          </a:xfrm>
          <a:prstGeom prst="rect">
            <a:avLst/>
          </a:prstGeom>
          <a:noFill/>
        </p:spPr>
        <p:txBody>
          <a:bodyPr wrap="square" lIns="0" tIns="0" rIns="0" bIns="0" rtlCol="0">
            <a:noAutofit/>
          </a:bodyPr>
          <a:lstStyle/>
          <a:p>
            <a:pPr>
              <a:lnSpc>
                <a:spcPct val="125000"/>
              </a:lnSpc>
              <a:buClr>
                <a:schemeClr val="tx2"/>
              </a:buClr>
            </a:pPr>
            <a:r>
              <a:rPr lang="nl-NL" sz="1600" b="1" dirty="0"/>
              <a:t>In 2025</a:t>
            </a:r>
          </a:p>
        </p:txBody>
      </p:sp>
      <p:sp>
        <p:nvSpPr>
          <p:cNvPr id="21" name="TextBox 20">
            <a:extLst>
              <a:ext uri="{FF2B5EF4-FFF2-40B4-BE49-F238E27FC236}">
                <a16:creationId xmlns:a16="http://schemas.microsoft.com/office/drawing/2014/main" xmlns="" id="{A6786B7E-6933-4788-83F6-39764EE30B41}"/>
              </a:ext>
            </a:extLst>
          </p:cNvPr>
          <p:cNvSpPr txBox="1"/>
          <p:nvPr/>
        </p:nvSpPr>
        <p:spPr>
          <a:xfrm>
            <a:off x="7408030" y="1916083"/>
            <a:ext cx="695596" cy="178184"/>
          </a:xfrm>
          <a:prstGeom prst="rect">
            <a:avLst/>
          </a:prstGeom>
          <a:noFill/>
        </p:spPr>
        <p:txBody>
          <a:bodyPr wrap="square" lIns="0" tIns="0" rIns="0" bIns="0" rtlCol="0">
            <a:noAutofit/>
          </a:bodyPr>
          <a:lstStyle/>
          <a:p>
            <a:pPr>
              <a:lnSpc>
                <a:spcPct val="125000"/>
              </a:lnSpc>
              <a:buClr>
                <a:schemeClr val="tx2"/>
              </a:buClr>
            </a:pPr>
            <a:r>
              <a:rPr lang="nl-NL" sz="1600" b="1" dirty="0"/>
              <a:t>In 2024</a:t>
            </a:r>
          </a:p>
        </p:txBody>
      </p:sp>
      <p:sp>
        <p:nvSpPr>
          <p:cNvPr id="24" name="Title 8">
            <a:extLst>
              <a:ext uri="{FF2B5EF4-FFF2-40B4-BE49-F238E27FC236}">
                <a16:creationId xmlns:a16="http://schemas.microsoft.com/office/drawing/2014/main" xmlns="" id="{C4EB1FE2-F8D8-4A83-8702-87C5DE52F1C5}"/>
              </a:ext>
            </a:extLst>
          </p:cNvPr>
          <p:cNvSpPr txBox="1">
            <a:spLocks/>
          </p:cNvSpPr>
          <p:nvPr/>
        </p:nvSpPr>
        <p:spPr bwMode="gray">
          <a:xfrm>
            <a:off x="1167319" y="1340722"/>
            <a:ext cx="10525328"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en-US" sz="1200" b="1" dirty="0">
                <a:latin typeface="+mj-lt"/>
              </a:rPr>
              <a:t>Likeliness of the following scenarios</a:t>
            </a:r>
          </a:p>
        </p:txBody>
      </p:sp>
      <p:cxnSp>
        <p:nvCxnSpPr>
          <p:cNvPr id="25" name="Straight Connector 24">
            <a:extLst>
              <a:ext uri="{FF2B5EF4-FFF2-40B4-BE49-F238E27FC236}">
                <a16:creationId xmlns:a16="http://schemas.microsoft.com/office/drawing/2014/main" xmlns="" id="{8839242D-29DA-4E02-901B-FE7513C477A6}"/>
              </a:ext>
            </a:extLst>
          </p:cNvPr>
          <p:cNvCxnSpPr>
            <a:cxnSpLocks/>
          </p:cNvCxnSpPr>
          <p:nvPr/>
        </p:nvCxnSpPr>
        <p:spPr>
          <a:xfrm>
            <a:off x="1167319" y="1628754"/>
            <a:ext cx="10525328"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26" name="Rectangle 25">
            <a:extLst>
              <a:ext uri="{FF2B5EF4-FFF2-40B4-BE49-F238E27FC236}">
                <a16:creationId xmlns:a16="http://schemas.microsoft.com/office/drawing/2014/main" xmlns="" id="{CBFB98E1-4EC5-461B-8AE6-79AC9E4F9172}"/>
              </a:ext>
            </a:extLst>
          </p:cNvPr>
          <p:cNvSpPr/>
          <p:nvPr/>
        </p:nvSpPr>
        <p:spPr bwMode="gray">
          <a:xfrm>
            <a:off x="1167319" y="2695223"/>
            <a:ext cx="4320000" cy="900000"/>
          </a:xfrm>
          <a:prstGeom prst="rect">
            <a:avLst/>
          </a:prstGeom>
          <a:solidFill>
            <a:schemeClr val="bg1">
              <a:lumMod val="95000"/>
            </a:schemeClr>
          </a:solidFill>
          <a:ln w="952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r>
              <a:rPr lang="en-US" sz="1200" b="1" dirty="0">
                <a:solidFill>
                  <a:schemeClr val="tx1"/>
                </a:solidFill>
                <a:cs typeface="Arial" pitchFamily="34" charset="0"/>
              </a:rPr>
              <a:t>There will only be a few major players / (online) stores left in each sector (market concentration) </a:t>
            </a:r>
          </a:p>
        </p:txBody>
      </p:sp>
      <p:sp>
        <p:nvSpPr>
          <p:cNvPr id="27" name="Rectangle 26">
            <a:extLst>
              <a:ext uri="{FF2B5EF4-FFF2-40B4-BE49-F238E27FC236}">
                <a16:creationId xmlns:a16="http://schemas.microsoft.com/office/drawing/2014/main" xmlns="" id="{AF5A8D30-6CDB-472F-B107-99670B407072}"/>
              </a:ext>
            </a:extLst>
          </p:cNvPr>
          <p:cNvSpPr/>
          <p:nvPr/>
        </p:nvSpPr>
        <p:spPr bwMode="gray">
          <a:xfrm>
            <a:off x="6068370" y="2695223"/>
            <a:ext cx="723226" cy="900000"/>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n-US" sz="2000" b="1" dirty="0">
                <a:solidFill>
                  <a:schemeClr val="bg1"/>
                </a:solidFill>
                <a:cs typeface="Arial" pitchFamily="34" charset="0"/>
              </a:rPr>
              <a:t>71%</a:t>
            </a:r>
          </a:p>
        </p:txBody>
      </p:sp>
      <p:sp>
        <p:nvSpPr>
          <p:cNvPr id="29" name="Rectangle 28">
            <a:extLst>
              <a:ext uri="{FF2B5EF4-FFF2-40B4-BE49-F238E27FC236}">
                <a16:creationId xmlns:a16="http://schemas.microsoft.com/office/drawing/2014/main" xmlns="" id="{C397B978-6DDB-4CE4-93A0-FD197E7E84EA}"/>
              </a:ext>
            </a:extLst>
          </p:cNvPr>
          <p:cNvSpPr/>
          <p:nvPr/>
        </p:nvSpPr>
        <p:spPr bwMode="gray">
          <a:xfrm>
            <a:off x="7397628" y="2695223"/>
            <a:ext cx="723226" cy="900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n-US" sz="2000" b="1" dirty="0">
                <a:solidFill>
                  <a:schemeClr val="bg1"/>
                </a:solidFill>
                <a:cs typeface="Arial" pitchFamily="34" charset="0"/>
              </a:rPr>
              <a:t>72%</a:t>
            </a:r>
          </a:p>
        </p:txBody>
      </p:sp>
      <p:sp>
        <p:nvSpPr>
          <p:cNvPr id="30" name="Rectangle 29">
            <a:extLst>
              <a:ext uri="{FF2B5EF4-FFF2-40B4-BE49-F238E27FC236}">
                <a16:creationId xmlns:a16="http://schemas.microsoft.com/office/drawing/2014/main" xmlns="" id="{CF30775D-A529-4C57-9666-51912287D868}"/>
              </a:ext>
            </a:extLst>
          </p:cNvPr>
          <p:cNvSpPr/>
          <p:nvPr/>
        </p:nvSpPr>
        <p:spPr bwMode="gray">
          <a:xfrm>
            <a:off x="1167319" y="4227645"/>
            <a:ext cx="4320000" cy="900000"/>
          </a:xfrm>
          <a:prstGeom prst="rect">
            <a:avLst/>
          </a:prstGeom>
          <a:solidFill>
            <a:schemeClr val="bg1">
              <a:lumMod val="95000"/>
            </a:schemeClr>
          </a:solidFill>
          <a:ln w="9525">
            <a:solidFill>
              <a:schemeClr val="accent3">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300"/>
              </a:spcBef>
            </a:pPr>
            <a:r>
              <a:rPr lang="en-US" sz="1200" b="1" dirty="0">
                <a:solidFill>
                  <a:schemeClr val="tx1"/>
                </a:solidFill>
                <a:cs typeface="Arial" pitchFamily="34" charset="0"/>
              </a:rPr>
              <a:t>There will no longer be any difference between stores and online stores, instead the two channels will collaborate fully as one single sales channel</a:t>
            </a:r>
          </a:p>
        </p:txBody>
      </p:sp>
      <p:sp>
        <p:nvSpPr>
          <p:cNvPr id="31" name="Rectangle 30">
            <a:extLst>
              <a:ext uri="{FF2B5EF4-FFF2-40B4-BE49-F238E27FC236}">
                <a16:creationId xmlns:a16="http://schemas.microsoft.com/office/drawing/2014/main" xmlns="" id="{AA6FF128-1EE4-47C8-98EE-EE14BC598EFA}"/>
              </a:ext>
            </a:extLst>
          </p:cNvPr>
          <p:cNvSpPr/>
          <p:nvPr/>
        </p:nvSpPr>
        <p:spPr bwMode="gray">
          <a:xfrm>
            <a:off x="6068370" y="4227645"/>
            <a:ext cx="723226" cy="900000"/>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n-US" sz="2000" b="1" dirty="0">
                <a:solidFill>
                  <a:schemeClr val="bg1"/>
                </a:solidFill>
                <a:cs typeface="Arial" pitchFamily="34" charset="0"/>
              </a:rPr>
              <a:t>68%</a:t>
            </a:r>
          </a:p>
        </p:txBody>
      </p:sp>
      <p:sp>
        <p:nvSpPr>
          <p:cNvPr id="32" name="Rectangle 31">
            <a:extLst>
              <a:ext uri="{FF2B5EF4-FFF2-40B4-BE49-F238E27FC236}">
                <a16:creationId xmlns:a16="http://schemas.microsoft.com/office/drawing/2014/main" xmlns="" id="{C785E30D-C2C8-4745-A867-E1CAB2AF9FCC}"/>
              </a:ext>
            </a:extLst>
          </p:cNvPr>
          <p:cNvSpPr/>
          <p:nvPr/>
        </p:nvSpPr>
        <p:spPr bwMode="gray">
          <a:xfrm>
            <a:off x="7397628" y="4227645"/>
            <a:ext cx="723226" cy="900000"/>
          </a:xfrm>
          <a:prstGeom prst="rect">
            <a:avLst/>
          </a:prstGeom>
          <a:solidFill>
            <a:schemeClr val="accent3">
              <a:lumMod val="40000"/>
              <a:lumOff val="6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r>
              <a:rPr lang="en-US" sz="2000" b="1" dirty="0">
                <a:solidFill>
                  <a:schemeClr val="bg1"/>
                </a:solidFill>
                <a:cs typeface="Arial" pitchFamily="34" charset="0"/>
              </a:rPr>
              <a:t>68%</a:t>
            </a:r>
          </a:p>
        </p:txBody>
      </p:sp>
      <p:sp>
        <p:nvSpPr>
          <p:cNvPr id="33" name="TextBox 32">
            <a:extLst>
              <a:ext uri="{FF2B5EF4-FFF2-40B4-BE49-F238E27FC236}">
                <a16:creationId xmlns:a16="http://schemas.microsoft.com/office/drawing/2014/main" xmlns="" id="{58864BA7-86A7-481D-9880-BA7A33487C95}"/>
              </a:ext>
            </a:extLst>
          </p:cNvPr>
          <p:cNvSpPr txBox="1"/>
          <p:nvPr/>
        </p:nvSpPr>
        <p:spPr>
          <a:xfrm>
            <a:off x="6592489" y="2302809"/>
            <a:ext cx="4024489" cy="251847"/>
          </a:xfrm>
          <a:prstGeom prst="rect">
            <a:avLst/>
          </a:prstGeom>
          <a:noFill/>
        </p:spPr>
        <p:txBody>
          <a:bodyPr wrap="square" lIns="0" tIns="0" rIns="0" bIns="0" rtlCol="0">
            <a:noAutofit/>
          </a:bodyPr>
          <a:lstStyle/>
          <a:p>
            <a:pPr>
              <a:lnSpc>
                <a:spcPct val="125000"/>
              </a:lnSpc>
              <a:buClr>
                <a:schemeClr val="tx2"/>
              </a:buClr>
            </a:pPr>
            <a:r>
              <a:rPr lang="nl-NL" sz="1100" b="1" dirty="0"/>
              <a:t>% </a:t>
            </a:r>
            <a:r>
              <a:rPr lang="nl-NL" sz="1100" b="1" dirty="0" err="1"/>
              <a:t>somewhat</a:t>
            </a:r>
            <a:r>
              <a:rPr lang="nl-NL" sz="1100" b="1" dirty="0"/>
              <a:t>/</a:t>
            </a:r>
            <a:r>
              <a:rPr lang="nl-NL" sz="1100" b="1" dirty="0" err="1"/>
              <a:t>very</a:t>
            </a:r>
            <a:r>
              <a:rPr lang="nl-NL" sz="1100" b="1" dirty="0"/>
              <a:t> </a:t>
            </a:r>
            <a:r>
              <a:rPr lang="nl-NL" sz="1100" b="1" dirty="0" err="1"/>
              <a:t>likely</a:t>
            </a:r>
            <a:endParaRPr lang="nl-NL" sz="1100" b="1" dirty="0"/>
          </a:p>
        </p:txBody>
      </p:sp>
    </p:spTree>
    <p:extLst>
      <p:ext uri="{BB962C8B-B14F-4D97-AF65-F5344CB8AC3E}">
        <p14:creationId xmlns:p14="http://schemas.microsoft.com/office/powerpoint/2010/main" val="127271833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9"/>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3"/>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1"/>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31"/>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p:bldP spid="21" grpId="0"/>
      <p:bldP spid="26" grpId="0" animBg="1"/>
      <p:bldP spid="27" grpId="0" animBg="1"/>
      <p:bldP spid="29" grpId="0" animBg="1"/>
      <p:bldP spid="30" grpId="0" animBg="1"/>
      <p:bldP spid="31" grpId="0" animBg="1"/>
      <p:bldP spid="32" grpId="0" animBg="1"/>
      <p:bldP spid="33"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a:extLst>
              <a:ext uri="{FF2B5EF4-FFF2-40B4-BE49-F238E27FC236}">
                <a16:creationId xmlns:a16="http://schemas.microsoft.com/office/drawing/2014/main" xmlns="" id="{FD13E7D8-1EFA-4328-B1FE-41E6AC9EA438}"/>
              </a:ext>
            </a:extLst>
          </p:cNvPr>
          <p:cNvGraphicFramePr>
            <a:graphicFrameLocks noChangeAspect="1"/>
          </p:cNvGraphicFramePr>
          <p:nvPr>
            <p:extLst>
              <p:ext uri="{D42A27DB-BD31-4B8C-83A1-F6EECF244321}">
                <p14:modId xmlns:p14="http://schemas.microsoft.com/office/powerpoint/2010/main" val="2984124458"/>
              </p:ext>
            </p:extLst>
          </p:nvPr>
        </p:nvGraphicFramePr>
        <p:xfrm>
          <a:off x="623848" y="2588272"/>
          <a:ext cx="2933700" cy="2051050"/>
        </p:xfrm>
        <a:graphic>
          <a:graphicData uri="http://schemas.openxmlformats.org/presentationml/2006/ole">
            <mc:AlternateContent xmlns:mc="http://schemas.openxmlformats.org/markup-compatibility/2006">
              <mc:Choice xmlns:v="urn:schemas-microsoft-com:vml" Requires="v">
                <p:oleObj spid="_x0000_s7895" name="Macro-Enabled Worksheet" r:id="rId7" imgW="2933577" imgH="2051057" progId="Excel.SheetMacroEnabled.12">
                  <p:link updateAutomatic="1"/>
                </p:oleObj>
              </mc:Choice>
              <mc:Fallback>
                <p:oleObj name="Macro-Enabled Worksheet" r:id="rId7" imgW="2933577" imgH="2051057" progId="Excel.SheetMacroEnabled.12">
                  <p:link updateAutomatic="1"/>
                  <p:pic>
                    <p:nvPicPr>
                      <p:cNvPr id="0" name=""/>
                      <p:cNvPicPr/>
                      <p:nvPr/>
                    </p:nvPicPr>
                    <p:blipFill>
                      <a:blip r:embed="rId8"/>
                      <a:stretch>
                        <a:fillRect/>
                      </a:stretch>
                    </p:blipFill>
                    <p:spPr>
                      <a:xfrm>
                        <a:off x="623848" y="2588272"/>
                        <a:ext cx="2933700" cy="2051050"/>
                      </a:xfrm>
                      <a:prstGeom prst="rect">
                        <a:avLst/>
                      </a:prstGeom>
                    </p:spPr>
                  </p:pic>
                </p:oleObj>
              </mc:Fallback>
            </mc:AlternateContent>
          </a:graphicData>
        </a:graphic>
      </p:graphicFrame>
      <p:sp>
        <p:nvSpPr>
          <p:cNvPr id="21" name="Oval 20">
            <a:extLst>
              <a:ext uri="{FF2B5EF4-FFF2-40B4-BE49-F238E27FC236}">
                <a16:creationId xmlns:a16="http://schemas.microsoft.com/office/drawing/2014/main" xmlns="" id="{1D5EAFD2-0F58-4EA5-B7BB-68CFF370542A}"/>
              </a:ext>
            </a:extLst>
          </p:cNvPr>
          <p:cNvSpPr/>
          <p:nvPr/>
        </p:nvSpPr>
        <p:spPr bwMode="gray">
          <a:xfrm>
            <a:off x="7173794" y="1710001"/>
            <a:ext cx="5785010" cy="5785010"/>
          </a:xfrm>
          <a:prstGeom prst="ellipse">
            <a:avLst/>
          </a:prstGeom>
          <a:solidFill>
            <a:schemeClr val="accent3">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nl-NL" sz="1600" dirty="0">
              <a:solidFill>
                <a:schemeClr val="tx1"/>
              </a:solidFill>
              <a:latin typeface="Arial" pitchFamily="34" charset="0"/>
              <a:cs typeface="Arial" pitchFamily="34" charset="0"/>
            </a:endParaRPr>
          </a:p>
        </p:txBody>
      </p:sp>
      <p:sp>
        <p:nvSpPr>
          <p:cNvPr id="3" name="Footer Placeholder 2"/>
          <p:cNvSpPr>
            <a:spLocks noGrp="1"/>
          </p:cNvSpPr>
          <p:nvPr>
            <p:ph type="ftr" sz="quarter" idx="15"/>
          </p:nvPr>
        </p:nvSpPr>
        <p:spPr/>
        <p:txBody>
          <a:bodyPr/>
          <a:lstStyle/>
          <a:p>
            <a:r>
              <a:rPr lang="en-US"/>
              <a:t>ShoppingTomorrow 2020</a:t>
            </a:r>
            <a:endParaRPr lang="en-US" dirty="0"/>
          </a:p>
        </p:txBody>
      </p:sp>
      <p:sp>
        <p:nvSpPr>
          <p:cNvPr id="4" name="Slide Number Placeholder 3"/>
          <p:cNvSpPr>
            <a:spLocks noGrp="1"/>
          </p:cNvSpPr>
          <p:nvPr>
            <p:ph type="sldNum" sz="quarter" idx="16"/>
          </p:nvPr>
        </p:nvSpPr>
        <p:spPr/>
        <p:txBody>
          <a:bodyPr/>
          <a:lstStyle/>
          <a:p>
            <a:fld id="{5F3E29E4-0979-4FCA-B4C5-5FC6044C982A}" type="slidenum">
              <a:rPr lang="en-US" smtClean="0"/>
              <a:pPr/>
              <a:t>9</a:t>
            </a:fld>
            <a:endParaRPr lang="en-US"/>
          </a:p>
        </p:txBody>
      </p:sp>
      <p:sp>
        <p:nvSpPr>
          <p:cNvPr id="8" name="Title 7"/>
          <p:cNvSpPr>
            <a:spLocks noGrp="1"/>
          </p:cNvSpPr>
          <p:nvPr>
            <p:ph type="title"/>
          </p:nvPr>
        </p:nvSpPr>
        <p:spPr>
          <a:xfrm>
            <a:off x="1075061" y="358319"/>
            <a:ext cx="7910158" cy="648000"/>
          </a:xfrm>
        </p:spPr>
        <p:txBody>
          <a:bodyPr/>
          <a:lstStyle/>
          <a:p>
            <a:r>
              <a:rPr lang="en-US" sz="2400" dirty="0"/>
              <a:t>Almost half of all online buyers expect to make the majority of their online purchases by their smartphone in 2025</a:t>
            </a:r>
          </a:p>
        </p:txBody>
      </p:sp>
      <p:sp>
        <p:nvSpPr>
          <p:cNvPr id="15" name="Text Placeholder 14"/>
          <p:cNvSpPr>
            <a:spLocks noGrp="1"/>
          </p:cNvSpPr>
          <p:nvPr>
            <p:ph type="body" sz="quarter" idx="17"/>
          </p:nvPr>
        </p:nvSpPr>
        <p:spPr>
          <a:xfrm>
            <a:off x="1075063" y="6307665"/>
            <a:ext cx="8162717" cy="133200"/>
          </a:xfrm>
        </p:spPr>
        <p:txBody>
          <a:bodyPr/>
          <a:lstStyle/>
          <a:p>
            <a:r>
              <a:rPr lang="en-US" sz="900" dirty="0"/>
              <a:t>C01: In five years’ time, I expect to make the majority of my online purchases using a smartphone (through an app or mobile website)</a:t>
            </a:r>
          </a:p>
        </p:txBody>
      </p:sp>
      <p:sp>
        <p:nvSpPr>
          <p:cNvPr id="14" name="Title 8">
            <a:extLst>
              <a:ext uri="{FF2B5EF4-FFF2-40B4-BE49-F238E27FC236}">
                <a16:creationId xmlns:a16="http://schemas.microsoft.com/office/drawing/2014/main" xmlns="" id="{336CB63B-7A5A-415F-A5B1-6039ADDE6631}"/>
              </a:ext>
            </a:extLst>
          </p:cNvPr>
          <p:cNvSpPr txBox="1">
            <a:spLocks/>
          </p:cNvSpPr>
          <p:nvPr/>
        </p:nvSpPr>
        <p:spPr bwMode="gray">
          <a:xfrm>
            <a:off x="1167319" y="1340722"/>
            <a:ext cx="10525328" cy="288053"/>
          </a:xfrm>
          <a:prstGeom prst="rect">
            <a:avLst/>
          </a:prstGeom>
        </p:spPr>
        <p:txBody>
          <a:bodyPr vert="horz" lIns="0" tIns="0" rIns="0" bIns="0" rtlCol="0" anchor="ctr" anchorCtr="0">
            <a:noAutofit/>
          </a:bodyPr>
          <a:lstStyle>
            <a:lvl1pPr algn="l" defTabSz="914400" rtl="0" eaLnBrk="1" latinLnBrk="0" hangingPunct="1">
              <a:spcBef>
                <a:spcPct val="0"/>
              </a:spcBef>
              <a:buNone/>
              <a:defRPr sz="2000" kern="1200" baseline="0">
                <a:solidFill>
                  <a:schemeClr val="tx1"/>
                </a:solidFill>
                <a:latin typeface="Arial" pitchFamily="34" charset="0"/>
                <a:ea typeface="+mj-ea"/>
                <a:cs typeface="+mj-cs"/>
              </a:defRPr>
            </a:lvl1pPr>
          </a:lstStyle>
          <a:p>
            <a:pPr algn="ctr"/>
            <a:r>
              <a:rPr lang="en-US" sz="1200" b="1" dirty="0">
                <a:latin typeface="+mj-lt"/>
              </a:rPr>
              <a:t>Online buyers smartphone</a:t>
            </a:r>
          </a:p>
        </p:txBody>
      </p:sp>
      <p:cxnSp>
        <p:nvCxnSpPr>
          <p:cNvPr id="16" name="Straight Connector 15">
            <a:extLst>
              <a:ext uri="{FF2B5EF4-FFF2-40B4-BE49-F238E27FC236}">
                <a16:creationId xmlns:a16="http://schemas.microsoft.com/office/drawing/2014/main" xmlns="" id="{33F5F090-E00E-4DD8-B328-6CFB70193D9F}"/>
              </a:ext>
            </a:extLst>
          </p:cNvPr>
          <p:cNvCxnSpPr>
            <a:cxnSpLocks/>
          </p:cNvCxnSpPr>
          <p:nvPr/>
        </p:nvCxnSpPr>
        <p:spPr>
          <a:xfrm>
            <a:off x="1167319" y="1628754"/>
            <a:ext cx="10525328" cy="0"/>
          </a:xfrm>
          <a:prstGeom prst="line">
            <a:avLst/>
          </a:prstGeom>
          <a:ln>
            <a:solidFill>
              <a:schemeClr val="bg2">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12" name="Text Placeholder 20">
            <a:extLst>
              <a:ext uri="{FF2B5EF4-FFF2-40B4-BE49-F238E27FC236}">
                <a16:creationId xmlns:a16="http://schemas.microsoft.com/office/drawing/2014/main" xmlns="" id="{FAB2DECA-03E1-4BDE-9C87-733CB9A79186}"/>
              </a:ext>
            </a:extLst>
          </p:cNvPr>
          <p:cNvSpPr txBox="1">
            <a:spLocks/>
          </p:cNvSpPr>
          <p:nvPr/>
        </p:nvSpPr>
        <p:spPr bwMode="gray">
          <a:xfrm>
            <a:off x="10068339" y="6307665"/>
            <a:ext cx="1766330" cy="153986"/>
          </a:xfrm>
          <a:prstGeom prst="rect">
            <a:avLst/>
          </a:prstGeom>
        </p:spPr>
        <p:txBody>
          <a:bodyPr vert="horz" lIns="0" tIns="0" rIns="0" bIns="36000" rtlCol="0" anchor="b" anchorCtr="0">
            <a:noAutofit/>
          </a:bodyPr>
          <a:lstStyle>
            <a:lvl1pPr marL="0" marR="0" indent="0" algn="l" defTabSz="914400" rtl="0" eaLnBrk="1" fontAlgn="auto" latinLnBrk="0" hangingPunct="1">
              <a:lnSpc>
                <a:spcPct val="100000"/>
              </a:lnSpc>
              <a:spcBef>
                <a:spcPts val="0"/>
              </a:spcBef>
              <a:spcAft>
                <a:spcPts val="0"/>
              </a:spcAft>
              <a:buClrTx/>
              <a:buSzTx/>
              <a:buFont typeface="Arial" pitchFamily="34" charset="0"/>
              <a:buNone/>
              <a:tabLst/>
              <a:defRPr lang="de-DE" sz="800" kern="1200" baseline="0" noProof="0" smtClean="0">
                <a:solidFill>
                  <a:schemeClr val="bg2"/>
                </a:solidFill>
                <a:latin typeface="Arial" pitchFamily="34" charset="0"/>
                <a:ea typeface="+mn-ea"/>
                <a:cs typeface="Arial" pitchFamily="34" charset="0"/>
              </a:defRPr>
            </a:lvl1pPr>
            <a:lvl2pPr marL="0" marR="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lang="de-DE" sz="800" kern="1200" baseline="0" noProof="0" smtClean="0">
                <a:solidFill>
                  <a:schemeClr val="bg2"/>
                </a:solidFill>
                <a:latin typeface="Arial" pitchFamily="34" charset="0"/>
                <a:ea typeface="+mn-ea"/>
                <a:cs typeface="Arial" pitchFamily="34" charset="0"/>
              </a:defRPr>
            </a:lvl2pPr>
            <a:lvl3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3pPr>
            <a:lvl4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4pPr>
            <a:lvl5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5pPr>
            <a:lvl6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6pPr>
            <a:lvl7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dirty="0" smtClean="0">
                <a:solidFill>
                  <a:schemeClr val="bg2"/>
                </a:solidFill>
                <a:latin typeface="Arial" pitchFamily="34" charset="0"/>
                <a:ea typeface="+mn-ea"/>
                <a:cs typeface="Arial" pitchFamily="34" charset="0"/>
              </a:defRPr>
            </a:lvl7pPr>
            <a:lvl8pPr marL="0" indent="0" algn="l" defTabSz="914400" rtl="0" eaLnBrk="1" latinLnBrk="0" hangingPunct="1">
              <a:lnSpc>
                <a:spcPct val="100000"/>
              </a:lnSpc>
              <a:spcBef>
                <a:spcPts val="0"/>
              </a:spcBef>
              <a:spcAft>
                <a:spcPts val="0"/>
              </a:spcAft>
              <a:buFont typeface="Arial" pitchFamily="34" charset="0"/>
              <a:buNone/>
              <a:defRPr lang="de-DE" sz="800" kern="1200" baseline="0" noProof="0" smtClean="0">
                <a:solidFill>
                  <a:schemeClr val="bg2"/>
                </a:solidFill>
                <a:latin typeface="Arial" pitchFamily="34" charset="0"/>
                <a:ea typeface="+mn-ea"/>
                <a:cs typeface="Arial" pitchFamily="34" charset="0"/>
              </a:defRPr>
            </a:lvl8pPr>
            <a:lvl9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lang="de-DE" sz="800" kern="1200" baseline="0" noProof="0" smtClean="0">
                <a:solidFill>
                  <a:schemeClr val="bg2"/>
                </a:solidFill>
                <a:latin typeface="Arial" pitchFamily="34" charset="0"/>
                <a:ea typeface="+mn-ea"/>
                <a:cs typeface="Arial" pitchFamily="34" charset="0"/>
              </a:defRPr>
            </a:lvl9pPr>
          </a:lstStyle>
          <a:p>
            <a:pPr algn="r"/>
            <a:r>
              <a:rPr lang="nl-NL" sz="900" dirty="0">
                <a:solidFill>
                  <a:schemeClr val="tx1"/>
                </a:solidFill>
                <a:latin typeface="+mj-lt"/>
              </a:rPr>
              <a:t>Base: </a:t>
            </a:r>
            <a:r>
              <a:rPr lang="nl-NL" sz="900" dirty="0" err="1">
                <a:solidFill>
                  <a:schemeClr val="tx1"/>
                </a:solidFill>
                <a:latin typeface="+mj-lt"/>
              </a:rPr>
              <a:t>all</a:t>
            </a:r>
            <a:r>
              <a:rPr lang="nl-NL" sz="900" dirty="0">
                <a:solidFill>
                  <a:schemeClr val="tx1"/>
                </a:solidFill>
                <a:latin typeface="+mj-lt"/>
              </a:rPr>
              <a:t> </a:t>
            </a:r>
            <a:r>
              <a:rPr lang="nl-NL" sz="900" dirty="0" err="1">
                <a:solidFill>
                  <a:schemeClr val="tx1"/>
                </a:solidFill>
                <a:latin typeface="+mj-lt"/>
              </a:rPr>
              <a:t>respondents</a:t>
            </a:r>
            <a:r>
              <a:rPr lang="nl-NL" sz="900" dirty="0">
                <a:solidFill>
                  <a:schemeClr val="tx1"/>
                </a:solidFill>
                <a:latin typeface="+mj-lt"/>
              </a:rPr>
              <a:t> </a:t>
            </a:r>
            <a:r>
              <a:rPr lang="nl-NL" sz="900" dirty="0" err="1">
                <a:solidFill>
                  <a:schemeClr val="tx1"/>
                </a:solidFill>
                <a:latin typeface="+mj-lt"/>
              </a:rPr>
              <a:t>purchasing</a:t>
            </a:r>
            <a:r>
              <a:rPr lang="nl-NL" sz="900" dirty="0">
                <a:solidFill>
                  <a:schemeClr val="tx1"/>
                </a:solidFill>
                <a:latin typeface="+mj-lt"/>
              </a:rPr>
              <a:t> online, n=922</a:t>
            </a:r>
          </a:p>
        </p:txBody>
      </p:sp>
      <p:sp>
        <p:nvSpPr>
          <p:cNvPr id="22" name="Rectangle 21">
            <a:extLst>
              <a:ext uri="{FF2B5EF4-FFF2-40B4-BE49-F238E27FC236}">
                <a16:creationId xmlns:a16="http://schemas.microsoft.com/office/drawing/2014/main" xmlns="" id="{5ACEBF78-A584-485B-9479-A3407AA21D18}"/>
              </a:ext>
            </a:extLst>
          </p:cNvPr>
          <p:cNvSpPr/>
          <p:nvPr/>
        </p:nvSpPr>
        <p:spPr bwMode="gray">
          <a:xfrm>
            <a:off x="8216222" y="2480723"/>
            <a:ext cx="3282080" cy="101432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spcBef>
                <a:spcPts val="300"/>
              </a:spcBef>
            </a:pPr>
            <a:r>
              <a:rPr lang="en-US" sz="1200" dirty="0">
                <a:solidFill>
                  <a:schemeClr val="tx1"/>
                </a:solidFill>
                <a:cs typeface="Arial" pitchFamily="34" charset="0"/>
              </a:rPr>
              <a:t>In five years, </a:t>
            </a:r>
            <a:r>
              <a:rPr lang="en-US" sz="3600" b="1" dirty="0">
                <a:solidFill>
                  <a:schemeClr val="accent3"/>
                </a:solidFill>
                <a:cs typeface="Arial" pitchFamily="34" charset="0"/>
              </a:rPr>
              <a:t>46%</a:t>
            </a:r>
            <a:r>
              <a:rPr lang="en-US" sz="1200" b="1" dirty="0">
                <a:solidFill>
                  <a:schemeClr val="tx1"/>
                </a:solidFill>
                <a:cs typeface="Arial" pitchFamily="34" charset="0"/>
              </a:rPr>
              <a:t> </a:t>
            </a:r>
            <a:r>
              <a:rPr lang="en-US" sz="1200" dirty="0">
                <a:solidFill>
                  <a:schemeClr val="tx1"/>
                </a:solidFill>
                <a:cs typeface="Arial" pitchFamily="34" charset="0"/>
              </a:rPr>
              <a:t>of all </a:t>
            </a:r>
            <a:r>
              <a:rPr lang="en-US" sz="1200" b="1" dirty="0">
                <a:solidFill>
                  <a:schemeClr val="accent3"/>
                </a:solidFill>
                <a:cs typeface="Arial" pitchFamily="34" charset="0"/>
              </a:rPr>
              <a:t>online buyers </a:t>
            </a:r>
            <a:r>
              <a:rPr lang="en-US" sz="1200" dirty="0">
                <a:solidFill>
                  <a:schemeClr val="tx1"/>
                </a:solidFill>
                <a:cs typeface="Arial" pitchFamily="34" charset="0"/>
              </a:rPr>
              <a:t>(15+) expect to make the majority of their online purchases using a smartphone (2019: 47%) </a:t>
            </a:r>
            <a:endParaRPr lang="en-US" sz="1200" b="1" dirty="0">
              <a:solidFill>
                <a:schemeClr val="tx1"/>
              </a:solidFill>
              <a:cs typeface="Arial" pitchFamily="34" charset="0"/>
            </a:endParaRPr>
          </a:p>
        </p:txBody>
      </p:sp>
      <p:grpSp>
        <p:nvGrpSpPr>
          <p:cNvPr id="23" name="Group 22">
            <a:extLst>
              <a:ext uri="{FF2B5EF4-FFF2-40B4-BE49-F238E27FC236}">
                <a16:creationId xmlns:a16="http://schemas.microsoft.com/office/drawing/2014/main" xmlns="" id="{A067BE1A-7F94-40D9-B31F-21EE5D17CEBE}"/>
              </a:ext>
            </a:extLst>
          </p:cNvPr>
          <p:cNvGrpSpPr/>
          <p:nvPr/>
        </p:nvGrpSpPr>
        <p:grpSpPr>
          <a:xfrm>
            <a:off x="9430165" y="3870075"/>
            <a:ext cx="799671" cy="1381089"/>
            <a:chOff x="7956376" y="1651994"/>
            <a:chExt cx="583647" cy="1008000"/>
          </a:xfrm>
        </p:grpSpPr>
        <p:grpSp>
          <p:nvGrpSpPr>
            <p:cNvPr id="24" name="Group 33">
              <a:extLst>
                <a:ext uri="{FF2B5EF4-FFF2-40B4-BE49-F238E27FC236}">
                  <a16:creationId xmlns:a16="http://schemas.microsoft.com/office/drawing/2014/main" xmlns="" id="{124C4719-5768-45B6-B143-52B41FDBE679}"/>
                </a:ext>
              </a:extLst>
            </p:cNvPr>
            <p:cNvGrpSpPr>
              <a:grpSpLocks noChangeAspect="1"/>
            </p:cNvGrpSpPr>
            <p:nvPr/>
          </p:nvGrpSpPr>
          <p:grpSpPr bwMode="gray">
            <a:xfrm>
              <a:off x="7956376" y="1651994"/>
              <a:ext cx="583647" cy="1008000"/>
              <a:chOff x="5458831" y="548800"/>
              <a:chExt cx="625336" cy="1080000"/>
            </a:xfrm>
          </p:grpSpPr>
          <p:sp>
            <p:nvSpPr>
              <p:cNvPr id="30" name="Rectangle 520">
                <a:extLst>
                  <a:ext uri="{FF2B5EF4-FFF2-40B4-BE49-F238E27FC236}">
                    <a16:creationId xmlns:a16="http://schemas.microsoft.com/office/drawing/2014/main" xmlns="" id="{B6A5E542-3068-46F6-A82E-393E8DF4C21D}"/>
                  </a:ext>
                </a:extLst>
              </p:cNvPr>
              <p:cNvSpPr/>
              <p:nvPr/>
            </p:nvSpPr>
            <p:spPr bwMode="gray">
              <a:xfrm rot="10800000">
                <a:off x="5458831" y="1224513"/>
                <a:ext cx="625334" cy="289103"/>
              </a:xfrm>
              <a:prstGeom prst="rect">
                <a:avLst/>
              </a:prstGeom>
              <a:solidFill>
                <a:schemeClr val="accent3">
                  <a:lumMod val="60000"/>
                  <a:lumOff val="4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tIns="0" bIns="0" rtlCol="0" anchor="t" anchorCtr="0"/>
              <a:lstStyle/>
              <a:p>
                <a:pPr lvl="0" algn="ctr"/>
                <a:endParaRPr lang="en-US" sz="1200" dirty="0">
                  <a:solidFill>
                    <a:srgbClr val="FFFFFF"/>
                  </a:solidFill>
                </a:endParaRPr>
              </a:p>
            </p:txBody>
          </p:sp>
          <p:grpSp>
            <p:nvGrpSpPr>
              <p:cNvPr id="31" name="Group 521">
                <a:extLst>
                  <a:ext uri="{FF2B5EF4-FFF2-40B4-BE49-F238E27FC236}">
                    <a16:creationId xmlns:a16="http://schemas.microsoft.com/office/drawing/2014/main" xmlns="" id="{0A9FAEC5-2EB5-4AFA-A71E-A7A967F98F6D}"/>
                  </a:ext>
                </a:extLst>
              </p:cNvPr>
              <p:cNvGrpSpPr/>
              <p:nvPr/>
            </p:nvGrpSpPr>
            <p:grpSpPr bwMode="gray">
              <a:xfrm>
                <a:off x="5458834" y="548800"/>
                <a:ext cx="625333" cy="1080000"/>
                <a:chOff x="4738755" y="548800"/>
                <a:chExt cx="625333" cy="1080000"/>
              </a:xfrm>
            </p:grpSpPr>
            <p:sp>
              <p:nvSpPr>
                <p:cNvPr id="33" name="Rounded Rectangle 12">
                  <a:extLst>
                    <a:ext uri="{FF2B5EF4-FFF2-40B4-BE49-F238E27FC236}">
                      <a16:creationId xmlns:a16="http://schemas.microsoft.com/office/drawing/2014/main" xmlns="" id="{E60A05EE-C598-4064-A8A0-1E4CC42FFDC5}"/>
                    </a:ext>
                  </a:extLst>
                </p:cNvPr>
                <p:cNvSpPr/>
                <p:nvPr>
                  <p:custDataLst>
                    <p:tags r:id="rId4"/>
                  </p:custDataLst>
                </p:nvPr>
              </p:nvSpPr>
              <p:spPr bwMode="gray">
                <a:xfrm>
                  <a:off x="4738755" y="548800"/>
                  <a:ext cx="625333" cy="1080000"/>
                </a:xfrm>
                <a:custGeom>
                  <a:avLst/>
                  <a:gdLst/>
                  <a:ahLst/>
                  <a:cxnLst/>
                  <a:rect l="l" t="t" r="r" b="b"/>
                  <a:pathLst>
                    <a:path w="625333" h="1080000">
                      <a:moveTo>
                        <a:pt x="24767" y="92021"/>
                      </a:moveTo>
                      <a:cubicBezTo>
                        <a:pt x="18956" y="92021"/>
                        <a:pt x="14245" y="96732"/>
                        <a:pt x="14245" y="102543"/>
                      </a:cubicBezTo>
                      <a:lnTo>
                        <a:pt x="14245" y="934131"/>
                      </a:lnTo>
                      <a:cubicBezTo>
                        <a:pt x="14245" y="939942"/>
                        <a:pt x="18956" y="944653"/>
                        <a:pt x="24767" y="944653"/>
                      </a:cubicBezTo>
                      <a:lnTo>
                        <a:pt x="600565" y="944653"/>
                      </a:lnTo>
                      <a:cubicBezTo>
                        <a:pt x="606376" y="944653"/>
                        <a:pt x="611087" y="939942"/>
                        <a:pt x="611087" y="934131"/>
                      </a:cubicBezTo>
                      <a:lnTo>
                        <a:pt x="611087" y="102543"/>
                      </a:lnTo>
                      <a:cubicBezTo>
                        <a:pt x="611087" y="96732"/>
                        <a:pt x="606376" y="92021"/>
                        <a:pt x="600565" y="92021"/>
                      </a:cubicBezTo>
                      <a:close/>
                      <a:moveTo>
                        <a:pt x="170561" y="34380"/>
                      </a:moveTo>
                      <a:lnTo>
                        <a:pt x="170561" y="62801"/>
                      </a:lnTo>
                      <a:lnTo>
                        <a:pt x="454772" y="62801"/>
                      </a:lnTo>
                      <a:lnTo>
                        <a:pt x="454772" y="34380"/>
                      </a:lnTo>
                      <a:close/>
                      <a:moveTo>
                        <a:pt x="60157" y="0"/>
                      </a:moveTo>
                      <a:lnTo>
                        <a:pt x="565176" y="0"/>
                      </a:lnTo>
                      <a:cubicBezTo>
                        <a:pt x="598400" y="0"/>
                        <a:pt x="625333" y="26933"/>
                        <a:pt x="625333" y="60157"/>
                      </a:cubicBezTo>
                      <a:lnTo>
                        <a:pt x="625333" y="1019843"/>
                      </a:lnTo>
                      <a:cubicBezTo>
                        <a:pt x="625333" y="1053067"/>
                        <a:pt x="598400" y="1080000"/>
                        <a:pt x="565176" y="1080000"/>
                      </a:cubicBezTo>
                      <a:lnTo>
                        <a:pt x="60157" y="1080000"/>
                      </a:lnTo>
                      <a:cubicBezTo>
                        <a:pt x="26933" y="1080000"/>
                        <a:pt x="0" y="1053067"/>
                        <a:pt x="0" y="1019843"/>
                      </a:cubicBezTo>
                      <a:lnTo>
                        <a:pt x="0" y="60157"/>
                      </a:lnTo>
                      <a:cubicBezTo>
                        <a:pt x="0" y="26933"/>
                        <a:pt x="26933" y="0"/>
                        <a:pt x="60157" y="0"/>
                      </a:cubicBezTo>
                      <a:close/>
                    </a:path>
                  </a:pathLst>
                </a:custGeom>
                <a:solidFill>
                  <a:schemeClr val="bg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nvGrpSpPr>
                <p:cNvPr id="34" name="Group 523">
                  <a:extLst>
                    <a:ext uri="{FF2B5EF4-FFF2-40B4-BE49-F238E27FC236}">
                      <a16:creationId xmlns:a16="http://schemas.microsoft.com/office/drawing/2014/main" xmlns="" id="{A8FD781E-4F76-4021-9494-A3E593D50AB9}"/>
                    </a:ext>
                  </a:extLst>
                </p:cNvPr>
                <p:cNvGrpSpPr/>
                <p:nvPr/>
              </p:nvGrpSpPr>
              <p:grpSpPr bwMode="gray">
                <a:xfrm>
                  <a:off x="5008790" y="1519201"/>
                  <a:ext cx="85263" cy="85263"/>
                  <a:chOff x="5008790" y="1519201"/>
                  <a:chExt cx="85263" cy="85263"/>
                </a:xfrm>
              </p:grpSpPr>
              <p:sp>
                <p:nvSpPr>
                  <p:cNvPr id="35" name="Rounded Rectangle 524">
                    <a:extLst>
                      <a:ext uri="{FF2B5EF4-FFF2-40B4-BE49-F238E27FC236}">
                        <a16:creationId xmlns:a16="http://schemas.microsoft.com/office/drawing/2014/main" xmlns="" id="{2ED5E95E-EFA0-4D29-ABC7-9C73719E5D8E}"/>
                      </a:ext>
                    </a:extLst>
                  </p:cNvPr>
                  <p:cNvSpPr/>
                  <p:nvPr/>
                </p:nvSpPr>
                <p:spPr bwMode="gray">
                  <a:xfrm>
                    <a:off x="5030106" y="1540517"/>
                    <a:ext cx="42632" cy="42632"/>
                  </a:xfrm>
                  <a:prstGeom prst="round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36" name="Oval 525">
                    <a:extLst>
                      <a:ext uri="{FF2B5EF4-FFF2-40B4-BE49-F238E27FC236}">
                        <a16:creationId xmlns:a16="http://schemas.microsoft.com/office/drawing/2014/main" xmlns="" id="{50A3D07C-34B2-4EFD-9CC5-284366F8144A}"/>
                      </a:ext>
                    </a:extLst>
                  </p:cNvPr>
                  <p:cNvSpPr/>
                  <p:nvPr/>
                </p:nvSpPr>
                <p:spPr bwMode="gray">
                  <a:xfrm>
                    <a:off x="5008790" y="1519201"/>
                    <a:ext cx="85263" cy="85263"/>
                  </a:xfrm>
                  <a:prstGeom prst="ellipse">
                    <a:avLst/>
                  </a:prstGeom>
                  <a:no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grpSp>
          </p:grpSp>
          <p:sp>
            <p:nvSpPr>
              <p:cNvPr id="32" name="Rectangle 30">
                <a:extLst>
                  <a:ext uri="{FF2B5EF4-FFF2-40B4-BE49-F238E27FC236}">
                    <a16:creationId xmlns:a16="http://schemas.microsoft.com/office/drawing/2014/main" xmlns="" id="{12791384-D4F4-4D30-86F5-B25931BF76A2}"/>
                  </a:ext>
                </a:extLst>
              </p:cNvPr>
              <p:cNvSpPr/>
              <p:nvPr/>
            </p:nvSpPr>
            <p:spPr bwMode="gray">
              <a:xfrm>
                <a:off x="5458834" y="1422301"/>
                <a:ext cx="624151" cy="72000"/>
              </a:xfrm>
              <a:prstGeom prst="rect">
                <a:avLst/>
              </a:prstGeom>
            </p:spPr>
            <p:txBody>
              <a:bodyPr wrap="none" lIns="0" tIns="0" rIns="0" anchor="b" anchorCtr="0">
                <a:noAutofit/>
              </a:bodyPr>
              <a:lstStyle/>
              <a:p>
                <a:pPr lvl="0" algn="ctr"/>
                <a:endParaRPr lang="en-US" sz="1600" b="1" dirty="0">
                  <a:solidFill>
                    <a:srgbClr val="FFFFFF"/>
                  </a:solidFill>
                </a:endParaRPr>
              </a:p>
            </p:txBody>
          </p:sp>
        </p:grpSp>
        <p:grpSp>
          <p:nvGrpSpPr>
            <p:cNvPr id="25" name="Group 24">
              <a:extLst>
                <a:ext uri="{FF2B5EF4-FFF2-40B4-BE49-F238E27FC236}">
                  <a16:creationId xmlns:a16="http://schemas.microsoft.com/office/drawing/2014/main" xmlns="" id="{00A29312-5D3B-4AE8-A57E-640BB4EB96CF}"/>
                </a:ext>
              </a:extLst>
            </p:cNvPr>
            <p:cNvGrpSpPr/>
            <p:nvPr/>
          </p:nvGrpSpPr>
          <p:grpSpPr>
            <a:xfrm>
              <a:off x="8127255" y="1817574"/>
              <a:ext cx="257198" cy="537023"/>
              <a:chOff x="5227870" y="3816460"/>
              <a:chExt cx="257198" cy="537023"/>
            </a:xfrm>
          </p:grpSpPr>
          <p:grpSp>
            <p:nvGrpSpPr>
              <p:cNvPr id="26" name="Group 25">
                <a:extLst>
                  <a:ext uri="{FF2B5EF4-FFF2-40B4-BE49-F238E27FC236}">
                    <a16:creationId xmlns:a16="http://schemas.microsoft.com/office/drawing/2014/main" xmlns="" id="{65B262DE-DD9A-4F2F-9293-7B9CC14F9A8D}"/>
                  </a:ext>
                </a:extLst>
              </p:cNvPr>
              <p:cNvGrpSpPr/>
              <p:nvPr/>
            </p:nvGrpSpPr>
            <p:grpSpPr>
              <a:xfrm>
                <a:off x="5227870" y="4096287"/>
                <a:ext cx="257198" cy="257196"/>
                <a:chOff x="5248545" y="4068941"/>
                <a:chExt cx="257198" cy="257196"/>
              </a:xfrm>
            </p:grpSpPr>
            <p:sp>
              <p:nvSpPr>
                <p:cNvPr id="28" name="Rounded Rectangle 69">
                  <a:extLst>
                    <a:ext uri="{FF2B5EF4-FFF2-40B4-BE49-F238E27FC236}">
                      <a16:creationId xmlns:a16="http://schemas.microsoft.com/office/drawing/2014/main" xmlns="" id="{B9601AEC-31C6-454A-86D2-E1DAB9E72B33}"/>
                    </a:ext>
                  </a:extLst>
                </p:cNvPr>
                <p:cNvSpPr>
                  <a:spLocks noChangeAspect="1"/>
                </p:cNvSpPr>
                <p:nvPr/>
              </p:nvSpPr>
              <p:spPr bwMode="gray">
                <a:xfrm>
                  <a:off x="5248547" y="4068941"/>
                  <a:ext cx="257196" cy="257196"/>
                </a:xfrm>
                <a:prstGeom prst="roundRect">
                  <a:avLst>
                    <a:gd name="adj" fmla="val 23418"/>
                  </a:avLst>
                </a:prstGeom>
                <a:solidFill>
                  <a:schemeClr val="tx2"/>
                </a:solidFill>
                <a:ln w="444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marL="0" indent="0">
                    <a:spcBef>
                      <a:spcPts val="300"/>
                    </a:spcBef>
                    <a:buFont typeface="Courier New" pitchFamily="49" charset="0"/>
                    <a:buNone/>
                  </a:pPr>
                  <a:endParaRPr lang="nl-NL" sz="700" b="1" dirty="0">
                    <a:solidFill>
                      <a:schemeClr val="bg1"/>
                    </a:solidFill>
                    <a:latin typeface="Insight Display print" panose="04010403000000020004" pitchFamily="82" charset="0"/>
                    <a:cs typeface="Arial" pitchFamily="34" charset="0"/>
                  </a:endParaRPr>
                </a:p>
              </p:txBody>
            </p:sp>
            <p:sp>
              <p:nvSpPr>
                <p:cNvPr id="29" name="TextBox 28">
                  <a:extLst>
                    <a:ext uri="{FF2B5EF4-FFF2-40B4-BE49-F238E27FC236}">
                      <a16:creationId xmlns:a16="http://schemas.microsoft.com/office/drawing/2014/main" xmlns="" id="{51F9090F-047C-49E7-9C83-280C3A0B1905}"/>
                    </a:ext>
                  </a:extLst>
                </p:cNvPr>
                <p:cNvSpPr txBox="1"/>
                <p:nvPr/>
              </p:nvSpPr>
              <p:spPr bwMode="gray">
                <a:xfrm>
                  <a:off x="5248545" y="4152047"/>
                  <a:ext cx="252473" cy="117977"/>
                </a:xfrm>
                <a:prstGeom prst="rect">
                  <a:avLst/>
                </a:prstGeom>
                <a:noFill/>
              </p:spPr>
              <p:txBody>
                <a:bodyPr wrap="square" lIns="0" tIns="0" rIns="0" bIns="0" rtlCol="0">
                  <a:spAutoFit/>
                </a:bodyPr>
                <a:lstStyle/>
                <a:p>
                  <a:pPr algn="ctr">
                    <a:spcBef>
                      <a:spcPts val="300"/>
                    </a:spcBef>
                  </a:pPr>
                  <a:r>
                    <a:rPr lang="en-US" sz="1050" dirty="0">
                      <a:solidFill>
                        <a:schemeClr val="bg1"/>
                      </a:solidFill>
                      <a:latin typeface="Arial" pitchFamily="34" charset="0"/>
                      <a:cs typeface="Arial" pitchFamily="34" charset="0"/>
                    </a:rPr>
                    <a:t>app</a:t>
                  </a:r>
                  <a:endParaRPr lang="nl-NL" sz="1050" dirty="0" err="1">
                    <a:solidFill>
                      <a:schemeClr val="bg1"/>
                    </a:solidFill>
                    <a:latin typeface="Arial" pitchFamily="34" charset="0"/>
                    <a:cs typeface="Arial" pitchFamily="34" charset="0"/>
                  </a:endParaRPr>
                </a:p>
              </p:txBody>
            </p:sp>
          </p:grpSp>
          <p:pic>
            <p:nvPicPr>
              <p:cNvPr id="27" name="Picture 26">
                <a:extLst>
                  <a:ext uri="{FF2B5EF4-FFF2-40B4-BE49-F238E27FC236}">
                    <a16:creationId xmlns:a16="http://schemas.microsoft.com/office/drawing/2014/main" xmlns="" id="{28D658F1-41C5-4D55-ABC5-2E65947EF0D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230074" y="3816460"/>
                <a:ext cx="250269" cy="250269"/>
              </a:xfrm>
              <a:prstGeom prst="rect">
                <a:avLst/>
              </a:prstGeom>
            </p:spPr>
          </p:pic>
        </p:grpSp>
      </p:grpSp>
      <p:grpSp>
        <p:nvGrpSpPr>
          <p:cNvPr id="9" name="Group 8">
            <a:extLst>
              <a:ext uri="{FF2B5EF4-FFF2-40B4-BE49-F238E27FC236}">
                <a16:creationId xmlns:a16="http://schemas.microsoft.com/office/drawing/2014/main" xmlns="" id="{7F2091FF-9CCF-4B86-AEDE-851D061C087F}"/>
              </a:ext>
            </a:extLst>
          </p:cNvPr>
          <p:cNvGrpSpPr/>
          <p:nvPr/>
        </p:nvGrpSpPr>
        <p:grpSpPr>
          <a:xfrm>
            <a:off x="1388571" y="3380932"/>
            <a:ext cx="2416421" cy="2064574"/>
            <a:chOff x="3679579" y="3057155"/>
            <a:chExt cx="2416421" cy="2064574"/>
          </a:xfrm>
        </p:grpSpPr>
        <p:sp>
          <p:nvSpPr>
            <p:cNvPr id="54" name="Right Arrow 12">
              <a:extLst>
                <a:ext uri="{FF2B5EF4-FFF2-40B4-BE49-F238E27FC236}">
                  <a16:creationId xmlns:a16="http://schemas.microsoft.com/office/drawing/2014/main" xmlns="" id="{0B484DED-2C9C-4940-9738-A456EB6DE49C}"/>
                </a:ext>
              </a:extLst>
            </p:cNvPr>
            <p:cNvSpPr/>
            <p:nvPr/>
          </p:nvSpPr>
          <p:spPr bwMode="gray">
            <a:xfrm>
              <a:off x="5410200" y="3057155"/>
              <a:ext cx="685800" cy="472478"/>
            </a:xfrm>
            <a:prstGeom prst="rightArrow">
              <a:avLst/>
            </a:prstGeom>
            <a:solidFill>
              <a:schemeClr val="accent3"/>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indent="0" algn="ctr">
                <a:spcBef>
                  <a:spcPts val="300"/>
                </a:spcBef>
                <a:buFont typeface="Courier New" pitchFamily="49" charset="0"/>
                <a:buNone/>
              </a:pPr>
              <a:endParaRPr lang="nl-NL" sz="1600" dirty="0">
                <a:solidFill>
                  <a:schemeClr val="tx1"/>
                </a:solidFill>
                <a:latin typeface="Arial" pitchFamily="34" charset="0"/>
                <a:cs typeface="Arial" pitchFamily="34" charset="0"/>
              </a:endParaRPr>
            </a:p>
          </p:txBody>
        </p:sp>
        <p:sp>
          <p:nvSpPr>
            <p:cNvPr id="55" name="Rectangle 54">
              <a:extLst>
                <a:ext uri="{FF2B5EF4-FFF2-40B4-BE49-F238E27FC236}">
                  <a16:creationId xmlns:a16="http://schemas.microsoft.com/office/drawing/2014/main" xmlns="" id="{F3084C31-218D-4C4C-80F5-41D2BCDAE20F}"/>
                </a:ext>
              </a:extLst>
            </p:cNvPr>
            <p:cNvSpPr/>
            <p:nvPr/>
          </p:nvSpPr>
          <p:spPr>
            <a:xfrm>
              <a:off x="3679579" y="4290732"/>
              <a:ext cx="1447800" cy="830997"/>
            </a:xfrm>
            <a:prstGeom prst="rect">
              <a:avLst/>
            </a:prstGeom>
          </p:spPr>
          <p:txBody>
            <a:bodyPr wrap="square">
              <a:spAutoFit/>
            </a:bodyPr>
            <a:lstStyle/>
            <a:p>
              <a:pPr algn="ctr">
                <a:spcBef>
                  <a:spcPts val="300"/>
                </a:spcBef>
              </a:pPr>
              <a:r>
                <a:rPr lang="en-US" sz="1200" dirty="0">
                  <a:cs typeface="Arial" pitchFamily="34" charset="0"/>
                </a:rPr>
                <a:t>of the </a:t>
              </a:r>
              <a:r>
                <a:rPr lang="en-US" sz="1200" b="1" dirty="0">
                  <a:solidFill>
                    <a:schemeClr val="accent1"/>
                  </a:solidFill>
                  <a:cs typeface="Arial" pitchFamily="34" charset="0"/>
                </a:rPr>
                <a:t>total Dutch population </a:t>
              </a:r>
              <a:r>
                <a:rPr lang="en-US" sz="1200" dirty="0">
                  <a:cs typeface="Arial" pitchFamily="34" charset="0"/>
                </a:rPr>
                <a:t>(15+) </a:t>
              </a:r>
              <a:r>
                <a:rPr lang="en-US" sz="1200" b="1" dirty="0">
                  <a:solidFill>
                    <a:schemeClr val="accent1"/>
                  </a:solidFill>
                  <a:cs typeface="Arial" pitchFamily="34" charset="0"/>
                </a:rPr>
                <a:t>shopped online </a:t>
              </a:r>
              <a:r>
                <a:rPr lang="en-US" sz="1200" dirty="0">
                  <a:cs typeface="Arial" pitchFamily="34" charset="0"/>
                </a:rPr>
                <a:t>past year</a:t>
              </a:r>
              <a:endParaRPr lang="en-US" sz="4800" b="1" dirty="0">
                <a:cs typeface="Arial" pitchFamily="34" charset="0"/>
              </a:endParaRPr>
            </a:p>
          </p:txBody>
        </p:sp>
      </p:grpSp>
      <p:sp>
        <p:nvSpPr>
          <p:cNvPr id="56" name="Rectangle 55">
            <a:extLst>
              <a:ext uri="{FF2B5EF4-FFF2-40B4-BE49-F238E27FC236}">
                <a16:creationId xmlns:a16="http://schemas.microsoft.com/office/drawing/2014/main" xmlns="" id="{91F415E5-0E40-45AE-A2AF-D6E8B9570DA1}"/>
              </a:ext>
            </a:extLst>
          </p:cNvPr>
          <p:cNvSpPr/>
          <p:nvPr/>
        </p:nvSpPr>
        <p:spPr>
          <a:xfrm>
            <a:off x="4422208" y="4640270"/>
            <a:ext cx="1552503" cy="830997"/>
          </a:xfrm>
          <a:prstGeom prst="rect">
            <a:avLst/>
          </a:prstGeom>
        </p:spPr>
        <p:txBody>
          <a:bodyPr wrap="square">
            <a:spAutoFit/>
          </a:bodyPr>
          <a:lstStyle/>
          <a:p>
            <a:pPr algn="ctr">
              <a:spcBef>
                <a:spcPts val="300"/>
              </a:spcBef>
            </a:pPr>
            <a:r>
              <a:rPr lang="en-US" sz="1200" dirty="0">
                <a:cs typeface="Arial" pitchFamily="34" charset="0"/>
              </a:rPr>
              <a:t>of </a:t>
            </a:r>
            <a:r>
              <a:rPr lang="en-US" sz="1200" b="1" dirty="0">
                <a:solidFill>
                  <a:schemeClr val="accent3">
                    <a:lumMod val="60000"/>
                    <a:lumOff val="40000"/>
                  </a:schemeClr>
                </a:solidFill>
                <a:cs typeface="Arial" pitchFamily="34" charset="0"/>
              </a:rPr>
              <a:t>all online buyers</a:t>
            </a:r>
            <a:r>
              <a:rPr lang="en-US" sz="1200" b="1" dirty="0">
                <a:solidFill>
                  <a:schemeClr val="accent2"/>
                </a:solidFill>
                <a:cs typeface="Arial" pitchFamily="34" charset="0"/>
              </a:rPr>
              <a:t> </a:t>
            </a:r>
            <a:r>
              <a:rPr lang="en-US" sz="1200" dirty="0">
                <a:cs typeface="Arial" pitchFamily="34" charset="0"/>
              </a:rPr>
              <a:t>(15+) </a:t>
            </a:r>
            <a:r>
              <a:rPr lang="en-US" sz="1200" b="1" dirty="0">
                <a:solidFill>
                  <a:schemeClr val="accent3">
                    <a:lumMod val="60000"/>
                    <a:lumOff val="40000"/>
                  </a:schemeClr>
                </a:solidFill>
                <a:cs typeface="Arial" pitchFamily="34" charset="0"/>
              </a:rPr>
              <a:t>use their mobile phone </a:t>
            </a:r>
            <a:r>
              <a:rPr lang="en-US" sz="1200" dirty="0">
                <a:cs typeface="Arial" pitchFamily="34" charset="0"/>
              </a:rPr>
              <a:t>to shop online</a:t>
            </a:r>
            <a:endParaRPr lang="en-US" sz="4800" b="1" dirty="0">
              <a:cs typeface="Arial" pitchFamily="34" charset="0"/>
            </a:endParaRPr>
          </a:p>
        </p:txBody>
      </p:sp>
      <p:graphicFrame>
        <p:nvGraphicFramePr>
          <p:cNvPr id="13" name="Object 12">
            <a:extLst>
              <a:ext uri="{FF2B5EF4-FFF2-40B4-BE49-F238E27FC236}">
                <a16:creationId xmlns:a16="http://schemas.microsoft.com/office/drawing/2014/main" xmlns="" id="{5D9A9830-BFD1-4418-85A7-15E371E17BC1}"/>
              </a:ext>
            </a:extLst>
          </p:cNvPr>
          <p:cNvGraphicFramePr>
            <a:graphicFrameLocks noChangeAspect="1"/>
          </p:cNvGraphicFramePr>
          <p:nvPr>
            <p:extLst>
              <p:ext uri="{D42A27DB-BD31-4B8C-83A1-F6EECF244321}">
                <p14:modId xmlns:p14="http://schemas.microsoft.com/office/powerpoint/2010/main" val="3392818568"/>
              </p:ext>
            </p:extLst>
          </p:nvPr>
        </p:nvGraphicFramePr>
        <p:xfrm>
          <a:off x="3689571" y="2589200"/>
          <a:ext cx="2933700" cy="2051050"/>
        </p:xfrm>
        <a:graphic>
          <a:graphicData uri="http://schemas.openxmlformats.org/presentationml/2006/ole">
            <mc:AlternateContent xmlns:mc="http://schemas.openxmlformats.org/markup-compatibility/2006">
              <mc:Choice xmlns:v="urn:schemas-microsoft-com:vml" Requires="v">
                <p:oleObj spid="_x0000_s7896" name="Macro-Enabled Worksheet" r:id="rId10" imgW="2933577" imgH="2051057" progId="Excel.SheetMacroEnabled.12">
                  <p:link updateAutomatic="1"/>
                </p:oleObj>
              </mc:Choice>
              <mc:Fallback>
                <p:oleObj name="Macro-Enabled Worksheet" r:id="rId10" imgW="2933577" imgH="2051057" progId="Excel.SheetMacroEnabled.12">
                  <p:link updateAutomatic="1"/>
                  <p:pic>
                    <p:nvPicPr>
                      <p:cNvPr id="0" name=""/>
                      <p:cNvPicPr/>
                      <p:nvPr/>
                    </p:nvPicPr>
                    <p:blipFill>
                      <a:blip r:embed="rId11"/>
                      <a:stretch>
                        <a:fillRect/>
                      </a:stretch>
                    </p:blipFill>
                    <p:spPr>
                      <a:xfrm>
                        <a:off x="3689571" y="2589200"/>
                        <a:ext cx="2933700" cy="2051050"/>
                      </a:xfrm>
                      <a:prstGeom prst="rect">
                        <a:avLst/>
                      </a:prstGeom>
                    </p:spPr>
                  </p:pic>
                </p:oleObj>
              </mc:Fallback>
            </mc:AlternateContent>
          </a:graphicData>
        </a:graphic>
      </p:graphicFrame>
      <p:grpSp>
        <p:nvGrpSpPr>
          <p:cNvPr id="37" name="Group 36">
            <a:extLst>
              <a:ext uri="{FF2B5EF4-FFF2-40B4-BE49-F238E27FC236}">
                <a16:creationId xmlns:a16="http://schemas.microsoft.com/office/drawing/2014/main" xmlns="" id="{7D705D97-8385-4161-8161-6A039FBE3280}"/>
              </a:ext>
            </a:extLst>
          </p:cNvPr>
          <p:cNvGrpSpPr/>
          <p:nvPr/>
        </p:nvGrpSpPr>
        <p:grpSpPr>
          <a:xfrm>
            <a:off x="5974711" y="4749046"/>
            <a:ext cx="387857" cy="570955"/>
            <a:chOff x="7034579" y="1276441"/>
            <a:chExt cx="387857" cy="570955"/>
          </a:xfrm>
          <a:solidFill>
            <a:schemeClr val="accent3">
              <a:lumMod val="60000"/>
              <a:lumOff val="40000"/>
            </a:schemeClr>
          </a:solidFill>
        </p:grpSpPr>
        <p:sp>
          <p:nvSpPr>
            <p:cNvPr id="39" name="Freeform 45">
              <a:extLst>
                <a:ext uri="{FF2B5EF4-FFF2-40B4-BE49-F238E27FC236}">
                  <a16:creationId xmlns:a16="http://schemas.microsoft.com/office/drawing/2014/main" xmlns="" id="{1016F074-7703-4C06-9848-EC4725B82FDA}"/>
                </a:ext>
              </a:extLst>
            </p:cNvPr>
            <p:cNvSpPr>
              <a:spLocks noChangeAspect="1" noEditPoints="1"/>
            </p:cNvSpPr>
            <p:nvPr>
              <p:custDataLst>
                <p:tags r:id="rId2"/>
              </p:custDataLst>
            </p:nvPr>
          </p:nvSpPr>
          <p:spPr bwMode="gray">
            <a:xfrm>
              <a:off x="7034579" y="1276441"/>
              <a:ext cx="387857" cy="570955"/>
            </a:xfrm>
            <a:custGeom>
              <a:avLst/>
              <a:gdLst>
                <a:gd name="T0" fmla="*/ 600 w 1440"/>
                <a:gd name="T1" fmla="*/ 240 h 2120"/>
                <a:gd name="T2" fmla="*/ 840 w 1440"/>
                <a:gd name="T3" fmla="*/ 240 h 2120"/>
                <a:gd name="T4" fmla="*/ 880 w 1440"/>
                <a:gd name="T5" fmla="*/ 200 h 2120"/>
                <a:gd name="T6" fmla="*/ 840 w 1440"/>
                <a:gd name="T7" fmla="*/ 160 h 2120"/>
                <a:gd name="T8" fmla="*/ 600 w 1440"/>
                <a:gd name="T9" fmla="*/ 160 h 2120"/>
                <a:gd name="T10" fmla="*/ 560 w 1440"/>
                <a:gd name="T11" fmla="*/ 200 h 2120"/>
                <a:gd name="T12" fmla="*/ 600 w 1440"/>
                <a:gd name="T13" fmla="*/ 240 h 2120"/>
                <a:gd name="T14" fmla="*/ 721 w 1440"/>
                <a:gd name="T15" fmla="*/ 1759 h 2120"/>
                <a:gd name="T16" fmla="*/ 601 w 1440"/>
                <a:gd name="T17" fmla="*/ 1879 h 2120"/>
                <a:gd name="T18" fmla="*/ 721 w 1440"/>
                <a:gd name="T19" fmla="*/ 1999 h 2120"/>
                <a:gd name="T20" fmla="*/ 841 w 1440"/>
                <a:gd name="T21" fmla="*/ 1879 h 2120"/>
                <a:gd name="T22" fmla="*/ 721 w 1440"/>
                <a:gd name="T23" fmla="*/ 1759 h 2120"/>
                <a:gd name="T24" fmla="*/ 200 w 1440"/>
                <a:gd name="T25" fmla="*/ 0 h 2120"/>
                <a:gd name="T26" fmla="*/ 1240 w 1440"/>
                <a:gd name="T27" fmla="*/ 0 h 2120"/>
                <a:gd name="T28" fmla="*/ 1440 w 1440"/>
                <a:gd name="T29" fmla="*/ 200 h 2120"/>
                <a:gd name="T30" fmla="*/ 1440 w 1440"/>
                <a:gd name="T31" fmla="*/ 1920 h 2120"/>
                <a:gd name="T32" fmla="*/ 1240 w 1440"/>
                <a:gd name="T33" fmla="*/ 2120 h 2120"/>
                <a:gd name="T34" fmla="*/ 200 w 1440"/>
                <a:gd name="T35" fmla="*/ 2120 h 2120"/>
                <a:gd name="T36" fmla="*/ 0 w 1440"/>
                <a:gd name="T37" fmla="*/ 1920 h 2120"/>
                <a:gd name="T38" fmla="*/ 0 w 1440"/>
                <a:gd name="T39" fmla="*/ 200 h 2120"/>
                <a:gd name="T40" fmla="*/ 200 w 1440"/>
                <a:gd name="T41" fmla="*/ 0 h 2120"/>
                <a:gd name="T42" fmla="*/ 200 w 1440"/>
                <a:gd name="T43" fmla="*/ 360 h 2120"/>
                <a:gd name="T44" fmla="*/ 200 w 1440"/>
                <a:gd name="T45" fmla="*/ 1680 h 2120"/>
                <a:gd name="T46" fmla="*/ 1240 w 1440"/>
                <a:gd name="T47" fmla="*/ 1680 h 2120"/>
                <a:gd name="T48" fmla="*/ 1240 w 1440"/>
                <a:gd name="T49" fmla="*/ 360 h 2120"/>
                <a:gd name="T50" fmla="*/ 200 w 1440"/>
                <a:gd name="T51" fmla="*/ 360 h 2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440" h="2120">
                  <a:moveTo>
                    <a:pt x="600" y="240"/>
                  </a:moveTo>
                  <a:cubicBezTo>
                    <a:pt x="840" y="240"/>
                    <a:pt x="840" y="240"/>
                    <a:pt x="840" y="240"/>
                  </a:cubicBezTo>
                  <a:cubicBezTo>
                    <a:pt x="862" y="240"/>
                    <a:pt x="880" y="222"/>
                    <a:pt x="880" y="200"/>
                  </a:cubicBezTo>
                  <a:cubicBezTo>
                    <a:pt x="880" y="178"/>
                    <a:pt x="862" y="160"/>
                    <a:pt x="840" y="160"/>
                  </a:cubicBezTo>
                  <a:cubicBezTo>
                    <a:pt x="600" y="160"/>
                    <a:pt x="600" y="160"/>
                    <a:pt x="600" y="160"/>
                  </a:cubicBezTo>
                  <a:cubicBezTo>
                    <a:pt x="578" y="160"/>
                    <a:pt x="560" y="178"/>
                    <a:pt x="560" y="200"/>
                  </a:cubicBezTo>
                  <a:cubicBezTo>
                    <a:pt x="560" y="222"/>
                    <a:pt x="578" y="240"/>
                    <a:pt x="600" y="240"/>
                  </a:cubicBezTo>
                  <a:close/>
                  <a:moveTo>
                    <a:pt x="721" y="1759"/>
                  </a:moveTo>
                  <a:cubicBezTo>
                    <a:pt x="655" y="1759"/>
                    <a:pt x="601" y="1813"/>
                    <a:pt x="601" y="1879"/>
                  </a:cubicBezTo>
                  <a:cubicBezTo>
                    <a:pt x="601" y="1945"/>
                    <a:pt x="655" y="1999"/>
                    <a:pt x="721" y="1999"/>
                  </a:cubicBezTo>
                  <a:cubicBezTo>
                    <a:pt x="787" y="1999"/>
                    <a:pt x="841" y="1945"/>
                    <a:pt x="841" y="1879"/>
                  </a:cubicBezTo>
                  <a:cubicBezTo>
                    <a:pt x="841" y="1813"/>
                    <a:pt x="787" y="1759"/>
                    <a:pt x="721" y="1759"/>
                  </a:cubicBezTo>
                  <a:close/>
                  <a:moveTo>
                    <a:pt x="200" y="0"/>
                  </a:moveTo>
                  <a:cubicBezTo>
                    <a:pt x="1240" y="0"/>
                    <a:pt x="1240" y="0"/>
                    <a:pt x="1240" y="0"/>
                  </a:cubicBezTo>
                  <a:cubicBezTo>
                    <a:pt x="1350" y="0"/>
                    <a:pt x="1440" y="90"/>
                    <a:pt x="1440" y="200"/>
                  </a:cubicBezTo>
                  <a:cubicBezTo>
                    <a:pt x="1440" y="1920"/>
                    <a:pt x="1440" y="1920"/>
                    <a:pt x="1440" y="1920"/>
                  </a:cubicBezTo>
                  <a:cubicBezTo>
                    <a:pt x="1440" y="2030"/>
                    <a:pt x="1350" y="2120"/>
                    <a:pt x="1240" y="2120"/>
                  </a:cubicBezTo>
                  <a:cubicBezTo>
                    <a:pt x="200" y="2120"/>
                    <a:pt x="200" y="2120"/>
                    <a:pt x="200" y="2120"/>
                  </a:cubicBezTo>
                  <a:cubicBezTo>
                    <a:pt x="90" y="2120"/>
                    <a:pt x="0" y="2030"/>
                    <a:pt x="0" y="1920"/>
                  </a:cubicBezTo>
                  <a:cubicBezTo>
                    <a:pt x="0" y="200"/>
                    <a:pt x="0" y="200"/>
                    <a:pt x="0" y="200"/>
                  </a:cubicBezTo>
                  <a:cubicBezTo>
                    <a:pt x="0" y="90"/>
                    <a:pt x="90" y="0"/>
                    <a:pt x="200" y="0"/>
                  </a:cubicBezTo>
                  <a:close/>
                  <a:moveTo>
                    <a:pt x="200" y="360"/>
                  </a:moveTo>
                  <a:cubicBezTo>
                    <a:pt x="200" y="1680"/>
                    <a:pt x="200" y="1680"/>
                    <a:pt x="200" y="1680"/>
                  </a:cubicBezTo>
                  <a:cubicBezTo>
                    <a:pt x="1240" y="1680"/>
                    <a:pt x="1240" y="1680"/>
                    <a:pt x="1240" y="1680"/>
                  </a:cubicBezTo>
                  <a:cubicBezTo>
                    <a:pt x="1240" y="360"/>
                    <a:pt x="1240" y="360"/>
                    <a:pt x="1240" y="360"/>
                  </a:cubicBezTo>
                  <a:lnTo>
                    <a:pt x="200" y="360"/>
                  </a:lnTo>
                  <a:close/>
                </a:path>
              </a:pathLst>
            </a:custGeom>
            <a:grpFill/>
            <a:ln>
              <a:noFill/>
            </a:ln>
          </p:spPr>
          <p:txBody>
            <a:bodyPr vert="horz" wrap="square" lIns="121920" tIns="60960" rIns="121920" bIns="60960" numCol="1" anchor="t" anchorCtr="0" compatLnSpc="1">
              <a:prstTxWarp prst="textNoShape">
                <a:avLst/>
              </a:prstTxWarp>
            </a:bodyPr>
            <a:lstStyle/>
            <a:p>
              <a:endParaRPr lang="en-US" sz="1333" noProof="1"/>
            </a:p>
          </p:txBody>
        </p:sp>
        <p:sp>
          <p:nvSpPr>
            <p:cNvPr id="40" name="Freeform 43">
              <a:extLst>
                <a:ext uri="{FF2B5EF4-FFF2-40B4-BE49-F238E27FC236}">
                  <a16:creationId xmlns:a16="http://schemas.microsoft.com/office/drawing/2014/main" xmlns="" id="{1A16E8DA-029D-4AB4-AD56-379F7A6C179B}"/>
                </a:ext>
              </a:extLst>
            </p:cNvPr>
            <p:cNvSpPr>
              <a:spLocks noChangeAspect="1" noEditPoints="1"/>
            </p:cNvSpPr>
            <p:nvPr>
              <p:custDataLst>
                <p:tags r:id="rId3"/>
              </p:custDataLst>
            </p:nvPr>
          </p:nvSpPr>
          <p:spPr bwMode="gray">
            <a:xfrm>
              <a:off x="7112847" y="1447622"/>
              <a:ext cx="231320" cy="228591"/>
            </a:xfrm>
            <a:custGeom>
              <a:avLst/>
              <a:gdLst>
                <a:gd name="T0" fmla="*/ 1774 w 2044"/>
                <a:gd name="T1" fmla="*/ 120 h 2020"/>
                <a:gd name="T2" fmla="*/ 1431 w 2044"/>
                <a:gd name="T3" fmla="*/ 1165 h 2020"/>
                <a:gd name="T4" fmla="*/ 1619 w 2044"/>
                <a:gd name="T5" fmla="*/ 1533 h 2020"/>
                <a:gd name="T6" fmla="*/ 1451 w 2044"/>
                <a:gd name="T7" fmla="*/ 1640 h 2020"/>
                <a:gd name="T8" fmla="*/ 1364 w 2044"/>
                <a:gd name="T9" fmla="*/ 2020 h 2020"/>
                <a:gd name="T10" fmla="*/ 1277 w 2044"/>
                <a:gd name="T11" fmla="*/ 1640 h 2020"/>
                <a:gd name="T12" fmla="*/ 524 w 2044"/>
                <a:gd name="T13" fmla="*/ 1820 h 2020"/>
                <a:gd name="T14" fmla="*/ 124 w 2044"/>
                <a:gd name="T15" fmla="*/ 1820 h 2020"/>
                <a:gd name="T16" fmla="*/ 124 w 2044"/>
                <a:gd name="T17" fmla="*/ 1640 h 2020"/>
                <a:gd name="T18" fmla="*/ 1454 w 2044"/>
                <a:gd name="T19" fmla="*/ 1520 h 2020"/>
                <a:gd name="T20" fmla="*/ 1499 w 2044"/>
                <a:gd name="T21" fmla="*/ 1420 h 2020"/>
                <a:gd name="T22" fmla="*/ 487 w 2044"/>
                <a:gd name="T23" fmla="*/ 1220 h 2020"/>
                <a:gd name="T24" fmla="*/ 9 w 2044"/>
                <a:gd name="T25" fmla="*/ 367 h 2020"/>
                <a:gd name="T26" fmla="*/ 84 w 2044"/>
                <a:gd name="T27" fmla="*/ 260 h 2020"/>
                <a:gd name="T28" fmla="*/ 1602 w 2044"/>
                <a:gd name="T29" fmla="*/ 131 h 2020"/>
                <a:gd name="T30" fmla="*/ 2044 w 2044"/>
                <a:gd name="T31" fmla="*/ 0 h 2020"/>
                <a:gd name="T32" fmla="*/ 1344 w 2044"/>
                <a:gd name="T33" fmla="*/ 1032 h 2020"/>
                <a:gd name="T34" fmla="*/ 1344 w 2044"/>
                <a:gd name="T35" fmla="*/ 1000 h 2020"/>
                <a:gd name="T36" fmla="*/ 1387 w 2044"/>
                <a:gd name="T37" fmla="*/ 880 h 2020"/>
                <a:gd name="T38" fmla="*/ 1344 w 2044"/>
                <a:gd name="T39" fmla="*/ 680 h 2020"/>
                <a:gd name="T40" fmla="*/ 1387 w 2044"/>
                <a:gd name="T41" fmla="*/ 880 h 2020"/>
                <a:gd name="T42" fmla="*/ 1536 w 2044"/>
                <a:gd name="T43" fmla="*/ 360 h 2020"/>
                <a:gd name="T44" fmla="*/ 1344 w 2044"/>
                <a:gd name="T45" fmla="*/ 560 h 2020"/>
                <a:gd name="T46" fmla="*/ 1024 w 2044"/>
                <a:gd name="T47" fmla="*/ 360 h 2020"/>
                <a:gd name="T48" fmla="*/ 1224 w 2044"/>
                <a:gd name="T49" fmla="*/ 560 h 2020"/>
                <a:gd name="T50" fmla="*/ 1024 w 2044"/>
                <a:gd name="T51" fmla="*/ 360 h 2020"/>
                <a:gd name="T52" fmla="*/ 1224 w 2044"/>
                <a:gd name="T53" fmla="*/ 1000 h 2020"/>
                <a:gd name="T54" fmla="*/ 1024 w 2044"/>
                <a:gd name="T55" fmla="*/ 1120 h 2020"/>
                <a:gd name="T56" fmla="*/ 904 w 2044"/>
                <a:gd name="T57" fmla="*/ 1120 h 2020"/>
                <a:gd name="T58" fmla="*/ 704 w 2044"/>
                <a:gd name="T59" fmla="*/ 1000 h 2020"/>
                <a:gd name="T60" fmla="*/ 904 w 2044"/>
                <a:gd name="T61" fmla="*/ 1120 h 2020"/>
                <a:gd name="T62" fmla="*/ 584 w 2044"/>
                <a:gd name="T63" fmla="*/ 1000 h 2020"/>
                <a:gd name="T64" fmla="*/ 384 w 2044"/>
                <a:gd name="T65" fmla="*/ 1076 h 2020"/>
                <a:gd name="T66" fmla="*/ 584 w 2044"/>
                <a:gd name="T67" fmla="*/ 1120 h 2020"/>
                <a:gd name="T68" fmla="*/ 264 w 2044"/>
                <a:gd name="T69" fmla="*/ 680 h 2020"/>
                <a:gd name="T70" fmla="*/ 264 w 2044"/>
                <a:gd name="T71" fmla="*/ 777 h 2020"/>
                <a:gd name="T72" fmla="*/ 264 w 2044"/>
                <a:gd name="T73" fmla="*/ 560 h 2020"/>
                <a:gd name="T74" fmla="*/ 112 w 2044"/>
                <a:gd name="T75" fmla="*/ 360 h 2020"/>
                <a:gd name="T76" fmla="*/ 384 w 2044"/>
                <a:gd name="T77" fmla="*/ 360 h 2020"/>
                <a:gd name="T78" fmla="*/ 584 w 2044"/>
                <a:gd name="T79" fmla="*/ 560 h 2020"/>
                <a:gd name="T80" fmla="*/ 384 w 2044"/>
                <a:gd name="T81" fmla="*/ 360 h 2020"/>
                <a:gd name="T82" fmla="*/ 704 w 2044"/>
                <a:gd name="T83" fmla="*/ 560 h 2020"/>
                <a:gd name="T84" fmla="*/ 904 w 2044"/>
                <a:gd name="T85" fmla="*/ 360 h 2020"/>
                <a:gd name="T86" fmla="*/ 1024 w 2044"/>
                <a:gd name="T87" fmla="*/ 680 h 2020"/>
                <a:gd name="T88" fmla="*/ 1224 w 2044"/>
                <a:gd name="T89" fmla="*/ 880 h 2020"/>
                <a:gd name="T90" fmla="*/ 1024 w 2044"/>
                <a:gd name="T91" fmla="*/ 680 h 2020"/>
                <a:gd name="T92" fmla="*/ 904 w 2044"/>
                <a:gd name="T93" fmla="*/ 680 h 2020"/>
                <a:gd name="T94" fmla="*/ 704 w 2044"/>
                <a:gd name="T95" fmla="*/ 880 h 2020"/>
                <a:gd name="T96" fmla="*/ 384 w 2044"/>
                <a:gd name="T97" fmla="*/ 880 h 2020"/>
                <a:gd name="T98" fmla="*/ 584 w 2044"/>
                <a:gd name="T99" fmla="*/ 680 h 2020"/>
                <a:gd name="T100" fmla="*/ 384 w 2044"/>
                <a:gd name="T101" fmla="*/ 880 h 2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2044" h="2020">
                  <a:moveTo>
                    <a:pt x="2044" y="120"/>
                  </a:moveTo>
                  <a:cubicBezTo>
                    <a:pt x="1774" y="120"/>
                    <a:pt x="1774" y="120"/>
                    <a:pt x="1774" y="120"/>
                  </a:cubicBezTo>
                  <a:cubicBezTo>
                    <a:pt x="1747" y="120"/>
                    <a:pt x="1724" y="137"/>
                    <a:pt x="1717" y="164"/>
                  </a:cubicBezTo>
                  <a:cubicBezTo>
                    <a:pt x="1431" y="1165"/>
                    <a:pt x="1431" y="1165"/>
                    <a:pt x="1431" y="1165"/>
                  </a:cubicBezTo>
                  <a:cubicBezTo>
                    <a:pt x="1588" y="1340"/>
                    <a:pt x="1588" y="1340"/>
                    <a:pt x="1588" y="1340"/>
                  </a:cubicBezTo>
                  <a:cubicBezTo>
                    <a:pt x="1636" y="1393"/>
                    <a:pt x="1648" y="1468"/>
                    <a:pt x="1619" y="1533"/>
                  </a:cubicBezTo>
                  <a:cubicBezTo>
                    <a:pt x="1590" y="1599"/>
                    <a:pt x="1526" y="1640"/>
                    <a:pt x="1454" y="1640"/>
                  </a:cubicBezTo>
                  <a:cubicBezTo>
                    <a:pt x="1451" y="1640"/>
                    <a:pt x="1451" y="1640"/>
                    <a:pt x="1451" y="1640"/>
                  </a:cubicBezTo>
                  <a:cubicBezTo>
                    <a:pt x="1518" y="1672"/>
                    <a:pt x="1564" y="1741"/>
                    <a:pt x="1564" y="1820"/>
                  </a:cubicBezTo>
                  <a:cubicBezTo>
                    <a:pt x="1564" y="1930"/>
                    <a:pt x="1474" y="2020"/>
                    <a:pt x="1364" y="2020"/>
                  </a:cubicBezTo>
                  <a:cubicBezTo>
                    <a:pt x="1254" y="2020"/>
                    <a:pt x="1164" y="1930"/>
                    <a:pt x="1164" y="1820"/>
                  </a:cubicBezTo>
                  <a:cubicBezTo>
                    <a:pt x="1164" y="1741"/>
                    <a:pt x="1210" y="1672"/>
                    <a:pt x="1277" y="1640"/>
                  </a:cubicBezTo>
                  <a:cubicBezTo>
                    <a:pt x="411" y="1640"/>
                    <a:pt x="411" y="1640"/>
                    <a:pt x="411" y="1640"/>
                  </a:cubicBezTo>
                  <a:cubicBezTo>
                    <a:pt x="478" y="1672"/>
                    <a:pt x="524" y="1741"/>
                    <a:pt x="524" y="1820"/>
                  </a:cubicBezTo>
                  <a:cubicBezTo>
                    <a:pt x="524" y="1930"/>
                    <a:pt x="434" y="2020"/>
                    <a:pt x="324" y="2020"/>
                  </a:cubicBezTo>
                  <a:cubicBezTo>
                    <a:pt x="214" y="2020"/>
                    <a:pt x="124" y="1930"/>
                    <a:pt x="124" y="1820"/>
                  </a:cubicBezTo>
                  <a:cubicBezTo>
                    <a:pt x="124" y="1741"/>
                    <a:pt x="170" y="1672"/>
                    <a:pt x="237" y="1640"/>
                  </a:cubicBezTo>
                  <a:cubicBezTo>
                    <a:pt x="124" y="1640"/>
                    <a:pt x="124" y="1640"/>
                    <a:pt x="124" y="1640"/>
                  </a:cubicBezTo>
                  <a:cubicBezTo>
                    <a:pt x="124" y="1520"/>
                    <a:pt x="124" y="1520"/>
                    <a:pt x="124" y="1520"/>
                  </a:cubicBezTo>
                  <a:cubicBezTo>
                    <a:pt x="1454" y="1520"/>
                    <a:pt x="1454" y="1520"/>
                    <a:pt x="1454" y="1520"/>
                  </a:cubicBezTo>
                  <a:cubicBezTo>
                    <a:pt x="1480" y="1520"/>
                    <a:pt x="1499" y="1507"/>
                    <a:pt x="1510" y="1484"/>
                  </a:cubicBezTo>
                  <a:cubicBezTo>
                    <a:pt x="1520" y="1462"/>
                    <a:pt x="1516" y="1438"/>
                    <a:pt x="1499" y="1420"/>
                  </a:cubicBezTo>
                  <a:cubicBezTo>
                    <a:pt x="1320" y="1220"/>
                    <a:pt x="1320" y="1220"/>
                    <a:pt x="1320" y="1220"/>
                  </a:cubicBezTo>
                  <a:cubicBezTo>
                    <a:pt x="487" y="1220"/>
                    <a:pt x="487" y="1220"/>
                    <a:pt x="487" y="1220"/>
                  </a:cubicBezTo>
                  <a:cubicBezTo>
                    <a:pt x="385" y="1220"/>
                    <a:pt x="296" y="1158"/>
                    <a:pt x="262" y="1062"/>
                  </a:cubicBezTo>
                  <a:cubicBezTo>
                    <a:pt x="9" y="367"/>
                    <a:pt x="9" y="367"/>
                    <a:pt x="9" y="367"/>
                  </a:cubicBezTo>
                  <a:cubicBezTo>
                    <a:pt x="0" y="342"/>
                    <a:pt x="4" y="316"/>
                    <a:pt x="18" y="294"/>
                  </a:cubicBezTo>
                  <a:cubicBezTo>
                    <a:pt x="34" y="272"/>
                    <a:pt x="57" y="260"/>
                    <a:pt x="84" y="260"/>
                  </a:cubicBezTo>
                  <a:cubicBezTo>
                    <a:pt x="1564" y="260"/>
                    <a:pt x="1564" y="260"/>
                    <a:pt x="1564" y="260"/>
                  </a:cubicBezTo>
                  <a:cubicBezTo>
                    <a:pt x="1602" y="131"/>
                    <a:pt x="1602" y="131"/>
                    <a:pt x="1602" y="131"/>
                  </a:cubicBezTo>
                  <a:cubicBezTo>
                    <a:pt x="1624" y="53"/>
                    <a:pt x="1694" y="0"/>
                    <a:pt x="1774" y="0"/>
                  </a:cubicBezTo>
                  <a:cubicBezTo>
                    <a:pt x="2044" y="0"/>
                    <a:pt x="2044" y="0"/>
                    <a:pt x="2044" y="0"/>
                  </a:cubicBezTo>
                  <a:lnTo>
                    <a:pt x="2044" y="120"/>
                  </a:lnTo>
                  <a:close/>
                  <a:moveTo>
                    <a:pt x="1344" y="1032"/>
                  </a:moveTo>
                  <a:cubicBezTo>
                    <a:pt x="1353" y="1000"/>
                    <a:pt x="1353" y="1000"/>
                    <a:pt x="1353" y="1000"/>
                  </a:cubicBezTo>
                  <a:cubicBezTo>
                    <a:pt x="1344" y="1000"/>
                    <a:pt x="1344" y="1000"/>
                    <a:pt x="1344" y="1000"/>
                  </a:cubicBezTo>
                  <a:lnTo>
                    <a:pt x="1344" y="1032"/>
                  </a:lnTo>
                  <a:close/>
                  <a:moveTo>
                    <a:pt x="1387" y="880"/>
                  </a:moveTo>
                  <a:cubicBezTo>
                    <a:pt x="1444" y="680"/>
                    <a:pt x="1444" y="680"/>
                    <a:pt x="1444" y="680"/>
                  </a:cubicBezTo>
                  <a:cubicBezTo>
                    <a:pt x="1344" y="680"/>
                    <a:pt x="1344" y="680"/>
                    <a:pt x="1344" y="680"/>
                  </a:cubicBezTo>
                  <a:cubicBezTo>
                    <a:pt x="1344" y="880"/>
                    <a:pt x="1344" y="880"/>
                    <a:pt x="1344" y="880"/>
                  </a:cubicBezTo>
                  <a:lnTo>
                    <a:pt x="1387" y="880"/>
                  </a:lnTo>
                  <a:close/>
                  <a:moveTo>
                    <a:pt x="1479" y="560"/>
                  </a:moveTo>
                  <a:cubicBezTo>
                    <a:pt x="1536" y="360"/>
                    <a:pt x="1536" y="360"/>
                    <a:pt x="1536" y="360"/>
                  </a:cubicBezTo>
                  <a:cubicBezTo>
                    <a:pt x="1344" y="360"/>
                    <a:pt x="1344" y="360"/>
                    <a:pt x="1344" y="360"/>
                  </a:cubicBezTo>
                  <a:cubicBezTo>
                    <a:pt x="1344" y="560"/>
                    <a:pt x="1344" y="560"/>
                    <a:pt x="1344" y="560"/>
                  </a:cubicBezTo>
                  <a:lnTo>
                    <a:pt x="1479" y="560"/>
                  </a:lnTo>
                  <a:close/>
                  <a:moveTo>
                    <a:pt x="1024" y="360"/>
                  </a:moveTo>
                  <a:cubicBezTo>
                    <a:pt x="1024" y="560"/>
                    <a:pt x="1024" y="560"/>
                    <a:pt x="1024" y="560"/>
                  </a:cubicBezTo>
                  <a:cubicBezTo>
                    <a:pt x="1224" y="560"/>
                    <a:pt x="1224" y="560"/>
                    <a:pt x="1224" y="560"/>
                  </a:cubicBezTo>
                  <a:cubicBezTo>
                    <a:pt x="1224" y="360"/>
                    <a:pt x="1224" y="360"/>
                    <a:pt x="1224" y="360"/>
                  </a:cubicBezTo>
                  <a:lnTo>
                    <a:pt x="1024" y="360"/>
                  </a:lnTo>
                  <a:close/>
                  <a:moveTo>
                    <a:pt x="1224" y="1120"/>
                  </a:moveTo>
                  <a:cubicBezTo>
                    <a:pt x="1224" y="1000"/>
                    <a:pt x="1224" y="1000"/>
                    <a:pt x="1224" y="1000"/>
                  </a:cubicBezTo>
                  <a:cubicBezTo>
                    <a:pt x="1024" y="1000"/>
                    <a:pt x="1024" y="1000"/>
                    <a:pt x="1024" y="1000"/>
                  </a:cubicBezTo>
                  <a:cubicBezTo>
                    <a:pt x="1024" y="1120"/>
                    <a:pt x="1024" y="1120"/>
                    <a:pt x="1024" y="1120"/>
                  </a:cubicBezTo>
                  <a:lnTo>
                    <a:pt x="1224" y="1120"/>
                  </a:lnTo>
                  <a:close/>
                  <a:moveTo>
                    <a:pt x="904" y="1120"/>
                  </a:moveTo>
                  <a:cubicBezTo>
                    <a:pt x="904" y="1000"/>
                    <a:pt x="904" y="1000"/>
                    <a:pt x="904" y="1000"/>
                  </a:cubicBezTo>
                  <a:cubicBezTo>
                    <a:pt x="704" y="1000"/>
                    <a:pt x="704" y="1000"/>
                    <a:pt x="704" y="1000"/>
                  </a:cubicBezTo>
                  <a:cubicBezTo>
                    <a:pt x="704" y="1120"/>
                    <a:pt x="704" y="1120"/>
                    <a:pt x="704" y="1120"/>
                  </a:cubicBezTo>
                  <a:lnTo>
                    <a:pt x="904" y="1120"/>
                  </a:lnTo>
                  <a:close/>
                  <a:moveTo>
                    <a:pt x="584" y="1120"/>
                  </a:moveTo>
                  <a:cubicBezTo>
                    <a:pt x="584" y="1000"/>
                    <a:pt x="584" y="1000"/>
                    <a:pt x="584" y="1000"/>
                  </a:cubicBezTo>
                  <a:cubicBezTo>
                    <a:pt x="384" y="1000"/>
                    <a:pt x="384" y="1000"/>
                    <a:pt x="384" y="1000"/>
                  </a:cubicBezTo>
                  <a:cubicBezTo>
                    <a:pt x="384" y="1076"/>
                    <a:pt x="384" y="1076"/>
                    <a:pt x="384" y="1076"/>
                  </a:cubicBezTo>
                  <a:cubicBezTo>
                    <a:pt x="410" y="1104"/>
                    <a:pt x="446" y="1120"/>
                    <a:pt x="487" y="1120"/>
                  </a:cubicBezTo>
                  <a:lnTo>
                    <a:pt x="584" y="1120"/>
                  </a:lnTo>
                  <a:close/>
                  <a:moveTo>
                    <a:pt x="264" y="777"/>
                  </a:moveTo>
                  <a:cubicBezTo>
                    <a:pt x="264" y="680"/>
                    <a:pt x="264" y="680"/>
                    <a:pt x="264" y="680"/>
                  </a:cubicBezTo>
                  <a:cubicBezTo>
                    <a:pt x="229" y="680"/>
                    <a:pt x="229" y="680"/>
                    <a:pt x="229" y="680"/>
                  </a:cubicBezTo>
                  <a:lnTo>
                    <a:pt x="264" y="777"/>
                  </a:lnTo>
                  <a:close/>
                  <a:moveTo>
                    <a:pt x="185" y="560"/>
                  </a:moveTo>
                  <a:cubicBezTo>
                    <a:pt x="264" y="560"/>
                    <a:pt x="264" y="560"/>
                    <a:pt x="264" y="560"/>
                  </a:cubicBezTo>
                  <a:cubicBezTo>
                    <a:pt x="264" y="360"/>
                    <a:pt x="264" y="360"/>
                    <a:pt x="264" y="360"/>
                  </a:cubicBezTo>
                  <a:cubicBezTo>
                    <a:pt x="112" y="360"/>
                    <a:pt x="112" y="360"/>
                    <a:pt x="112" y="360"/>
                  </a:cubicBezTo>
                  <a:lnTo>
                    <a:pt x="185" y="560"/>
                  </a:lnTo>
                  <a:close/>
                  <a:moveTo>
                    <a:pt x="384" y="360"/>
                  </a:moveTo>
                  <a:cubicBezTo>
                    <a:pt x="384" y="560"/>
                    <a:pt x="384" y="560"/>
                    <a:pt x="384" y="560"/>
                  </a:cubicBezTo>
                  <a:cubicBezTo>
                    <a:pt x="584" y="560"/>
                    <a:pt x="584" y="560"/>
                    <a:pt x="584" y="560"/>
                  </a:cubicBezTo>
                  <a:cubicBezTo>
                    <a:pt x="584" y="360"/>
                    <a:pt x="584" y="360"/>
                    <a:pt x="584" y="360"/>
                  </a:cubicBezTo>
                  <a:lnTo>
                    <a:pt x="384" y="360"/>
                  </a:lnTo>
                  <a:close/>
                  <a:moveTo>
                    <a:pt x="704" y="360"/>
                  </a:moveTo>
                  <a:cubicBezTo>
                    <a:pt x="704" y="560"/>
                    <a:pt x="704" y="560"/>
                    <a:pt x="704" y="560"/>
                  </a:cubicBezTo>
                  <a:cubicBezTo>
                    <a:pt x="904" y="560"/>
                    <a:pt x="904" y="560"/>
                    <a:pt x="904" y="560"/>
                  </a:cubicBezTo>
                  <a:cubicBezTo>
                    <a:pt x="904" y="360"/>
                    <a:pt x="904" y="360"/>
                    <a:pt x="904" y="360"/>
                  </a:cubicBezTo>
                  <a:lnTo>
                    <a:pt x="704" y="360"/>
                  </a:lnTo>
                  <a:close/>
                  <a:moveTo>
                    <a:pt x="1024" y="680"/>
                  </a:moveTo>
                  <a:cubicBezTo>
                    <a:pt x="1024" y="880"/>
                    <a:pt x="1024" y="880"/>
                    <a:pt x="1024" y="880"/>
                  </a:cubicBezTo>
                  <a:cubicBezTo>
                    <a:pt x="1224" y="880"/>
                    <a:pt x="1224" y="880"/>
                    <a:pt x="1224" y="880"/>
                  </a:cubicBezTo>
                  <a:cubicBezTo>
                    <a:pt x="1224" y="680"/>
                    <a:pt x="1224" y="680"/>
                    <a:pt x="1224" y="680"/>
                  </a:cubicBezTo>
                  <a:lnTo>
                    <a:pt x="1024" y="680"/>
                  </a:lnTo>
                  <a:close/>
                  <a:moveTo>
                    <a:pt x="904" y="880"/>
                  </a:moveTo>
                  <a:cubicBezTo>
                    <a:pt x="904" y="680"/>
                    <a:pt x="904" y="680"/>
                    <a:pt x="904" y="680"/>
                  </a:cubicBezTo>
                  <a:cubicBezTo>
                    <a:pt x="704" y="680"/>
                    <a:pt x="704" y="680"/>
                    <a:pt x="704" y="680"/>
                  </a:cubicBezTo>
                  <a:cubicBezTo>
                    <a:pt x="704" y="880"/>
                    <a:pt x="704" y="880"/>
                    <a:pt x="704" y="880"/>
                  </a:cubicBezTo>
                  <a:lnTo>
                    <a:pt x="904" y="880"/>
                  </a:lnTo>
                  <a:close/>
                  <a:moveTo>
                    <a:pt x="384" y="880"/>
                  </a:moveTo>
                  <a:cubicBezTo>
                    <a:pt x="584" y="880"/>
                    <a:pt x="584" y="880"/>
                    <a:pt x="584" y="880"/>
                  </a:cubicBezTo>
                  <a:cubicBezTo>
                    <a:pt x="584" y="680"/>
                    <a:pt x="584" y="680"/>
                    <a:pt x="584" y="680"/>
                  </a:cubicBezTo>
                  <a:cubicBezTo>
                    <a:pt x="384" y="680"/>
                    <a:pt x="384" y="680"/>
                    <a:pt x="384" y="680"/>
                  </a:cubicBezTo>
                  <a:lnTo>
                    <a:pt x="384" y="880"/>
                  </a:lnTo>
                  <a:close/>
                </a:path>
              </a:pathLst>
            </a:custGeom>
            <a:grpFill/>
            <a:ln>
              <a:noFill/>
            </a:ln>
          </p:spPr>
          <p:txBody>
            <a:bodyPr vert="horz" wrap="square" lIns="121920" tIns="60960" rIns="121920" bIns="60960" numCol="1" anchor="t" anchorCtr="0" compatLnSpc="1">
              <a:prstTxWarp prst="textNoShape">
                <a:avLst/>
              </a:prstTxWarp>
            </a:bodyPr>
            <a:lstStyle/>
            <a:p>
              <a:endParaRPr lang="en-US" sz="1333" dirty="0"/>
            </a:p>
          </p:txBody>
        </p:sp>
      </p:grpSp>
      <p:sp>
        <p:nvSpPr>
          <p:cNvPr id="42" name="Rectangle 41">
            <a:extLst>
              <a:ext uri="{FF2B5EF4-FFF2-40B4-BE49-F238E27FC236}">
                <a16:creationId xmlns:a16="http://schemas.microsoft.com/office/drawing/2014/main" xmlns="" id="{AA2C3331-9CAB-45DE-875B-F3F4E97FD24A}"/>
              </a:ext>
            </a:extLst>
          </p:cNvPr>
          <p:cNvSpPr/>
          <p:nvPr/>
        </p:nvSpPr>
        <p:spPr>
          <a:xfrm>
            <a:off x="5811434" y="3972947"/>
            <a:ext cx="1217582" cy="561692"/>
          </a:xfrm>
          <a:prstGeom prst="rect">
            <a:avLst/>
          </a:prstGeom>
        </p:spPr>
        <p:txBody>
          <a:bodyPr wrap="square">
            <a:spAutoFit/>
          </a:bodyPr>
          <a:lstStyle/>
          <a:p>
            <a:pPr algn="ctr">
              <a:spcBef>
                <a:spcPts val="300"/>
              </a:spcBef>
            </a:pPr>
            <a:r>
              <a:rPr lang="en-US" sz="1400" b="1" dirty="0">
                <a:solidFill>
                  <a:schemeClr val="accent3">
                    <a:lumMod val="60000"/>
                    <a:lumOff val="40000"/>
                  </a:schemeClr>
                </a:solidFill>
                <a:cs typeface="Arial" pitchFamily="34" charset="0"/>
              </a:rPr>
              <a:t>2019:</a:t>
            </a:r>
          </a:p>
          <a:p>
            <a:pPr algn="ctr">
              <a:spcBef>
                <a:spcPts val="300"/>
              </a:spcBef>
            </a:pPr>
            <a:r>
              <a:rPr lang="en-US" sz="1400" b="1" dirty="0">
                <a:solidFill>
                  <a:schemeClr val="accent3">
                    <a:lumMod val="60000"/>
                    <a:lumOff val="40000"/>
                  </a:schemeClr>
                </a:solidFill>
                <a:cs typeface="Arial" pitchFamily="34" charset="0"/>
              </a:rPr>
              <a:t>65%</a:t>
            </a:r>
            <a:endParaRPr lang="en-US" sz="5400" b="1" dirty="0">
              <a:solidFill>
                <a:schemeClr val="accent3">
                  <a:lumMod val="60000"/>
                  <a:lumOff val="40000"/>
                </a:schemeClr>
              </a:solidFill>
              <a:cs typeface="Arial" pitchFamily="34" charset="0"/>
            </a:endParaRPr>
          </a:p>
        </p:txBody>
      </p:sp>
    </p:spTree>
    <p:extLst>
      <p:ext uri="{BB962C8B-B14F-4D97-AF65-F5344CB8AC3E}">
        <p14:creationId xmlns:p14="http://schemas.microsoft.com/office/powerpoint/2010/main" val="8763551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1" grpId="0" animBg="1"/>
      <p:bldP spid="22" grpId="0"/>
    </p:bldLst>
  </p:timing>
</p:sld>
</file>

<file path=ppt/tags/tag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5.xml><?xml version="1.0" encoding="utf-8"?>
<p:tagLst xmlns:a="http://schemas.openxmlformats.org/drawingml/2006/main" xmlns:r="http://schemas.openxmlformats.org/officeDocument/2006/relationships" xmlns:p="http://schemas.openxmlformats.org/presentationml/2006/main">
  <p:tag name="VCT-RADIUS" val="6"/>
</p:tagLst>
</file>

<file path=ppt/tags/tag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4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5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6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7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9.xml><?xml version="1.0" encoding="utf-8"?>
<p:tagLst xmlns:a="http://schemas.openxmlformats.org/drawingml/2006/main" xmlns:r="http://schemas.openxmlformats.org/officeDocument/2006/relationships" xmlns:p="http://schemas.openxmlformats.org/presentationml/2006/main">
  <p:tag name="VCTCREATESHAPEHANDLED" val="0"/>
</p:tagLst>
</file>

<file path=ppt/theme/theme1.xml><?xml version="1.0" encoding="utf-8"?>
<a:theme xmlns:a="http://schemas.openxmlformats.org/drawingml/2006/main" name="GfK">
  <a:themeElements>
    <a:clrScheme name="GfK">
      <a:dk1>
        <a:srgbClr val="414549"/>
      </a:dk1>
      <a:lt1>
        <a:srgbClr val="FFFFFF"/>
      </a:lt1>
      <a:dk2>
        <a:srgbClr val="E55A00"/>
      </a:dk2>
      <a:lt2>
        <a:srgbClr val="000000"/>
      </a:lt2>
      <a:accent1>
        <a:srgbClr val="414549"/>
      </a:accent1>
      <a:accent2>
        <a:srgbClr val="85280F"/>
      </a:accent2>
      <a:accent3>
        <a:srgbClr val="202D46"/>
      </a:accent3>
      <a:accent4>
        <a:srgbClr val="E2B726"/>
      </a:accent4>
      <a:accent5>
        <a:srgbClr val="543E35"/>
      </a:accent5>
      <a:accent6>
        <a:srgbClr val="496249"/>
      </a:accent6>
      <a:hlink>
        <a:srgbClr val="E55A00"/>
      </a:hlink>
      <a:folHlink>
        <a:srgbClr val="C39166"/>
      </a:folHlink>
    </a:clrScheme>
    <a:fontScheme name="GfK">
      <a:majorFont>
        <a:latin typeface="Lato Light"/>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Lato"/>
        <a:ea typeface=""/>
        <a:cs typeface=""/>
        <a:font script="Jpan" typeface="Meiryo UI"/>
        <a:font script="Hang" typeface="맑은고딕"/>
        <a:font script="Hans" typeface="Boldface"/>
        <a:font script="Hant" typeface="微軟正黑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lnSpc>
            <a:spcPct val="125000"/>
          </a:lnSpc>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marL="252000" indent="-252000">
          <a:lnSpc>
            <a:spcPct val="125000"/>
          </a:lnSpc>
          <a:buClr>
            <a:schemeClr val="tx2"/>
          </a:buClr>
          <a:buFont typeface="Wingdings" panose="05000000000000000000" pitchFamily="2" charset="2"/>
          <a:buChar char="§"/>
          <a:defRPr sz="1600" dirty="0" err="1" smtClean="0"/>
        </a:defPPr>
      </a:lstStyle>
    </a:txDef>
  </a:objectDefaults>
  <a:extraClrSchemeLst/>
  <a:custClrLst>
    <a:custClr name="GfK SAND 100%">
      <a:srgbClr val="C39166"/>
    </a:custClr>
    <a:custClr name="GfK PURPLE 100%">
      <a:srgbClr val="42122D"/>
    </a:custClr>
    <a:custClr name="GfK PETROL 100%">
      <a:srgbClr val="4D9991"/>
    </a:custClr>
    <a:custClr name="GfK ORANGE">
      <a:srgbClr val="E55A00"/>
    </a:custClr>
    <a:custClr name="GfK GRAY 100%">
      <a:srgbClr val="414549"/>
    </a:custClr>
    <a:custClr name="GfK RED 100%">
      <a:srgbClr val="85280F"/>
    </a:custClr>
    <a:custClr name="GfK BLUE 100%">
      <a:srgbClr val="202D46"/>
    </a:custClr>
    <a:custClr name="GfK YELLOW 100%">
      <a:srgbClr val="E2B726"/>
    </a:custClr>
    <a:custClr name="GfK BROWN 100%">
      <a:srgbClr val="543E35"/>
    </a:custClr>
    <a:custClr name="GfK GREEN 100%">
      <a:srgbClr val="496249"/>
    </a:custClr>
    <a:custClr name="GfK SAND 80%">
      <a:srgbClr val="CFA785"/>
    </a:custClr>
    <a:custClr name="GfK PURPLE 80%">
      <a:srgbClr val="684157"/>
    </a:custClr>
    <a:custClr name="GfK PETROL 80%">
      <a:srgbClr val="71ADA7"/>
    </a:custClr>
    <a:custClr>
      <a:srgbClr val="FFFFFF"/>
    </a:custClr>
    <a:custClr name="GfK GRAY 80%">
      <a:srgbClr val="676A6D"/>
    </a:custClr>
    <a:custClr name="GfK RED 80%">
      <a:srgbClr val="9D533F"/>
    </a:custClr>
    <a:custClr name="GfK BLUE 80%">
      <a:srgbClr val="4D576B"/>
    </a:custClr>
    <a:custClr name="GfK YELLOW 80%">
      <a:srgbClr val="E8C551"/>
    </a:custClr>
    <a:custClr name="GfK BROWN 80%">
      <a:srgbClr val="76655D"/>
    </a:custClr>
    <a:custClr name="GfK GREEN 80%">
      <a:srgbClr val="6D816D"/>
    </a:custClr>
    <a:custClr name="GfK SAND 60%">
      <a:srgbClr val="DBBDA3"/>
    </a:custClr>
    <a:custClr name="GfK PURPLE 60%">
      <a:srgbClr val="8E7181"/>
    </a:custClr>
    <a:custClr name="GfK PETROL 60%">
      <a:srgbClr val="94C2BD"/>
    </a:custClr>
    <a:custClr>
      <a:srgbClr val="FFFFFF"/>
    </a:custClr>
    <a:custClr name="GfK GRAY 60%">
      <a:srgbClr val="8D8F92"/>
    </a:custClr>
    <a:custClr name="GfK RED 60%">
      <a:srgbClr val="B67E6F"/>
    </a:custClr>
    <a:custClr name="GfK BLUE 60%">
      <a:srgbClr val="798190"/>
    </a:custClr>
    <a:custClr name="GfK YELLOW 60%">
      <a:srgbClr val="EED47D"/>
    </a:custClr>
    <a:custClr name="GfK BROWN 60%">
      <a:srgbClr val="988B86"/>
    </a:custClr>
    <a:custClr name="GfK GREEN 60%">
      <a:srgbClr val="92A192"/>
    </a:custClr>
    <a:custClr name="GfK SAND 40%">
      <a:srgbClr val="E7D3C2"/>
    </a:custClr>
    <a:custClr name="GfK PURPLE 40%">
      <a:srgbClr val="B3A0AB"/>
    </a:custClr>
    <a:custClr name="GfK PETROL 40%">
      <a:srgbClr val="B8D6D3"/>
    </a:custClr>
    <a:custClr>
      <a:srgbClr val="FFFFFF"/>
    </a:custClr>
    <a:custClr name="GfK GRAY 40%">
      <a:srgbClr val="B3B5B6"/>
    </a:custClr>
    <a:custClr name="GfK RED 40%">
      <a:srgbClr val="CEA99F"/>
    </a:custClr>
    <a:custClr name="GfK BLUE 40%">
      <a:srgbClr val="A6ABB5"/>
    </a:custClr>
    <a:custClr name="GfK YELLOW 40%">
      <a:srgbClr val="F3E2A8"/>
    </a:custClr>
    <a:custClr name="GfK BROWN 40%">
      <a:srgbClr val="BBB2AE"/>
    </a:custClr>
    <a:custClr name="GfK GREEN 40%">
      <a:srgbClr val="B6C0B6"/>
    </a:custClr>
    <a:custClr name="GfK SAND 20%">
      <a:srgbClr val="F3E9E0"/>
    </a:custClr>
    <a:custClr name="GfK PURPLE 20%">
      <a:srgbClr val="D9D0D5"/>
    </a:custClr>
    <a:custClr>
      <a:srgbClr val="FFFFFF"/>
    </a:custClr>
    <a:custClr>
      <a:srgbClr val="FFFFFF"/>
    </a:custClr>
    <a:custClr name="GfK GRAY 20%">
      <a:srgbClr val="D9DADB"/>
    </a:custClr>
    <a:custClr name="GfK RED 20%">
      <a:srgbClr val="E7D4CF"/>
    </a:custClr>
    <a:custClr name="GfK BLUE 20%">
      <a:srgbClr val="D2D5DA"/>
    </a:custClr>
    <a:custClr name="GfK YELLOW 20%">
      <a:srgbClr val="F9F1D4"/>
    </a:custClr>
    <a:custClr name="GfK BROWN 20%">
      <a:srgbClr val="DDD8D7"/>
    </a:custClr>
    <a:custClr name="GfK GREEN 20%">
      <a:srgbClr val="D2E0DB"/>
    </a:custClr>
  </a:custClrLst>
  <a:extLst>
    <a:ext uri="{05A4C25C-085E-4340-85A3-A5531E510DB2}">
      <thm15:themeFamily xmlns:thm15="http://schemas.microsoft.com/office/thememl/2012/main" name="GfK Template Lato.potx" id="{9B41F6FD-FD88-4220-BF2A-EDDFA9568A3A}" vid="{E05CAEFB-A675-4FF4-A247-1F6AB37A1E93}"/>
    </a:ext>
  </a:extLst>
</a:theme>
</file>

<file path=ppt/theme/theme2.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GfK">
      <a:dk1>
        <a:srgbClr val="414549"/>
      </a:dk1>
      <a:lt1>
        <a:srgbClr val="FFFFFF"/>
      </a:lt1>
      <a:dk2>
        <a:srgbClr val="E55A00"/>
      </a:dk2>
      <a:lt2>
        <a:srgbClr val="FFFFFF"/>
      </a:lt2>
      <a:accent1>
        <a:srgbClr val="85280F"/>
      </a:accent1>
      <a:accent2>
        <a:srgbClr val="E2B726"/>
      </a:accent2>
      <a:accent3>
        <a:srgbClr val="543E35"/>
      </a:accent3>
      <a:accent4>
        <a:srgbClr val="496249"/>
      </a:accent4>
      <a:accent5>
        <a:srgbClr val="202D46"/>
      </a:accent5>
      <a:accent6>
        <a:srgbClr val="C39166"/>
      </a:accent6>
      <a:hlink>
        <a:srgbClr val="C39166"/>
      </a:hlink>
      <a:folHlink>
        <a:srgbClr val="C39166"/>
      </a:folHlink>
    </a:clrScheme>
    <a:fontScheme name="GfK">
      <a:majorFont>
        <a:latin typeface="Lato Light"/>
        <a:ea typeface=""/>
        <a:cs typeface=""/>
      </a:majorFont>
      <a:minorFont>
        <a:latin typeface="Lat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Default Theme</Template>
  <TotalTime>19315</TotalTime>
  <Words>2715</Words>
  <Application>Microsoft Office PowerPoint</Application>
  <PresentationFormat>Breedbeeld</PresentationFormat>
  <Paragraphs>316</Paragraphs>
  <Slides>21</Slides>
  <Notes>19</Notes>
  <HiddenSlides>0</HiddenSlides>
  <MMClips>0</MMClips>
  <ScaleCrop>false</ScaleCrop>
  <HeadingPairs>
    <vt:vector size="10" baseType="variant">
      <vt:variant>
        <vt:lpstr>Gebruikte lettertypen</vt:lpstr>
      </vt:variant>
      <vt:variant>
        <vt:i4>10</vt:i4>
      </vt:variant>
      <vt:variant>
        <vt:lpstr>Thema</vt:lpstr>
      </vt:variant>
      <vt:variant>
        <vt:i4>2</vt:i4>
      </vt:variant>
      <vt:variant>
        <vt:lpstr>Koppelingen</vt:lpstr>
      </vt:variant>
      <vt:variant>
        <vt:i4>6</vt:i4>
      </vt:variant>
      <vt:variant>
        <vt:lpstr>Ingesloten OLE-bronprogramma's</vt:lpstr>
      </vt:variant>
      <vt:variant>
        <vt:i4>1</vt:i4>
      </vt:variant>
      <vt:variant>
        <vt:lpstr>Diatitels</vt:lpstr>
      </vt:variant>
      <vt:variant>
        <vt:i4>21</vt:i4>
      </vt:variant>
    </vt:vector>
  </HeadingPairs>
  <TitlesOfParts>
    <vt:vector size="40" baseType="lpstr">
      <vt:lpstr>Arial</vt:lpstr>
      <vt:lpstr>Calibri</vt:lpstr>
      <vt:lpstr>Calibri Light</vt:lpstr>
      <vt:lpstr>Courier New</vt:lpstr>
      <vt:lpstr>Insight Display print</vt:lpstr>
      <vt:lpstr>Insight print</vt:lpstr>
      <vt:lpstr>Lato</vt:lpstr>
      <vt:lpstr>Lato Light</vt:lpstr>
      <vt:lpstr>Noto Sans</vt:lpstr>
      <vt:lpstr>Wingdings</vt:lpstr>
      <vt:lpstr>GfK</vt:lpstr>
      <vt:lpstr>Custom Design</vt:lpstr>
      <vt:lpstr>\\gfk.com\netherlands\projects\Projecten\756749 Shopping Tomorrow 2020\4. Data Processing\Graphs\Shopping Tomorrow Grafieken 2020.xlsm!A03![Shopping Tomorrow Grafieken 2020.xlsm]A03 Chart 1</vt:lpstr>
      <vt:lpstr>\\gfk.com\netherlands\projects\Projecten\756749 Shopping Tomorrow 2020\4. Data Processing\Graphs\Shopping Tomorrow Grafieken 2020.xlsm!C01![Shopping Tomorrow Grafieken 2020.xlsm]C01 Chart 1</vt:lpstr>
      <vt:lpstr>\\gfk.com\netherlands\projects\Projecten\756749 Shopping Tomorrow 2020\4. Data Processing\Graphs\Shopping Tomorrow Grafieken 2020.xlsm!C01![Shopping Tomorrow Grafieken 2020.xlsm]C01 Chart 3</vt:lpstr>
      <vt:lpstr>\\gfk.com\netherlands\projects\Projecten\756749 Shopping Tomorrow 2020\4. Data Processing\Graphs\Shopping Tomorrow Grafieken 2020.xlsm!E01![Shopping Tomorrow Grafieken 2020.xlsm]E01 Chart 5</vt:lpstr>
      <vt:lpstr>\\gfk.com\netherlands\projects\Projecten\756749 Shopping Tomorrow 2020\4. Data Processing\Graphs\Shopping Tomorrow Grafieken 2020.xlsm!B02![Shopping Tomorrow Grafieken 2020.xlsm]B02 Chart 5</vt:lpstr>
      <vt:lpstr>\\gfk.com\netherlands\projects\Projecten\756749 Shopping Tomorrow 2020\4. Data Processing\Graphs\Shopping Tomorrow Grafieken 2020.xlsm!Q01![Shopping Tomorrow Grafieken 2020.xlsm]Q01 Chart 5</vt:lpstr>
      <vt:lpstr>think-cell Slide</vt:lpstr>
      <vt:lpstr>ShoppingTomorrow 2020</vt:lpstr>
      <vt:lpstr>PowerPoint-presentatie</vt:lpstr>
      <vt:lpstr>How do consumers foresee to shop in 2025?</vt:lpstr>
      <vt:lpstr>Poll</vt:lpstr>
      <vt:lpstr>Consumers expect that 37% of their spendings will be done online in 2025 </vt:lpstr>
      <vt:lpstr>Consumers expect that they will do their Food/nearfood and Health and Beauty purchases more often online in 2025</vt:lpstr>
      <vt:lpstr>“Showrooming” and “Click &amp; Collect” are less appealing than  previous year</vt:lpstr>
      <vt:lpstr>Majority of consumers think that there will be market concentration in 5 years and online and offline will act as one sales channel</vt:lpstr>
      <vt:lpstr>Almost half of all online buyers expect to make the majority of their online purchases by their smartphone in 2025</vt:lpstr>
      <vt:lpstr>Increasing frequency of the use of smartphones in stores: especially for viewing social media and scanning and payment of products</vt:lpstr>
      <vt:lpstr>Social commerce: slight increase in online purchases via Facebook, but most consumers haven’t made a purchase via social media yet</vt:lpstr>
      <vt:lpstr>How do they want to interact with retailers?</vt:lpstr>
      <vt:lpstr>Store visit is still the most preferred mode of contact with retailers when needing advice. Voice chat is winning in popularity especially under youngsters</vt:lpstr>
      <vt:lpstr>What’s consumers’ attitude toward new retail technologies?</vt:lpstr>
      <vt:lpstr>Personalization is expected, but only half of consumers think that it is actually available in 2025</vt:lpstr>
      <vt:lpstr>There is a hurdle: half of all consumers is not comfortable in sharing personal information with shops or product providers</vt:lpstr>
      <vt:lpstr>Consumers’ attitude toward the bodyscanner / footscanner and VR is most positive among all new technologies</vt:lpstr>
      <vt:lpstr>Do we see this in stores in 2025?</vt:lpstr>
      <vt:lpstr>Majority of consumers are not open to being served by robots in physical stores</vt:lpstr>
      <vt:lpstr>Consumers find cleaning the store, restocking the shelves and providing product information the three best used applications for robots in physical stores </vt:lpstr>
      <vt:lpstr>Thanks for your attention!   Questions? </vt:lpstr>
    </vt:vector>
  </TitlesOfParts>
  <Compan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nippenberg van , Lisanne (GfK)</dc:creator>
  <cp:lastModifiedBy>Milou Swens</cp:lastModifiedBy>
  <cp:revision>512</cp:revision>
  <dcterms:created xsi:type="dcterms:W3CDTF">2020-01-20T15:41:47Z</dcterms:created>
  <dcterms:modified xsi:type="dcterms:W3CDTF">2020-09-15T10:01:15Z</dcterms:modified>
</cp:coreProperties>
</file>